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0" r:id="rId5"/>
  </p:sldMasterIdLst>
  <p:notesMasterIdLst>
    <p:notesMasterId r:id="rId20"/>
  </p:notesMasterIdLst>
  <p:sldIdLst>
    <p:sldId id="2147478840" r:id="rId6"/>
    <p:sldId id="2147478834" r:id="rId7"/>
    <p:sldId id="2147478833" r:id="rId8"/>
    <p:sldId id="2147478793" r:id="rId9"/>
    <p:sldId id="2147478788" r:id="rId10"/>
    <p:sldId id="2147478792" r:id="rId11"/>
    <p:sldId id="2147478794" r:id="rId12"/>
    <p:sldId id="2147478838" r:id="rId13"/>
    <p:sldId id="2147478839" r:id="rId14"/>
    <p:sldId id="2147478837" r:id="rId15"/>
    <p:sldId id="2147478836" r:id="rId16"/>
    <p:sldId id="2147478791" r:id="rId17"/>
    <p:sldId id="2147478790" r:id="rId18"/>
    <p:sldId id="2147478789" r:id="rId19"/>
  </p:sldIdLst>
  <p:sldSz cx="12192000" cy="6858000"/>
  <p:notesSz cx="6858000" cy="9144000"/>
  <p:custDataLst>
    <p:tags r:id="rId21"/>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39F9700-A076-4EEE-B2D3-0B73AAF7B769}">
          <p14:sldIdLst>
            <p14:sldId id="2147478840"/>
            <p14:sldId id="2147478834"/>
            <p14:sldId id="2147478833"/>
            <p14:sldId id="2147478793"/>
            <p14:sldId id="2147478788"/>
            <p14:sldId id="2147478792"/>
            <p14:sldId id="2147478794"/>
            <p14:sldId id="2147478838"/>
            <p14:sldId id="2147478839"/>
            <p14:sldId id="2147478837"/>
            <p14:sldId id="2147478836"/>
          </p14:sldIdLst>
        </p14:section>
        <p14:section name="Gennemgås ikke" id="{59F5EFE1-4FAF-4231-9C2E-C3A0603DE81A}">
          <p14:sldIdLst>
            <p14:sldId id="2147478791"/>
            <p14:sldId id="2147478790"/>
            <p14:sldId id="2147478789"/>
          </p14:sldIdLst>
        </p14:section>
      </p14:sectionLst>
    </p:ext>
    <p:ext uri="{EFAFB233-063F-42B5-8137-9DF3F51BA10A}">
      <p15:sldGuideLst xmlns:p15="http://schemas.microsoft.com/office/powerpoint/2012/main">
        <p15:guide id="2" pos="483" userDrawn="1">
          <p15:clr>
            <a:srgbClr val="A4A3A4"/>
          </p15:clr>
        </p15:guide>
        <p15:guide id="3" orient="horz" pos="3838" userDrawn="1">
          <p15:clr>
            <a:srgbClr val="A4A3A4"/>
          </p15:clr>
        </p15:guide>
        <p15:guide id="4" orient="horz" pos="595" userDrawn="1">
          <p15:clr>
            <a:srgbClr val="A4A3A4"/>
          </p15:clr>
        </p15:guide>
        <p15:guide id="5" orient="horz" pos="142" userDrawn="1">
          <p15:clr>
            <a:srgbClr val="A4A3A4"/>
          </p15:clr>
        </p15:guide>
        <p15:guide id="6" pos="715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0891905-CBFD-FAE3-B012-B7712A9EC1DF}" name="Michael Kofoed" initials="MK" userId="S::michael.kofoed@Fluidogroup.onmicrosoft.com::ce084d35-77f0-4c3d-883f-a658db59af09" providerId="AD"/>
  <p188:author id="{E9391F1D-7F3B-58B9-7019-C70F5F488D38}" name="Soren Porskrog" initials="SP" userId="S::soren.porskrog@Fluidogroup.onmicrosoft.com::2b9075a7-f16c-4695-970a-98bdcbbe0157" providerId="AD"/>
  <p188:author id="{2B8B9729-959B-30CF-C036-F7B1203ECC34}" name="Sveinn Madvig Sigfredsson" initials="SMS" userId="S::sveinn.sigfredsson@Fluidogroup.onmicrosoft.com::ada91448-af9c-4fa2-8082-93956f0485d2" providerId="AD"/>
  <p188:author id="{0A1B0559-90ED-5D31-13A5-B58DA717B6C2}" name="Berna Sagun" initials="" userId="S::berna.sagun@Fluidogroup.onmicrosoft.com::63ee0f80-f470-4917-8457-57c51bd8a08a" providerId="AD"/>
  <p188:author id="{FF57CA7D-8E0F-39A3-42E6-EB6986375033}" name="Prakash Ramnani" initials="PR" userId="S::prakash.ramnani@fluidogroup.onmicrosoft.com::f7c14096-8983-485e-8b0b-5d8b751314c4" providerId="AD"/>
  <p188:author id="{1366438B-2585-036A-4E5F-4BEB7C1675F4}" name="Mette Dekker - Implement Consulting Group" initials="MD" userId="S::mde@implement.dk::abb2a561-832a-4414-b0c3-66854e6cadb6" providerId="AD"/>
  <p188:author id="{F4B9098C-C497-0817-8BB2-19358A342396}" name="Andreas Bettles - Implement Consulting Group" initials="AB" userId="S::amad@implement.dk::08a5af2f-a6aa-4343-b4b5-3ec6ee7f10b1" providerId="AD"/>
  <p188:author id="{07199898-5A95-CE4C-D240-2C9898676157}" name="Carsten Birck Jensen" initials="CJ" userId="S::carsten.birck.jensen@fluidogroup.onmicrosoft.com::56ad41f6-d1e7-4752-9740-223120c3eb8e" providerId="AD"/>
  <p188:author id="{112A9E9D-ADFA-E4A2-2511-2AB320DE4D33}" name="Sveinn Madvig Sigfredsson" initials="SS" userId="S::sveinn.sigfredsson@fluidogroup.onmicrosoft.com::ada91448-af9c-4fa2-8082-93956f0485d2" providerId="AD"/>
  <p188:author id="{ABE58AC9-E0A7-3EB8-5774-E04EF4738068}" name="Morten Sejerøe" initials="MS" userId="S::morten.sejeroe@fluidogroup.onmicrosoft.com::0f2d8c05-edca-470c-89d3-44f172c48fcd" providerId="AD"/>
  <p188:author id="{1DFF15D3-86A1-5ABB-93AA-DAC66EECEEF2}" name="Gabi Omdahl" initials="GO" userId="S::gabi.omdahl@fluidogroup.onmicrosoft.com::531e8385-614f-4e74-b300-cf1961a9463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ikjer, Josefine" initials="RJ" lastIdx="3" clrIdx="0">
    <p:extLst>
      <p:ext uri="{19B8F6BF-5375-455C-9EA6-DF929625EA0E}">
        <p15:presenceInfo xmlns:p15="http://schemas.microsoft.com/office/powerpoint/2012/main" userId="S::jroikjer@kpmg.com::3b0877c7-0890-4207-a8dd-752fd22873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0306"/>
    <a:srgbClr val="FEDFDF"/>
    <a:srgbClr val="CBD6B9"/>
    <a:srgbClr val="4A8588"/>
    <a:srgbClr val="A3E5CC"/>
    <a:srgbClr val="429FAC"/>
    <a:srgbClr val="E7E6E6"/>
    <a:srgbClr val="9CC4D8"/>
    <a:srgbClr val="FCB1F7"/>
    <a:srgbClr val="8ABD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CBDE33-4E8E-D5AC-11C1-6E70E8B22E89}" v="894" dt="2025-05-08T16:43:07.248"/>
    <p1510:client id="{A78EAF01-A368-084C-CD87-3E49E19E6CEE}" v="427" dt="2025-05-07T18:51:28.044"/>
    <p1510:client id="{C8709105-5C15-CD16-9BB5-B029CE4B6C87}" v="18" dt="2025-05-07T13:01:43.3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120" d="100"/>
          <a:sy n="120" d="100"/>
        </p:scale>
        <p:origin x="234" y="96"/>
      </p:cViewPr>
      <p:guideLst>
        <p:guide pos="483"/>
        <p:guide orient="horz" pos="3838"/>
        <p:guide orient="horz" pos="595"/>
        <p:guide orient="horz" pos="142"/>
        <p:guide pos="715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5E7972-5F5D-4F45-BF2E-F61178F61926}" type="datetimeFigureOut">
              <a:rPr lang="da-DK" smtClean="0"/>
              <a:t>12-05-2025</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9F6A0A-BF80-46B7-ADF2-790C2A6F081E}" type="slidenum">
              <a:rPr lang="da-DK" smtClean="0"/>
              <a:t>‹#›</a:t>
            </a:fld>
            <a:endParaRPr lang="da-DK"/>
          </a:p>
        </p:txBody>
      </p:sp>
    </p:spTree>
    <p:extLst>
      <p:ext uri="{BB962C8B-B14F-4D97-AF65-F5344CB8AC3E}">
        <p14:creationId xmlns:p14="http://schemas.microsoft.com/office/powerpoint/2010/main" val="104157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emf"/><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376466"/>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6EB01F05-665F-4F78-8955-335836BECF6E}"/>
              </a:ext>
            </a:extLst>
          </p:cNvPr>
          <p:cNvSpPr/>
          <p:nvPr userDrawn="1"/>
        </p:nvSpPr>
        <p:spPr bwMode="auto">
          <a:xfrm flipH="1" flipV="1">
            <a:off x="7200" y="9756"/>
            <a:ext cx="12184800" cy="5191125"/>
          </a:xfrm>
          <a:prstGeom prst="rtTriangle">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a:ln>
                <a:noFill/>
              </a:ln>
              <a:solidFill>
                <a:srgbClr val="FFFFFF"/>
              </a:solidFill>
              <a:effectLst/>
              <a:latin typeface="+mn-lt"/>
              <a:ea typeface="ＭＳ Ｐゴシック" pitchFamily="-80" charset="-128"/>
            </a:endParaRPr>
          </a:p>
        </p:txBody>
      </p:sp>
      <p:sp>
        <p:nvSpPr>
          <p:cNvPr id="9" name="Right Triangle 8">
            <a:extLst>
              <a:ext uri="{FF2B5EF4-FFF2-40B4-BE49-F238E27FC236}">
                <a16:creationId xmlns:a16="http://schemas.microsoft.com/office/drawing/2014/main" id="{3EE0F563-E6D6-4387-9EB4-0C775BEF9471}"/>
              </a:ext>
            </a:extLst>
          </p:cNvPr>
          <p:cNvSpPr/>
          <p:nvPr userDrawn="1"/>
        </p:nvSpPr>
        <p:spPr bwMode="auto">
          <a:xfrm flipV="1">
            <a:off x="0" y="-3395"/>
            <a:ext cx="7505700" cy="1581150"/>
          </a:xfrm>
          <a:prstGeom prst="rtTriangle">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a:ln>
                <a:noFill/>
              </a:ln>
              <a:solidFill>
                <a:srgbClr val="FFFFFF"/>
              </a:solidFill>
              <a:effectLst/>
              <a:latin typeface="+mn-lt"/>
              <a:ea typeface="ＭＳ Ｐゴシック" pitchFamily="-80" charset="-128"/>
            </a:endParaRPr>
          </a:p>
        </p:txBody>
      </p:sp>
      <p:sp>
        <p:nvSpPr>
          <p:cNvPr id="2" name="Title 1">
            <a:extLst>
              <a:ext uri="{FF2B5EF4-FFF2-40B4-BE49-F238E27FC236}">
                <a16:creationId xmlns:a16="http://schemas.microsoft.com/office/drawing/2014/main" id="{68FB7B03-3CDB-4B56-A60E-D736CC8F2B17}"/>
              </a:ext>
            </a:extLst>
          </p:cNvPr>
          <p:cNvSpPr>
            <a:spLocks noGrp="1"/>
          </p:cNvSpPr>
          <p:nvPr>
            <p:ph type="ctrTitle"/>
          </p:nvPr>
        </p:nvSpPr>
        <p:spPr>
          <a:xfrm>
            <a:off x="1524000" y="2734591"/>
            <a:ext cx="9144000" cy="2387600"/>
          </a:xfrm>
          <a:prstGeom prst="rect">
            <a:avLst/>
          </a:prstGeom>
        </p:spPr>
        <p:txBody>
          <a:bodyPr anchor="b"/>
          <a:lstStyle>
            <a:lvl1pPr algn="ctr">
              <a:defRPr sz="6000">
                <a:solidFill>
                  <a:schemeClr val="bg1"/>
                </a:solidFill>
                <a:latin typeface="+mj-lt"/>
              </a:defRPr>
            </a:lvl1pPr>
          </a:lstStyle>
          <a:p>
            <a:r>
              <a:rPr lang="en-US"/>
              <a:t>Click to edit Master title style</a:t>
            </a:r>
            <a:endParaRPr lang="da-DK"/>
          </a:p>
        </p:txBody>
      </p:sp>
      <p:sp>
        <p:nvSpPr>
          <p:cNvPr id="3" name="Subtitle 2">
            <a:extLst>
              <a:ext uri="{FF2B5EF4-FFF2-40B4-BE49-F238E27FC236}">
                <a16:creationId xmlns:a16="http://schemas.microsoft.com/office/drawing/2014/main" id="{C1DF8315-DA0B-40C3-A476-8BDB8FF989F6}"/>
              </a:ext>
            </a:extLst>
          </p:cNvPr>
          <p:cNvSpPr>
            <a:spLocks noGrp="1"/>
          </p:cNvSpPr>
          <p:nvPr>
            <p:ph type="subTitle" idx="1"/>
          </p:nvPr>
        </p:nvSpPr>
        <p:spPr>
          <a:xfrm>
            <a:off x="1524000" y="5200880"/>
            <a:ext cx="9144000" cy="655633"/>
          </a:xfrm>
        </p:spPr>
        <p:txBody>
          <a:bodyPr/>
          <a:lstStyle>
            <a:lvl1pPr marL="0" indent="0" algn="ctr">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8" name="Date Placeholder 7">
            <a:extLst>
              <a:ext uri="{FF2B5EF4-FFF2-40B4-BE49-F238E27FC236}">
                <a16:creationId xmlns:a16="http://schemas.microsoft.com/office/drawing/2014/main" id="{E2E22171-C378-4A63-AA4E-FCB3F3957466}"/>
              </a:ext>
            </a:extLst>
          </p:cNvPr>
          <p:cNvSpPr>
            <a:spLocks noGrp="1"/>
          </p:cNvSpPr>
          <p:nvPr>
            <p:ph type="dt" sz="half" idx="10"/>
          </p:nvPr>
        </p:nvSpPr>
        <p:spPr>
          <a:xfrm>
            <a:off x="838200" y="6367732"/>
            <a:ext cx="2743200" cy="365125"/>
          </a:xfrm>
          <a:prstGeom prst="rect">
            <a:avLst/>
          </a:prstGeom>
        </p:spPr>
        <p:txBody>
          <a:bodyPr/>
          <a:lstStyle>
            <a:lvl1pPr>
              <a:defRPr>
                <a:solidFill>
                  <a:schemeClr val="bg1"/>
                </a:solidFill>
              </a:defRPr>
            </a:lvl1pPr>
          </a:lstStyle>
          <a:p>
            <a:fld id="{753B5EE1-9FED-4010-AAB9-1B74CB29B8F1}" type="datetime1">
              <a:rPr lang="da-DK" smtClean="0"/>
              <a:t>12-05-2025</a:t>
            </a:fld>
            <a:endParaRPr lang="da-DK"/>
          </a:p>
        </p:txBody>
      </p:sp>
      <p:sp>
        <p:nvSpPr>
          <p:cNvPr id="11" name="Slide Number Placeholder 10">
            <a:extLst>
              <a:ext uri="{FF2B5EF4-FFF2-40B4-BE49-F238E27FC236}">
                <a16:creationId xmlns:a16="http://schemas.microsoft.com/office/drawing/2014/main" id="{E325CC66-34E0-4282-967A-24E78B5F509E}"/>
              </a:ext>
            </a:extLst>
          </p:cNvPr>
          <p:cNvSpPr>
            <a:spLocks noGrp="1"/>
          </p:cNvSpPr>
          <p:nvPr>
            <p:ph type="sldNum" sz="quarter" idx="12"/>
          </p:nvPr>
        </p:nvSpPr>
        <p:spPr>
          <a:xfrm>
            <a:off x="8610600" y="6367732"/>
            <a:ext cx="2492829" cy="365125"/>
          </a:xfrm>
        </p:spPr>
        <p:txBody>
          <a:bodyPr/>
          <a:lstStyle>
            <a:lvl1pPr>
              <a:defRPr>
                <a:solidFill>
                  <a:schemeClr val="bg1"/>
                </a:solidFill>
              </a:defRPr>
            </a:lvl1pPr>
          </a:lstStyle>
          <a:p>
            <a:fld id="{39DF810D-F77C-4BB2-BE6A-BDC67BB44902}" type="slidenum">
              <a:rPr lang="da-DK" smtClean="0"/>
              <a:pPr/>
              <a:t>‹#›</a:t>
            </a:fld>
            <a:endParaRPr lang="da-DK"/>
          </a:p>
        </p:txBody>
      </p:sp>
      <p:sp>
        <p:nvSpPr>
          <p:cNvPr id="268" name="Footer Placeholder 4">
            <a:extLst>
              <a:ext uri="{FF2B5EF4-FFF2-40B4-BE49-F238E27FC236}">
                <a16:creationId xmlns:a16="http://schemas.microsoft.com/office/drawing/2014/main" id="{39F6ED66-EED7-4F32-95B6-8628C6E0719F}"/>
              </a:ext>
            </a:extLst>
          </p:cNvPr>
          <p:cNvSpPr>
            <a:spLocks noGrp="1"/>
          </p:cNvSpPr>
          <p:nvPr>
            <p:ph type="ftr" sz="quarter" idx="3"/>
          </p:nvPr>
        </p:nvSpPr>
        <p:spPr>
          <a:xfrm>
            <a:off x="4038600" y="6367732"/>
            <a:ext cx="4114800" cy="365125"/>
          </a:xfrm>
          <a:prstGeom prst="rect">
            <a:avLst/>
          </a:prstGeom>
        </p:spPr>
        <p:txBody>
          <a:bodyPr vert="horz" lIns="91440" tIns="45720" rIns="91440" bIns="45720" rtlCol="0" anchor="ctr"/>
          <a:lstStyle>
            <a:lvl1pPr algn="ctr">
              <a:defRPr sz="800" i="0">
                <a:solidFill>
                  <a:schemeClr val="bg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grpSp>
        <p:nvGrpSpPr>
          <p:cNvPr id="272" name="Graphic 5">
            <a:extLst>
              <a:ext uri="{FF2B5EF4-FFF2-40B4-BE49-F238E27FC236}">
                <a16:creationId xmlns:a16="http://schemas.microsoft.com/office/drawing/2014/main" id="{425395C3-B5C3-4749-9D34-AA9BB01BA218}"/>
              </a:ext>
            </a:extLst>
          </p:cNvPr>
          <p:cNvGrpSpPr/>
          <p:nvPr/>
        </p:nvGrpSpPr>
        <p:grpSpPr>
          <a:xfrm>
            <a:off x="411007" y="259436"/>
            <a:ext cx="854386" cy="837339"/>
            <a:chOff x="632997" y="3239655"/>
            <a:chExt cx="440022" cy="431242"/>
          </a:xfrm>
          <a:solidFill>
            <a:schemeClr val="bg1">
              <a:alpha val="35000"/>
            </a:schemeClr>
          </a:solidFill>
        </p:grpSpPr>
        <p:sp>
          <p:nvSpPr>
            <p:cNvPr id="273" name="Freeform: Shape 272">
              <a:extLst>
                <a:ext uri="{FF2B5EF4-FFF2-40B4-BE49-F238E27FC236}">
                  <a16:creationId xmlns:a16="http://schemas.microsoft.com/office/drawing/2014/main" id="{31D7A666-A1E9-49F7-8D95-9C8420578A68}"/>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4" name="Freeform: Shape 273">
              <a:extLst>
                <a:ext uri="{FF2B5EF4-FFF2-40B4-BE49-F238E27FC236}">
                  <a16:creationId xmlns:a16="http://schemas.microsoft.com/office/drawing/2014/main" id="{55D3B7C6-3DB8-4038-9E7E-BBF947C95C3D}"/>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5" name="Freeform: Shape 274">
              <a:extLst>
                <a:ext uri="{FF2B5EF4-FFF2-40B4-BE49-F238E27FC236}">
                  <a16:creationId xmlns:a16="http://schemas.microsoft.com/office/drawing/2014/main" id="{A2C39EEF-22EE-4F59-A91D-768D9DCC4662}"/>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6" name="Freeform: Shape 275">
              <a:extLst>
                <a:ext uri="{FF2B5EF4-FFF2-40B4-BE49-F238E27FC236}">
                  <a16:creationId xmlns:a16="http://schemas.microsoft.com/office/drawing/2014/main" id="{C9DD0897-5235-4F60-AA92-D74D28882664}"/>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7" name="Freeform: Shape 276">
              <a:extLst>
                <a:ext uri="{FF2B5EF4-FFF2-40B4-BE49-F238E27FC236}">
                  <a16:creationId xmlns:a16="http://schemas.microsoft.com/office/drawing/2014/main" id="{DDEB94AB-9118-4475-A9CB-C507B8858234}"/>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8" name="Freeform: Shape 277">
              <a:extLst>
                <a:ext uri="{FF2B5EF4-FFF2-40B4-BE49-F238E27FC236}">
                  <a16:creationId xmlns:a16="http://schemas.microsoft.com/office/drawing/2014/main" id="{D468DCFE-4E07-4017-BD1D-FEB9710317C7}"/>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9" name="Freeform: Shape 278">
              <a:extLst>
                <a:ext uri="{FF2B5EF4-FFF2-40B4-BE49-F238E27FC236}">
                  <a16:creationId xmlns:a16="http://schemas.microsoft.com/office/drawing/2014/main" id="{21F36C60-7138-48BB-ACAF-9A32F87E12CA}"/>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grpSp>
    </p:spTree>
    <p:extLst>
      <p:ext uri="{BB962C8B-B14F-4D97-AF65-F5344CB8AC3E}">
        <p14:creationId xmlns:p14="http://schemas.microsoft.com/office/powerpoint/2010/main" val="10637576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8C621-0B97-4C7C-B6C0-830F755612E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da-DK"/>
          </a:p>
        </p:txBody>
      </p:sp>
      <p:sp>
        <p:nvSpPr>
          <p:cNvPr id="3" name="Picture Placeholder 2">
            <a:extLst>
              <a:ext uri="{FF2B5EF4-FFF2-40B4-BE49-F238E27FC236}">
                <a16:creationId xmlns:a16="http://schemas.microsoft.com/office/drawing/2014/main" id="{46BE7B75-9BF4-4401-B191-BB3908E1EBE2}"/>
              </a:ext>
            </a:extLst>
          </p:cNvPr>
          <p:cNvSpPr>
            <a:spLocks noGrp="1"/>
          </p:cNvSpPr>
          <p:nvPr>
            <p:ph type="pic" idx="1"/>
          </p:nvPr>
        </p:nvSpPr>
        <p:spPr>
          <a:xfrm>
            <a:off x="5183188" y="987425"/>
            <a:ext cx="6214156"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da-DK"/>
          </a:p>
        </p:txBody>
      </p:sp>
      <p:sp>
        <p:nvSpPr>
          <p:cNvPr id="4" name="Text Placeholder 3">
            <a:extLst>
              <a:ext uri="{FF2B5EF4-FFF2-40B4-BE49-F238E27FC236}">
                <a16:creationId xmlns:a16="http://schemas.microsoft.com/office/drawing/2014/main" id="{00233DD2-FA4D-47F9-8892-625CA25DF5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cxnSp>
        <p:nvCxnSpPr>
          <p:cNvPr id="10" name="Straight Connector 9">
            <a:extLst>
              <a:ext uri="{FF2B5EF4-FFF2-40B4-BE49-F238E27FC236}">
                <a16:creationId xmlns:a16="http://schemas.microsoft.com/office/drawing/2014/main" id="{EFE0AF08-08E3-45E3-9742-C8B6E2926BB4}"/>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A7C20CAB-C827-4D9D-89DA-EAD5E03067D0}"/>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1" name="Date Placeholder 2">
            <a:extLst>
              <a:ext uri="{FF2B5EF4-FFF2-40B4-BE49-F238E27FC236}">
                <a16:creationId xmlns:a16="http://schemas.microsoft.com/office/drawing/2014/main" id="{FEE037F5-F845-4A59-BC5A-B8D3EB4A5DBD}"/>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3766606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ED3B1CA5-2BDE-4BB5-BBA0-411DD54C83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9" name="Straight Connector 8">
            <a:extLst>
              <a:ext uri="{FF2B5EF4-FFF2-40B4-BE49-F238E27FC236}">
                <a16:creationId xmlns:a16="http://schemas.microsoft.com/office/drawing/2014/main" id="{88905425-0F8F-42E7-9785-D1DE2BD25732}"/>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B402CF81-21B2-4C69-99B5-B2D2CE00F43F}"/>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8" name="Slide Number Placeholder 5">
            <a:extLst>
              <a:ext uri="{FF2B5EF4-FFF2-40B4-BE49-F238E27FC236}">
                <a16:creationId xmlns:a16="http://schemas.microsoft.com/office/drawing/2014/main" id="{0CAEEB8D-63C0-4BD3-953D-EB1951D55AA9}"/>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FC9D9886-C887-4D2E-882D-C8DA2BAAE279}"/>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2223660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FFFE99-DDD3-44D9-A560-AD74CB3A9BAF}"/>
              </a:ext>
            </a:extLst>
          </p:cNvPr>
          <p:cNvSpPr>
            <a:spLocks noGrp="1"/>
          </p:cNvSpPr>
          <p:nvPr>
            <p:ph type="title" orient="vert"/>
          </p:nvPr>
        </p:nvSpPr>
        <p:spPr>
          <a:xfrm>
            <a:off x="8904515" y="365125"/>
            <a:ext cx="2492829" cy="5648766"/>
          </a:xfrm>
          <a:prstGeom prst="rect">
            <a:avLst/>
          </a:prstGeom>
        </p:spPr>
        <p:txBody>
          <a:bodyPr vert="eaVert"/>
          <a:lstStyle/>
          <a:p>
            <a:r>
              <a:rPr lang="en-US"/>
              <a:t>Click to edit Master title style</a:t>
            </a:r>
            <a:endParaRPr lang="da-DK"/>
          </a:p>
        </p:txBody>
      </p:sp>
      <p:sp>
        <p:nvSpPr>
          <p:cNvPr id="3" name="Vertical Text Placeholder 2">
            <a:extLst>
              <a:ext uri="{FF2B5EF4-FFF2-40B4-BE49-F238E27FC236}">
                <a16:creationId xmlns:a16="http://schemas.microsoft.com/office/drawing/2014/main" id="{1B66AEED-6426-46ED-A5C0-2ED3B3105DF7}"/>
              </a:ext>
            </a:extLst>
          </p:cNvPr>
          <p:cNvSpPr>
            <a:spLocks noGrp="1"/>
          </p:cNvSpPr>
          <p:nvPr>
            <p:ph type="body" orient="vert" idx="1"/>
          </p:nvPr>
        </p:nvSpPr>
        <p:spPr>
          <a:xfrm>
            <a:off x="764060" y="365125"/>
            <a:ext cx="7900970" cy="564876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9" name="Straight Connector 8">
            <a:extLst>
              <a:ext uri="{FF2B5EF4-FFF2-40B4-BE49-F238E27FC236}">
                <a16:creationId xmlns:a16="http://schemas.microsoft.com/office/drawing/2014/main" id="{DF473211-8EE3-4C93-9983-0F126719DF94}"/>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99058BE5-B828-449D-9426-FEBF833BF12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54DC5E31-E833-4DD4-97C6-EE22EA26A52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41497575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7D645976-D738-4A9C-AFF5-7C4855F7030B}"/>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5DA2D0FD-D62A-492E-B8A9-6B72B5866822}"/>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28918959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14F577-AB74-4B32-B9FE-A92FDE34CD8C}"/>
              </a:ext>
            </a:extLst>
          </p:cNvPr>
          <p:cNvSpPr>
            <a:spLocks noGrp="1"/>
          </p:cNvSpPr>
          <p:nvPr>
            <p:ph sz="half" idx="1"/>
          </p:nvPr>
        </p:nvSpPr>
        <p:spPr>
          <a:xfrm>
            <a:off x="838201" y="1219200"/>
            <a:ext cx="4931229" cy="4794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Content Placeholder 3">
            <a:extLst>
              <a:ext uri="{FF2B5EF4-FFF2-40B4-BE49-F238E27FC236}">
                <a16:creationId xmlns:a16="http://schemas.microsoft.com/office/drawing/2014/main" id="{2DF8F4A2-3EF1-4703-BAE5-6CE954858890}"/>
              </a:ext>
            </a:extLst>
          </p:cNvPr>
          <p:cNvSpPr>
            <a:spLocks noGrp="1"/>
          </p:cNvSpPr>
          <p:nvPr>
            <p:ph sz="half" idx="2"/>
          </p:nvPr>
        </p:nvSpPr>
        <p:spPr>
          <a:xfrm>
            <a:off x="6466115" y="1219200"/>
            <a:ext cx="4931229" cy="4794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12" name="Straight Connector 11">
            <a:extLst>
              <a:ext uri="{FF2B5EF4-FFF2-40B4-BE49-F238E27FC236}">
                <a16:creationId xmlns:a16="http://schemas.microsoft.com/office/drawing/2014/main" id="{D25423A8-0B2D-41DE-BC82-01AAAD4D7DBE}"/>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AABA8C7C-84AF-4117-A127-4FC88A318BA2}"/>
              </a:ext>
            </a:extLst>
          </p:cNvPr>
          <p:cNvSpPr txBox="1">
            <a:spLocks/>
          </p:cNvSpPr>
          <p:nvPr userDrawn="1"/>
        </p:nvSpPr>
        <p:spPr>
          <a:xfrm>
            <a:off x="764059" y="248496"/>
            <a:ext cx="10633284" cy="6944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F9D1606C-BA04-4D3A-BAFF-E0C25CF9826A}"/>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FFABB0F3-1BAC-4448-9DFB-1368B9A3843E}"/>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5916692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7" name="Slide Number Placeholder 5">
            <a:extLst>
              <a:ext uri="{FF2B5EF4-FFF2-40B4-BE49-F238E27FC236}">
                <a16:creationId xmlns:a16="http://schemas.microsoft.com/office/drawing/2014/main" id="{4CFFA4C1-CA99-4FA5-A71B-F2B578C7C7DC}"/>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9" name="Date Placeholder 2">
            <a:extLst>
              <a:ext uri="{FF2B5EF4-FFF2-40B4-BE49-F238E27FC236}">
                <a16:creationId xmlns:a16="http://schemas.microsoft.com/office/drawing/2014/main" id="{E5E4B20D-78C3-4B72-A9C4-520915C8FF3E}"/>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14306139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2519537-D7FE-4352-8267-4691F584EC0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37175440-D7DA-48D2-9FC9-CE4D7225957B}"/>
              </a:ext>
            </a:extLst>
          </p:cNvPr>
          <p:cNvSpPr>
            <a:spLocks noGrp="1"/>
          </p:cNvSpPr>
          <p:nvPr>
            <p:ph type="title"/>
          </p:nvPr>
        </p:nvSpPr>
        <p:spPr>
          <a:xfrm>
            <a:off x="764058" y="248496"/>
            <a:ext cx="10633285"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7" name="Slide Number Placeholder 5">
            <a:extLst>
              <a:ext uri="{FF2B5EF4-FFF2-40B4-BE49-F238E27FC236}">
                <a16:creationId xmlns:a16="http://schemas.microsoft.com/office/drawing/2014/main" id="{CA3EBB37-854C-4911-9771-10C10A54138D}"/>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C0CBC1D3-FCB2-44FC-BE4D-0FB505EB94F2}"/>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23947252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ED3B1CA5-2BDE-4BB5-BBA0-411DD54C83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9" name="Straight Connector 8">
            <a:extLst>
              <a:ext uri="{FF2B5EF4-FFF2-40B4-BE49-F238E27FC236}">
                <a16:creationId xmlns:a16="http://schemas.microsoft.com/office/drawing/2014/main" id="{88905425-0F8F-42E7-9785-D1DE2BD25732}"/>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B402CF81-21B2-4C69-99B5-B2D2CE00F43F}"/>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8" name="Slide Number Placeholder 5">
            <a:extLst>
              <a:ext uri="{FF2B5EF4-FFF2-40B4-BE49-F238E27FC236}">
                <a16:creationId xmlns:a16="http://schemas.microsoft.com/office/drawing/2014/main" id="{D4E92CEF-CD07-4B6F-AB03-84B0EA80A493}"/>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6030B449-287A-456D-ACD0-FDF0A212E0A8}"/>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15646584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Kun ti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5D3E055-40BF-48B3-B8C1-EC9B8DBA2790}"/>
              </a:ext>
            </a:extLst>
          </p:cNvPr>
          <p:cNvGraphicFramePr>
            <a:graphicFrameLocks noChangeAspect="1"/>
          </p:cNvGraphicFramePr>
          <p:nvPr userDrawn="1">
            <p:custDataLst>
              <p:tags r:id="rId1"/>
            </p:custDataLst>
            <p:extLst>
              <p:ext uri="{D42A27DB-BD31-4B8C-83A1-F6EECF244321}">
                <p14:modId xmlns:p14="http://schemas.microsoft.com/office/powerpoint/2010/main" val="2581934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2" progId="TCLayout.ActiveDocument.1">
                  <p:embed/>
                </p:oleObj>
              </mc:Choice>
              <mc:Fallback>
                <p:oleObj name="think-cell Slide" r:id="rId3" imgW="411" imgH="412" progId="TCLayout.ActiveDocument.1">
                  <p:embed/>
                  <p:pic>
                    <p:nvPicPr>
                      <p:cNvPr id="4" name="Object 3" hidden="1">
                        <a:extLst>
                          <a:ext uri="{FF2B5EF4-FFF2-40B4-BE49-F238E27FC236}">
                            <a16:creationId xmlns:a16="http://schemas.microsoft.com/office/drawing/2014/main" id="{D5D3E055-40BF-48B3-B8C1-EC9B8DBA27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04686B77-7F7A-487B-9C03-EF8005BF1087}"/>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E38228DE-5C82-4F5E-A806-FEFDDA9CDAC0}"/>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8" name="Slide Number Placeholder 5">
            <a:extLst>
              <a:ext uri="{FF2B5EF4-FFF2-40B4-BE49-F238E27FC236}">
                <a16:creationId xmlns:a16="http://schemas.microsoft.com/office/drawing/2014/main" id="{231BDB71-E03E-471F-84F4-20FE22BB04F9}"/>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AB7E9653-8A75-4014-BB69-2E38E02395EF}"/>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2544335923"/>
      </p:ext>
    </p:extLst>
  </p:cSld>
  <p:clrMapOvr>
    <a:masterClrMapping/>
  </p:clrMapOvr>
  <p:extLst>
    <p:ext uri="{DCECCB84-F9BA-43D5-87BE-67443E8EF086}">
      <p15:sldGuideLst xmlns:p15="http://schemas.microsoft.com/office/powerpoint/2012/main">
        <p15:guide id="1" pos="1117">
          <p15:clr>
            <a:srgbClr val="F26B43"/>
          </p15:clr>
        </p15:guide>
        <p15:guide id="2" pos="6984">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A1">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12192000" cy="6858000"/>
          </a:xfrm>
          <a:prstGeom prst="rect">
            <a:avLst/>
          </a:prstGeom>
          <a:solidFill>
            <a:srgbClr val="451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5" name="Colour block_Right">
            <a:extLst>
              <a:ext uri="{FF2B5EF4-FFF2-40B4-BE49-F238E27FC236}">
                <a16:creationId xmlns:a16="http://schemas.microsoft.com/office/drawing/2014/main" id="{83E18B63-ADB0-7292-3540-8E1581C5DAD3}"/>
              </a:ext>
            </a:extLst>
          </p:cNvPr>
          <p:cNvSpPr txBox="1">
            <a:spLocks noGrp="1" noRot="1" noMove="1" noResize="1" noEditPoints="1" noAdjustHandles="1" noChangeArrowheads="1" noChangeShapeType="1"/>
          </p:cNvSpPr>
          <p:nvPr/>
        </p:nvSpPr>
        <p:spPr>
          <a:xfrm>
            <a:off x="9142800" y="0"/>
            <a:ext cx="3049200" cy="6858000"/>
          </a:xfrm>
          <a:prstGeom prst="rect">
            <a:avLst/>
          </a:prstGeom>
          <a:solidFill>
            <a:srgbClr val="4E2A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7" name="Colour block_Top">
            <a:extLst>
              <a:ext uri="{FF2B5EF4-FFF2-40B4-BE49-F238E27FC236}">
                <a16:creationId xmlns:a16="http://schemas.microsoft.com/office/drawing/2014/main" id="{F8DA1E39-CE4C-8DBA-06AF-83D8F2C4C6B3}"/>
              </a:ext>
            </a:extLst>
          </p:cNvPr>
          <p:cNvSpPr txBox="1">
            <a:spLocks noGrp="1" noRot="1" noMove="1" noResize="1" noEditPoints="1" noAdjustHandles="1" noChangeArrowheads="1" noChangeShapeType="1"/>
          </p:cNvSpPr>
          <p:nvPr/>
        </p:nvSpPr>
        <p:spPr>
          <a:xfrm>
            <a:off x="0" y="0"/>
            <a:ext cx="9144000" cy="1700213"/>
          </a:xfrm>
          <a:prstGeom prst="rect">
            <a:avLst/>
          </a:prstGeom>
          <a:solidFill>
            <a:srgbClr val="583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1015528" y="2752516"/>
            <a:ext cx="7597131" cy="1440000"/>
          </a:xfrm>
          <a:prstGeom prst="rect">
            <a:avLst/>
          </a:prstGeom>
        </p:spPr>
        <p:txBody>
          <a:bodyPr anchor="b"/>
          <a:lstStyle>
            <a:lvl1pPr algn="l">
              <a:lnSpc>
                <a:spcPct val="90000"/>
              </a:lnSpc>
              <a:spcAft>
                <a:spcPts val="1200"/>
              </a:spcAft>
              <a:defRPr sz="5000">
                <a:solidFill>
                  <a:schemeClr val="bg1"/>
                </a:solidFill>
                <a:latin typeface="Palatino Linotype" panose="02040502050505030304" pitchFamily="18" charset="0"/>
              </a:defRPr>
            </a:lvl1pPr>
          </a:lstStyle>
          <a:p>
            <a:r>
              <a:rPr lang="en-GB"/>
              <a:t>Click to insert presentation title – max 3 rows, preferably 2</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1015527" y="4492438"/>
            <a:ext cx="7597131" cy="1224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8" name="Date or author">
            <a:extLst>
              <a:ext uri="{FF2B5EF4-FFF2-40B4-BE49-F238E27FC236}">
                <a16:creationId xmlns:a16="http://schemas.microsoft.com/office/drawing/2014/main" id="{2DE87EE2-580C-FF58-180F-53ECF8E53342}"/>
              </a:ext>
            </a:extLst>
          </p:cNvPr>
          <p:cNvSpPr>
            <a:spLocks noGrp="1"/>
          </p:cNvSpPr>
          <p:nvPr>
            <p:ph type="body" sz="quarter" idx="10" hasCustomPrompt="1"/>
          </p:nvPr>
        </p:nvSpPr>
        <p:spPr>
          <a:xfrm>
            <a:off x="1015527" y="6129238"/>
            <a:ext cx="7597131" cy="216000"/>
          </a:xfrm>
          <a:prstGeom prst="rect">
            <a:avLst/>
          </a:prstGeom>
        </p:spPr>
        <p:txBody>
          <a:bodyPr anchor="b"/>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8" name="Picture Placeholder_Right">
            <a:extLst>
              <a:ext uri="{FF2B5EF4-FFF2-40B4-BE49-F238E27FC236}">
                <a16:creationId xmlns:a16="http://schemas.microsoft.com/office/drawing/2014/main" id="{6CE07FC1-F99E-F301-9789-13C8B32FF2D6}"/>
              </a:ext>
            </a:extLst>
          </p:cNvPr>
          <p:cNvSpPr>
            <a:spLocks noGrp="1"/>
          </p:cNvSpPr>
          <p:nvPr>
            <p:ph type="pic" sz="quarter" idx="12" hasCustomPrompt="1"/>
          </p:nvPr>
        </p:nvSpPr>
        <p:spPr>
          <a:xfrm>
            <a:off x="9142800" y="0"/>
            <a:ext cx="3049200" cy="6858000"/>
          </a:xfrm>
          <a:prstGeom prst="rect">
            <a:avLst/>
          </a:prstGeom>
          <a:noFill/>
        </p:spPr>
        <p:txBody>
          <a:bodyPr vert="horz" lIns="288000" tIns="1188000" rIns="288000" bIns="0" rtlCol="0" anchor="ctr" anchorCtr="0">
            <a:noAutofit/>
          </a:bodyPr>
          <a:lstStyle>
            <a:lvl1pPr>
              <a:defRPr lang="en-GB" sz="1200" dirty="0">
                <a:solidFill>
                  <a:srgbClr val="A8A5A1"/>
                </a:solidFill>
              </a:defRPr>
            </a:lvl1pPr>
          </a:lstStyle>
          <a:p>
            <a:pPr lvl="0" algn="ctr"/>
            <a:r>
              <a:rPr lang="en-GB"/>
              <a:t>Click on icon if you wish to insert a picture in this section. However, NEVER insert pictures in both top section and to the right – “both/and” does not apply here!  </a:t>
            </a:r>
          </a:p>
        </p:txBody>
      </p:sp>
      <p:sp>
        <p:nvSpPr>
          <p:cNvPr id="4" name="Picture Placeholder_Top">
            <a:extLst>
              <a:ext uri="{FF2B5EF4-FFF2-40B4-BE49-F238E27FC236}">
                <a16:creationId xmlns:a16="http://schemas.microsoft.com/office/drawing/2014/main" id="{307B6E44-38A8-12AB-F08A-42CDE70B76D0}"/>
              </a:ext>
            </a:extLst>
          </p:cNvPr>
          <p:cNvSpPr>
            <a:spLocks noGrp="1"/>
          </p:cNvSpPr>
          <p:nvPr>
            <p:ph type="pic" sz="quarter" idx="14" hasCustomPrompt="1"/>
          </p:nvPr>
        </p:nvSpPr>
        <p:spPr>
          <a:xfrm>
            <a:off x="0" y="0"/>
            <a:ext cx="9142800" cy="1700213"/>
          </a:xfrm>
          <a:prstGeom prst="rect">
            <a:avLst/>
          </a:prstGeom>
          <a:noFill/>
        </p:spPr>
        <p:txBody>
          <a:bodyPr lIns="1440000" tIns="0" rIns="1440000" bIns="0" anchor="ctr" anchorCtr="0"/>
          <a:lstStyle>
            <a:lvl1pPr algn="ctr">
              <a:defRPr sz="1200">
                <a:solidFill>
                  <a:srgbClr val="A8A5A1"/>
                </a:solidFill>
              </a:defRPr>
            </a:lvl1pPr>
          </a:lstStyle>
          <a:p>
            <a:r>
              <a:rPr lang="en-GB"/>
              <a:t>Click on icon if you wish to insert a picture in this section. However, NEVER insert pictures in both top section and to the right – “both/and” does not apply here!  </a:t>
            </a:r>
          </a:p>
        </p:txBody>
      </p:sp>
      <p:sp>
        <p:nvSpPr>
          <p:cNvPr id="9" name="Logo">
            <a:extLst>
              <a:ext uri="{FF2B5EF4-FFF2-40B4-BE49-F238E27FC236}">
                <a16:creationId xmlns:a16="http://schemas.microsoft.com/office/drawing/2014/main" id="{183A6587-DD01-53DB-B16F-72CE0239CDA6}"/>
              </a:ext>
            </a:extLst>
          </p:cNvPr>
          <p:cNvSpPr>
            <a:spLocks noGrp="1" noRot="1" noChangeAspect="1" noMove="1" noResize="1" noEditPoints="1" noAdjustHandles="1" noChangeArrowheads="1" noChangeShapeType="1"/>
          </p:cNvSpPr>
          <p:nvPr>
            <p:ph type="body" sz="quarter" idx="13" hasCustomPrompt="1"/>
          </p:nvPr>
        </p:nvSpPr>
        <p:spPr>
          <a:xfrm rot="5400000">
            <a:off x="11153739" y="755875"/>
            <a:ext cx="1260000" cy="288000"/>
          </a:xfrm>
          <a:prstGeom prst="rect">
            <a:avLst/>
          </a:prstGeom>
          <a:blipFill dpi="0" rotWithShape="0">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a:buNone/>
              <a:defRPr sz="100"/>
            </a:lvl1pPr>
          </a:lstStyle>
          <a:p>
            <a:pPr lvl="0"/>
            <a:r>
              <a:rPr lang="en-GB"/>
              <a:t> </a:t>
            </a:r>
          </a:p>
        </p:txBody>
      </p:sp>
    </p:spTree>
    <p:extLst>
      <p:ext uri="{BB962C8B-B14F-4D97-AF65-F5344CB8AC3E}">
        <p14:creationId xmlns:p14="http://schemas.microsoft.com/office/powerpoint/2010/main" val="107026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Divider slid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EB01F05-665F-4F78-8955-335836BECF6E}"/>
              </a:ext>
            </a:extLst>
          </p:cNvPr>
          <p:cNvSpPr/>
          <p:nvPr userDrawn="1"/>
        </p:nvSpPr>
        <p:spPr bwMode="auto">
          <a:xfrm flipH="1" flipV="1">
            <a:off x="0" y="0"/>
            <a:ext cx="6375178" cy="6858000"/>
          </a:xfrm>
          <a:prstGeom prst="rect">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432"/>
              </a:spcBef>
              <a:spcAft>
                <a:spcPct val="0"/>
              </a:spcAft>
              <a:buClrTx/>
              <a:buSzTx/>
              <a:buFontTx/>
              <a:buNone/>
              <a:tabLst/>
              <a:defRPr/>
            </a:pPr>
            <a:endParaRPr kumimoji="0" lang="da-DK" sz="1600" b="0" i="0" u="none" strike="noStrike" kern="1200" cap="none" spc="0" normalizeH="0" baseline="0" noProof="0">
              <a:ln>
                <a:noFill/>
              </a:ln>
              <a:solidFill>
                <a:srgbClr val="FFFFFF"/>
              </a:solidFill>
              <a:effectLst/>
              <a:uLnTx/>
              <a:uFillTx/>
              <a:latin typeface="Arial" panose="020B0604020202020204"/>
              <a:ea typeface="ＭＳ Ｐゴシック" pitchFamily="-80" charset="-128"/>
              <a:cs typeface="+mn-cs"/>
            </a:endParaRPr>
          </a:p>
        </p:txBody>
      </p:sp>
      <p:sp>
        <p:nvSpPr>
          <p:cNvPr id="2" name="Title 1">
            <a:extLst>
              <a:ext uri="{FF2B5EF4-FFF2-40B4-BE49-F238E27FC236}">
                <a16:creationId xmlns:a16="http://schemas.microsoft.com/office/drawing/2014/main" id="{68FB7B03-3CDB-4B56-A60E-D736CC8F2B17}"/>
              </a:ext>
            </a:extLst>
          </p:cNvPr>
          <p:cNvSpPr>
            <a:spLocks noGrp="1"/>
          </p:cNvSpPr>
          <p:nvPr>
            <p:ph type="ctrTitle"/>
          </p:nvPr>
        </p:nvSpPr>
        <p:spPr>
          <a:xfrm>
            <a:off x="587505" y="1143466"/>
            <a:ext cx="5082831" cy="3300745"/>
          </a:xfrm>
          <a:prstGeom prst="rect">
            <a:avLst/>
          </a:prstGeom>
        </p:spPr>
        <p:txBody>
          <a:bodyPr anchor="b"/>
          <a:lstStyle>
            <a:lvl1pPr algn="ctr">
              <a:defRPr sz="6000">
                <a:solidFill>
                  <a:schemeClr val="bg1"/>
                </a:solidFill>
                <a:latin typeface="+mj-lt"/>
              </a:defRPr>
            </a:lvl1pPr>
          </a:lstStyle>
          <a:p>
            <a:r>
              <a:rPr lang="en-US"/>
              <a:t>Click to edit Master title style</a:t>
            </a:r>
            <a:endParaRPr lang="da-DK"/>
          </a:p>
        </p:txBody>
      </p:sp>
      <p:sp>
        <p:nvSpPr>
          <p:cNvPr id="3" name="Subtitle 2">
            <a:extLst>
              <a:ext uri="{FF2B5EF4-FFF2-40B4-BE49-F238E27FC236}">
                <a16:creationId xmlns:a16="http://schemas.microsoft.com/office/drawing/2014/main" id="{C1DF8315-DA0B-40C3-A476-8BDB8FF989F6}"/>
              </a:ext>
            </a:extLst>
          </p:cNvPr>
          <p:cNvSpPr>
            <a:spLocks noGrp="1"/>
          </p:cNvSpPr>
          <p:nvPr>
            <p:ph type="subTitle" idx="1"/>
          </p:nvPr>
        </p:nvSpPr>
        <p:spPr>
          <a:xfrm>
            <a:off x="613663" y="4644807"/>
            <a:ext cx="5082831" cy="655633"/>
          </a:xfrm>
        </p:spPr>
        <p:txBody>
          <a:bodyPr/>
          <a:lstStyle>
            <a:lvl1pPr marL="0" indent="0" algn="ctr">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grpSp>
        <p:nvGrpSpPr>
          <p:cNvPr id="134" name="Group 133">
            <a:extLst>
              <a:ext uri="{FF2B5EF4-FFF2-40B4-BE49-F238E27FC236}">
                <a16:creationId xmlns:a16="http://schemas.microsoft.com/office/drawing/2014/main" id="{438EF9D8-2CCD-43BA-94A9-8127C3647697}"/>
              </a:ext>
            </a:extLst>
          </p:cNvPr>
          <p:cNvGrpSpPr>
            <a:grpSpLocks/>
          </p:cNvGrpSpPr>
          <p:nvPr userDrawn="1"/>
        </p:nvGrpSpPr>
        <p:grpSpPr>
          <a:xfrm>
            <a:off x="220034" y="6097318"/>
            <a:ext cx="1469181" cy="538076"/>
            <a:chOff x="632997" y="3237301"/>
            <a:chExt cx="1214135" cy="444667"/>
          </a:xfrm>
          <a:solidFill>
            <a:schemeClr val="bg1"/>
          </a:solidFill>
        </p:grpSpPr>
        <p:grpSp>
          <p:nvGrpSpPr>
            <p:cNvPr id="135" name="Graphic 5">
              <a:extLst>
                <a:ext uri="{FF2B5EF4-FFF2-40B4-BE49-F238E27FC236}">
                  <a16:creationId xmlns:a16="http://schemas.microsoft.com/office/drawing/2014/main" id="{693617B4-D6B6-4ADE-AF79-295B334733DC}"/>
                </a:ext>
              </a:extLst>
            </p:cNvPr>
            <p:cNvGrpSpPr/>
            <p:nvPr/>
          </p:nvGrpSpPr>
          <p:grpSpPr>
            <a:xfrm>
              <a:off x="1202431" y="3237301"/>
              <a:ext cx="644701" cy="179292"/>
              <a:chOff x="1202431" y="3237301"/>
              <a:chExt cx="644701" cy="179292"/>
            </a:xfrm>
            <a:grpFill/>
          </p:grpSpPr>
          <p:sp>
            <p:nvSpPr>
              <p:cNvPr id="192" name="Freeform: Shape 191">
                <a:extLst>
                  <a:ext uri="{FF2B5EF4-FFF2-40B4-BE49-F238E27FC236}">
                    <a16:creationId xmlns:a16="http://schemas.microsoft.com/office/drawing/2014/main" id="{2D045F43-4F91-4FDE-BDAA-E8993C04381D}"/>
                  </a:ext>
                </a:extLst>
              </p:cNvPr>
              <p:cNvSpPr/>
              <p:nvPr/>
            </p:nvSpPr>
            <p:spPr>
              <a:xfrm>
                <a:off x="1202431" y="3239718"/>
                <a:ext cx="108415" cy="136600"/>
              </a:xfrm>
              <a:custGeom>
                <a:avLst/>
                <a:gdLst>
                  <a:gd name="connsiteX0" fmla="*/ 0 w 108415"/>
                  <a:gd name="connsiteY0" fmla="*/ 136601 h 136600"/>
                  <a:gd name="connsiteX1" fmla="*/ 0 w 108415"/>
                  <a:gd name="connsiteY1" fmla="*/ 0 h 136600"/>
                  <a:gd name="connsiteX2" fmla="*/ 26849 w 108415"/>
                  <a:gd name="connsiteY2" fmla="*/ 0 h 136600"/>
                  <a:gd name="connsiteX3" fmla="*/ 82775 w 108415"/>
                  <a:gd name="connsiteY3" fmla="*/ 91237 h 136600"/>
                  <a:gd name="connsiteX4" fmla="*/ 82775 w 108415"/>
                  <a:gd name="connsiteY4" fmla="*/ 0 h 136600"/>
                  <a:gd name="connsiteX5" fmla="*/ 108415 w 108415"/>
                  <a:gd name="connsiteY5" fmla="*/ 0 h 136600"/>
                  <a:gd name="connsiteX6" fmla="*/ 108415 w 108415"/>
                  <a:gd name="connsiteY6" fmla="*/ 136601 h 136600"/>
                  <a:gd name="connsiteX7" fmla="*/ 80739 w 108415"/>
                  <a:gd name="connsiteY7" fmla="*/ 136601 h 136600"/>
                  <a:gd name="connsiteX8" fmla="*/ 25640 w 108415"/>
                  <a:gd name="connsiteY8" fmla="*/ 47527 h 136600"/>
                  <a:gd name="connsiteX9" fmla="*/ 25640 w 108415"/>
                  <a:gd name="connsiteY9" fmla="*/ 136601 h 136600"/>
                  <a:gd name="connsiteX10" fmla="*/ 0 w 108415"/>
                  <a:gd name="connsiteY10" fmla="*/ 136601 h 1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15" h="136600">
                    <a:moveTo>
                      <a:pt x="0" y="136601"/>
                    </a:moveTo>
                    <a:lnTo>
                      <a:pt x="0" y="0"/>
                    </a:lnTo>
                    <a:lnTo>
                      <a:pt x="26849" y="0"/>
                    </a:lnTo>
                    <a:lnTo>
                      <a:pt x="82775" y="91237"/>
                    </a:lnTo>
                    <a:lnTo>
                      <a:pt x="82775" y="0"/>
                    </a:lnTo>
                    <a:lnTo>
                      <a:pt x="108415" y="0"/>
                    </a:lnTo>
                    <a:lnTo>
                      <a:pt x="108415" y="136601"/>
                    </a:lnTo>
                    <a:lnTo>
                      <a:pt x="80739" y="136601"/>
                    </a:lnTo>
                    <a:lnTo>
                      <a:pt x="25640" y="47527"/>
                    </a:lnTo>
                    <a:lnTo>
                      <a:pt x="25640" y="136601"/>
                    </a:lnTo>
                    <a:lnTo>
                      <a:pt x="0" y="136601"/>
                    </a:lnTo>
                    <a:close/>
                  </a:path>
                </a:pathLst>
              </a:custGeom>
              <a:grpFill/>
              <a:ln w="6361" cap="flat">
                <a:noFill/>
                <a:prstDash val="solid"/>
                <a:miter/>
              </a:ln>
            </p:spPr>
            <p:txBody>
              <a:bodyPr rtlCol="0" anchor="ctr"/>
              <a:lstStyle/>
              <a:p>
                <a:endParaRPr lang="da-DK"/>
              </a:p>
            </p:txBody>
          </p:sp>
          <p:sp>
            <p:nvSpPr>
              <p:cNvPr id="193" name="Freeform: Shape 192">
                <a:extLst>
                  <a:ext uri="{FF2B5EF4-FFF2-40B4-BE49-F238E27FC236}">
                    <a16:creationId xmlns:a16="http://schemas.microsoft.com/office/drawing/2014/main" id="{EE0B8821-7CDB-48E5-B41F-205C2A2A3EDA}"/>
                  </a:ext>
                </a:extLst>
              </p:cNvPr>
              <p:cNvSpPr/>
              <p:nvPr/>
            </p:nvSpPr>
            <p:spPr>
              <a:xfrm>
                <a:off x="1323571" y="3277384"/>
                <a:ext cx="101734" cy="139208"/>
              </a:xfrm>
              <a:custGeom>
                <a:avLst/>
                <a:gdLst>
                  <a:gd name="connsiteX0" fmla="*/ 0 w 101734"/>
                  <a:gd name="connsiteY0" fmla="*/ 0 h 139208"/>
                  <a:gd name="connsiteX1" fmla="*/ 27867 w 101734"/>
                  <a:gd name="connsiteY1" fmla="*/ 0 h 139208"/>
                  <a:gd name="connsiteX2" fmla="*/ 51535 w 101734"/>
                  <a:gd name="connsiteY2" fmla="*/ 70241 h 139208"/>
                  <a:gd name="connsiteX3" fmla="*/ 74631 w 101734"/>
                  <a:gd name="connsiteY3" fmla="*/ 0 h 139208"/>
                  <a:gd name="connsiteX4" fmla="*/ 101735 w 101734"/>
                  <a:gd name="connsiteY4" fmla="*/ 0 h 139208"/>
                  <a:gd name="connsiteX5" fmla="*/ 66805 w 101734"/>
                  <a:gd name="connsiteY5" fmla="*/ 95245 h 139208"/>
                  <a:gd name="connsiteX6" fmla="*/ 60570 w 101734"/>
                  <a:gd name="connsiteY6" fmla="*/ 112487 h 139208"/>
                  <a:gd name="connsiteX7" fmla="*/ 54017 w 101734"/>
                  <a:gd name="connsiteY7" fmla="*/ 125721 h 139208"/>
                  <a:gd name="connsiteX8" fmla="*/ 46827 w 101734"/>
                  <a:gd name="connsiteY8" fmla="*/ 133165 h 139208"/>
                  <a:gd name="connsiteX9" fmla="*/ 36838 w 101734"/>
                  <a:gd name="connsiteY9" fmla="*/ 137618 h 139208"/>
                  <a:gd name="connsiteX10" fmla="*/ 23477 w 101734"/>
                  <a:gd name="connsiteY10" fmla="*/ 139209 h 139208"/>
                  <a:gd name="connsiteX11" fmla="*/ 8653 w 101734"/>
                  <a:gd name="connsiteY11" fmla="*/ 137618 h 139208"/>
                  <a:gd name="connsiteX12" fmla="*/ 6299 w 101734"/>
                  <a:gd name="connsiteY12" fmla="*/ 117131 h 139208"/>
                  <a:gd name="connsiteX13" fmla="*/ 17369 w 101734"/>
                  <a:gd name="connsiteY13" fmla="*/ 118340 h 139208"/>
                  <a:gd name="connsiteX14" fmla="*/ 30858 w 101734"/>
                  <a:gd name="connsiteY14" fmla="*/ 112996 h 139208"/>
                  <a:gd name="connsiteX15" fmla="*/ 37538 w 101734"/>
                  <a:gd name="connsiteY15" fmla="*/ 99317 h 139208"/>
                  <a:gd name="connsiteX16" fmla="*/ 0 w 101734"/>
                  <a:gd name="connsiteY16" fmla="*/ 0 h 13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39208">
                    <a:moveTo>
                      <a:pt x="0" y="0"/>
                    </a:moveTo>
                    <a:lnTo>
                      <a:pt x="27867" y="0"/>
                    </a:lnTo>
                    <a:lnTo>
                      <a:pt x="51535" y="70241"/>
                    </a:lnTo>
                    <a:lnTo>
                      <a:pt x="74631" y="0"/>
                    </a:lnTo>
                    <a:lnTo>
                      <a:pt x="101735" y="0"/>
                    </a:lnTo>
                    <a:lnTo>
                      <a:pt x="66805" y="95245"/>
                    </a:lnTo>
                    <a:lnTo>
                      <a:pt x="60570" y="112487"/>
                    </a:lnTo>
                    <a:cubicBezTo>
                      <a:pt x="58279" y="118277"/>
                      <a:pt x="56053" y="122667"/>
                      <a:pt x="54017" y="125721"/>
                    </a:cubicBezTo>
                    <a:cubicBezTo>
                      <a:pt x="51917" y="128775"/>
                      <a:pt x="49563" y="131256"/>
                      <a:pt x="46827" y="133165"/>
                    </a:cubicBezTo>
                    <a:cubicBezTo>
                      <a:pt x="44155" y="135073"/>
                      <a:pt x="40783" y="136537"/>
                      <a:pt x="36838" y="137618"/>
                    </a:cubicBezTo>
                    <a:cubicBezTo>
                      <a:pt x="32894" y="138700"/>
                      <a:pt x="28440" y="139209"/>
                      <a:pt x="23477" y="139209"/>
                    </a:cubicBezTo>
                    <a:cubicBezTo>
                      <a:pt x="18451" y="139209"/>
                      <a:pt x="13488" y="138700"/>
                      <a:pt x="8653" y="137618"/>
                    </a:cubicBezTo>
                    <a:lnTo>
                      <a:pt x="6299" y="117131"/>
                    </a:lnTo>
                    <a:cubicBezTo>
                      <a:pt x="10371" y="117959"/>
                      <a:pt x="14125" y="118340"/>
                      <a:pt x="17369" y="118340"/>
                    </a:cubicBezTo>
                    <a:cubicBezTo>
                      <a:pt x="23477" y="118340"/>
                      <a:pt x="27995" y="116559"/>
                      <a:pt x="30858" y="112996"/>
                    </a:cubicBezTo>
                    <a:cubicBezTo>
                      <a:pt x="33784" y="109433"/>
                      <a:pt x="36011" y="104852"/>
                      <a:pt x="37538" y="99317"/>
                    </a:cubicBezTo>
                    <a:lnTo>
                      <a:pt x="0" y="0"/>
                    </a:lnTo>
                    <a:close/>
                  </a:path>
                </a:pathLst>
              </a:custGeom>
              <a:grpFill/>
              <a:ln w="6361" cap="flat">
                <a:noFill/>
                <a:prstDash val="solid"/>
                <a:miter/>
              </a:ln>
            </p:spPr>
            <p:txBody>
              <a:bodyPr rtlCol="0" anchor="ctr"/>
              <a:lstStyle/>
              <a:p>
                <a:endParaRPr lang="da-DK"/>
              </a:p>
            </p:txBody>
          </p:sp>
          <p:sp>
            <p:nvSpPr>
              <p:cNvPr id="194" name="Freeform: Shape 193">
                <a:extLst>
                  <a:ext uri="{FF2B5EF4-FFF2-40B4-BE49-F238E27FC236}">
                    <a16:creationId xmlns:a16="http://schemas.microsoft.com/office/drawing/2014/main" id="{11A6EC43-F5DF-4A91-8F44-E97FCB85E023}"/>
                  </a:ext>
                </a:extLst>
              </p:cNvPr>
              <p:cNvSpPr/>
              <p:nvPr/>
            </p:nvSpPr>
            <p:spPr>
              <a:xfrm>
                <a:off x="1435231" y="3242518"/>
                <a:ext cx="58343" cy="136091"/>
              </a:xfrm>
              <a:custGeom>
                <a:avLst/>
                <a:gdLst>
                  <a:gd name="connsiteX0" fmla="*/ 56116 w 58343"/>
                  <a:gd name="connsiteY0" fmla="*/ 34866 h 136091"/>
                  <a:gd name="connsiteX1" fmla="*/ 56116 w 58343"/>
                  <a:gd name="connsiteY1" fmla="*/ 55735 h 136091"/>
                  <a:gd name="connsiteX2" fmla="*/ 38238 w 58343"/>
                  <a:gd name="connsiteY2" fmla="*/ 55735 h 136091"/>
                  <a:gd name="connsiteX3" fmla="*/ 38238 w 58343"/>
                  <a:gd name="connsiteY3" fmla="*/ 95627 h 136091"/>
                  <a:gd name="connsiteX4" fmla="*/ 38747 w 58343"/>
                  <a:gd name="connsiteY4" fmla="*/ 109751 h 136091"/>
                  <a:gd name="connsiteX5" fmla="*/ 41101 w 58343"/>
                  <a:gd name="connsiteY5" fmla="*/ 113060 h 136091"/>
                  <a:gd name="connsiteX6" fmla="*/ 45555 w 58343"/>
                  <a:gd name="connsiteY6" fmla="*/ 114396 h 136091"/>
                  <a:gd name="connsiteX7" fmla="*/ 56116 w 58343"/>
                  <a:gd name="connsiteY7" fmla="*/ 111851 h 136091"/>
                  <a:gd name="connsiteX8" fmla="*/ 58343 w 58343"/>
                  <a:gd name="connsiteY8" fmla="*/ 132147 h 136091"/>
                  <a:gd name="connsiteX9" fmla="*/ 37665 w 58343"/>
                  <a:gd name="connsiteY9" fmla="*/ 136091 h 136091"/>
                  <a:gd name="connsiteX10" fmla="*/ 24877 w 58343"/>
                  <a:gd name="connsiteY10" fmla="*/ 133737 h 136091"/>
                  <a:gd name="connsiteX11" fmla="*/ 16542 w 58343"/>
                  <a:gd name="connsiteY11" fmla="*/ 127566 h 136091"/>
                  <a:gd name="connsiteX12" fmla="*/ 12852 w 58343"/>
                  <a:gd name="connsiteY12" fmla="*/ 117386 h 136091"/>
                  <a:gd name="connsiteX13" fmla="*/ 12025 w 58343"/>
                  <a:gd name="connsiteY13" fmla="*/ 98935 h 136091"/>
                  <a:gd name="connsiteX14" fmla="*/ 12025 w 58343"/>
                  <a:gd name="connsiteY14" fmla="*/ 55798 h 136091"/>
                  <a:gd name="connsiteX15" fmla="*/ 0 w 58343"/>
                  <a:gd name="connsiteY15" fmla="*/ 55798 h 136091"/>
                  <a:gd name="connsiteX16" fmla="*/ 0 w 58343"/>
                  <a:gd name="connsiteY16" fmla="*/ 34929 h 136091"/>
                  <a:gd name="connsiteX17" fmla="*/ 12025 w 58343"/>
                  <a:gd name="connsiteY17" fmla="*/ 34929 h 136091"/>
                  <a:gd name="connsiteX18" fmla="*/ 12025 w 58343"/>
                  <a:gd name="connsiteY18" fmla="*/ 15270 h 136091"/>
                  <a:gd name="connsiteX19" fmla="*/ 38302 w 58343"/>
                  <a:gd name="connsiteY19" fmla="*/ 0 h 136091"/>
                  <a:gd name="connsiteX20" fmla="*/ 38302 w 58343"/>
                  <a:gd name="connsiteY20" fmla="*/ 34929 h 136091"/>
                  <a:gd name="connsiteX21" fmla="*/ 56116 w 58343"/>
                  <a:gd name="connsiteY21" fmla="*/ 34929 h 13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343" h="136091">
                    <a:moveTo>
                      <a:pt x="56116" y="34866"/>
                    </a:moveTo>
                    <a:lnTo>
                      <a:pt x="56116" y="55735"/>
                    </a:lnTo>
                    <a:lnTo>
                      <a:pt x="38238" y="55735"/>
                    </a:lnTo>
                    <a:lnTo>
                      <a:pt x="38238" y="95627"/>
                    </a:lnTo>
                    <a:cubicBezTo>
                      <a:pt x="38238" y="103707"/>
                      <a:pt x="38429" y="108415"/>
                      <a:pt x="38747" y="109751"/>
                    </a:cubicBezTo>
                    <a:cubicBezTo>
                      <a:pt x="39065" y="111087"/>
                      <a:pt x="39892" y="112169"/>
                      <a:pt x="41101" y="113060"/>
                    </a:cubicBezTo>
                    <a:cubicBezTo>
                      <a:pt x="42310" y="113950"/>
                      <a:pt x="43773" y="114396"/>
                      <a:pt x="45555" y="114396"/>
                    </a:cubicBezTo>
                    <a:cubicBezTo>
                      <a:pt x="47972" y="114396"/>
                      <a:pt x="51472" y="113569"/>
                      <a:pt x="56116" y="111851"/>
                    </a:cubicBezTo>
                    <a:lnTo>
                      <a:pt x="58343" y="132147"/>
                    </a:lnTo>
                    <a:cubicBezTo>
                      <a:pt x="52235" y="134755"/>
                      <a:pt x="45364" y="136091"/>
                      <a:pt x="37665" y="136091"/>
                    </a:cubicBezTo>
                    <a:cubicBezTo>
                      <a:pt x="32957" y="136091"/>
                      <a:pt x="28694" y="135328"/>
                      <a:pt x="24877" y="133737"/>
                    </a:cubicBezTo>
                    <a:cubicBezTo>
                      <a:pt x="21059" y="132147"/>
                      <a:pt x="18324" y="130111"/>
                      <a:pt x="16542" y="127566"/>
                    </a:cubicBezTo>
                    <a:cubicBezTo>
                      <a:pt x="14761" y="125021"/>
                      <a:pt x="13552" y="121649"/>
                      <a:pt x="12852" y="117386"/>
                    </a:cubicBezTo>
                    <a:cubicBezTo>
                      <a:pt x="12279" y="114332"/>
                      <a:pt x="12025" y="108161"/>
                      <a:pt x="12025" y="98935"/>
                    </a:cubicBezTo>
                    <a:lnTo>
                      <a:pt x="12025" y="55798"/>
                    </a:lnTo>
                    <a:lnTo>
                      <a:pt x="0" y="55798"/>
                    </a:lnTo>
                    <a:lnTo>
                      <a:pt x="0" y="34929"/>
                    </a:lnTo>
                    <a:lnTo>
                      <a:pt x="12025" y="34929"/>
                    </a:lnTo>
                    <a:lnTo>
                      <a:pt x="12025" y="15270"/>
                    </a:lnTo>
                    <a:lnTo>
                      <a:pt x="38302" y="0"/>
                    </a:lnTo>
                    <a:lnTo>
                      <a:pt x="38302" y="34929"/>
                    </a:lnTo>
                    <a:lnTo>
                      <a:pt x="56116" y="34929"/>
                    </a:lnTo>
                    <a:close/>
                  </a:path>
                </a:pathLst>
              </a:custGeom>
              <a:grpFill/>
              <a:ln w="6361" cap="flat">
                <a:noFill/>
                <a:prstDash val="solid"/>
                <a:miter/>
              </a:ln>
            </p:spPr>
            <p:txBody>
              <a:bodyPr rtlCol="0" anchor="ctr"/>
              <a:lstStyle/>
              <a:p>
                <a:endParaRPr lang="da-DK"/>
              </a:p>
            </p:txBody>
          </p:sp>
          <p:sp>
            <p:nvSpPr>
              <p:cNvPr id="195" name="Freeform: Shape 194">
                <a:extLst>
                  <a:ext uri="{FF2B5EF4-FFF2-40B4-BE49-F238E27FC236}">
                    <a16:creationId xmlns:a16="http://schemas.microsoft.com/office/drawing/2014/main" id="{260D3853-EC46-40F1-89B8-60FF0DD4929C}"/>
                  </a:ext>
                </a:extLst>
              </p:cNvPr>
              <p:cNvSpPr/>
              <p:nvPr/>
            </p:nvSpPr>
            <p:spPr>
              <a:xfrm>
                <a:off x="1555734" y="3237301"/>
                <a:ext cx="111023" cy="141435"/>
              </a:xfrm>
              <a:custGeom>
                <a:avLst/>
                <a:gdLst>
                  <a:gd name="connsiteX0" fmla="*/ 0 w 111023"/>
                  <a:gd name="connsiteY0" fmla="*/ 94545 h 141435"/>
                  <a:gd name="connsiteX1" fmla="*/ 26849 w 111023"/>
                  <a:gd name="connsiteY1" fmla="*/ 91937 h 141435"/>
                  <a:gd name="connsiteX2" fmla="*/ 36647 w 111023"/>
                  <a:gd name="connsiteY2" fmla="*/ 111787 h 141435"/>
                  <a:gd name="connsiteX3" fmla="*/ 56625 w 111023"/>
                  <a:gd name="connsiteY3" fmla="*/ 118150 h 141435"/>
                  <a:gd name="connsiteX4" fmla="*/ 76730 w 111023"/>
                  <a:gd name="connsiteY4" fmla="*/ 112487 h 141435"/>
                  <a:gd name="connsiteX5" fmla="*/ 83475 w 111023"/>
                  <a:gd name="connsiteY5" fmla="*/ 99317 h 141435"/>
                  <a:gd name="connsiteX6" fmla="*/ 80611 w 111023"/>
                  <a:gd name="connsiteY6" fmla="*/ 91046 h 141435"/>
                  <a:gd name="connsiteX7" fmla="*/ 70686 w 111023"/>
                  <a:gd name="connsiteY7" fmla="*/ 85129 h 141435"/>
                  <a:gd name="connsiteX8" fmla="*/ 48609 w 111023"/>
                  <a:gd name="connsiteY8" fmla="*/ 79148 h 141435"/>
                  <a:gd name="connsiteX9" fmla="*/ 17497 w 111023"/>
                  <a:gd name="connsiteY9" fmla="*/ 65660 h 141435"/>
                  <a:gd name="connsiteX10" fmla="*/ 4899 w 111023"/>
                  <a:gd name="connsiteY10" fmla="*/ 38174 h 141435"/>
                  <a:gd name="connsiteX11" fmla="*/ 10816 w 111023"/>
                  <a:gd name="connsiteY11" fmla="*/ 18642 h 141435"/>
                  <a:gd name="connsiteX12" fmla="*/ 27867 w 111023"/>
                  <a:gd name="connsiteY12" fmla="*/ 4772 h 141435"/>
                  <a:gd name="connsiteX13" fmla="*/ 54780 w 111023"/>
                  <a:gd name="connsiteY13" fmla="*/ 0 h 141435"/>
                  <a:gd name="connsiteX14" fmla="*/ 93527 w 111023"/>
                  <a:gd name="connsiteY14" fmla="*/ 11262 h 141435"/>
                  <a:gd name="connsiteX15" fmla="*/ 107206 w 111023"/>
                  <a:gd name="connsiteY15" fmla="*/ 41356 h 141435"/>
                  <a:gd name="connsiteX16" fmla="*/ 79593 w 111023"/>
                  <a:gd name="connsiteY16" fmla="*/ 42564 h 141435"/>
                  <a:gd name="connsiteX17" fmla="*/ 72022 w 111023"/>
                  <a:gd name="connsiteY17" fmla="*/ 27422 h 141435"/>
                  <a:gd name="connsiteX18" fmla="*/ 54526 w 111023"/>
                  <a:gd name="connsiteY18" fmla="*/ 22841 h 141435"/>
                  <a:gd name="connsiteX19" fmla="*/ 35693 w 111023"/>
                  <a:gd name="connsiteY19" fmla="*/ 27804 h 141435"/>
                  <a:gd name="connsiteX20" fmla="*/ 31303 w 111023"/>
                  <a:gd name="connsiteY20" fmla="*/ 36266 h 141435"/>
                  <a:gd name="connsiteX21" fmla="*/ 35375 w 111023"/>
                  <a:gd name="connsiteY21" fmla="*/ 44537 h 141435"/>
                  <a:gd name="connsiteX22" fmla="*/ 60697 w 111023"/>
                  <a:gd name="connsiteY22" fmla="*/ 53699 h 141435"/>
                  <a:gd name="connsiteX23" fmla="*/ 90473 w 111023"/>
                  <a:gd name="connsiteY23" fmla="*/ 63560 h 141435"/>
                  <a:gd name="connsiteX24" fmla="*/ 105552 w 111023"/>
                  <a:gd name="connsiteY24" fmla="*/ 77430 h 141435"/>
                  <a:gd name="connsiteX25" fmla="*/ 111024 w 111023"/>
                  <a:gd name="connsiteY25" fmla="*/ 99190 h 141435"/>
                  <a:gd name="connsiteX26" fmla="*/ 104470 w 111023"/>
                  <a:gd name="connsiteY26" fmla="*/ 121204 h 141435"/>
                  <a:gd name="connsiteX27" fmla="*/ 86020 w 111023"/>
                  <a:gd name="connsiteY27" fmla="*/ 136473 h 141435"/>
                  <a:gd name="connsiteX28" fmla="*/ 56307 w 111023"/>
                  <a:gd name="connsiteY28" fmla="*/ 141436 h 141435"/>
                  <a:gd name="connsiteX29" fmla="*/ 16542 w 111023"/>
                  <a:gd name="connsiteY29" fmla="*/ 129475 h 141435"/>
                  <a:gd name="connsiteX30" fmla="*/ 0 w 111023"/>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23" h="141435">
                    <a:moveTo>
                      <a:pt x="0" y="94545"/>
                    </a:moveTo>
                    <a:lnTo>
                      <a:pt x="26849" y="91937"/>
                    </a:lnTo>
                    <a:cubicBezTo>
                      <a:pt x="28440" y="100971"/>
                      <a:pt x="31748" y="107588"/>
                      <a:pt x="36647" y="111787"/>
                    </a:cubicBezTo>
                    <a:cubicBezTo>
                      <a:pt x="41546" y="115986"/>
                      <a:pt x="48227" y="118150"/>
                      <a:pt x="56625" y="118150"/>
                    </a:cubicBezTo>
                    <a:cubicBezTo>
                      <a:pt x="65533" y="118150"/>
                      <a:pt x="72213" y="116304"/>
                      <a:pt x="76730" y="112487"/>
                    </a:cubicBezTo>
                    <a:cubicBezTo>
                      <a:pt x="81248" y="108733"/>
                      <a:pt x="83475" y="104343"/>
                      <a:pt x="83475" y="99317"/>
                    </a:cubicBezTo>
                    <a:cubicBezTo>
                      <a:pt x="83475" y="96072"/>
                      <a:pt x="82520" y="93336"/>
                      <a:pt x="80611" y="91046"/>
                    </a:cubicBezTo>
                    <a:cubicBezTo>
                      <a:pt x="78703" y="88755"/>
                      <a:pt x="75394" y="86783"/>
                      <a:pt x="70686" y="85129"/>
                    </a:cubicBezTo>
                    <a:cubicBezTo>
                      <a:pt x="67441" y="83984"/>
                      <a:pt x="60125" y="82011"/>
                      <a:pt x="48609" y="79148"/>
                    </a:cubicBezTo>
                    <a:cubicBezTo>
                      <a:pt x="33848" y="75458"/>
                      <a:pt x="23414" y="71004"/>
                      <a:pt x="17497" y="65660"/>
                    </a:cubicBezTo>
                    <a:cubicBezTo>
                      <a:pt x="9098" y="58152"/>
                      <a:pt x="4899" y="48990"/>
                      <a:pt x="4899" y="38174"/>
                    </a:cubicBezTo>
                    <a:cubicBezTo>
                      <a:pt x="4899" y="31239"/>
                      <a:pt x="6871" y="24686"/>
                      <a:pt x="10816" y="18642"/>
                    </a:cubicBezTo>
                    <a:cubicBezTo>
                      <a:pt x="14761" y="12598"/>
                      <a:pt x="20423" y="7953"/>
                      <a:pt x="27867" y="4772"/>
                    </a:cubicBezTo>
                    <a:cubicBezTo>
                      <a:pt x="35311" y="1591"/>
                      <a:pt x="44282" y="0"/>
                      <a:pt x="54780" y="0"/>
                    </a:cubicBezTo>
                    <a:cubicBezTo>
                      <a:pt x="71959" y="0"/>
                      <a:pt x="84811" y="3754"/>
                      <a:pt x="93527" y="11262"/>
                    </a:cubicBezTo>
                    <a:cubicBezTo>
                      <a:pt x="102244" y="18769"/>
                      <a:pt x="106761" y="28822"/>
                      <a:pt x="107206" y="41356"/>
                    </a:cubicBezTo>
                    <a:lnTo>
                      <a:pt x="79593" y="42564"/>
                    </a:lnTo>
                    <a:cubicBezTo>
                      <a:pt x="78385" y="35566"/>
                      <a:pt x="75903" y="30476"/>
                      <a:pt x="72022" y="27422"/>
                    </a:cubicBezTo>
                    <a:cubicBezTo>
                      <a:pt x="68141" y="24368"/>
                      <a:pt x="62288" y="22841"/>
                      <a:pt x="54526" y="22841"/>
                    </a:cubicBezTo>
                    <a:cubicBezTo>
                      <a:pt x="46509" y="22841"/>
                      <a:pt x="40210" y="24495"/>
                      <a:pt x="35693" y="27804"/>
                    </a:cubicBezTo>
                    <a:cubicBezTo>
                      <a:pt x="32766" y="29903"/>
                      <a:pt x="31303" y="32766"/>
                      <a:pt x="31303" y="36266"/>
                    </a:cubicBezTo>
                    <a:cubicBezTo>
                      <a:pt x="31303" y="39510"/>
                      <a:pt x="32639" y="42246"/>
                      <a:pt x="35375" y="44537"/>
                    </a:cubicBezTo>
                    <a:cubicBezTo>
                      <a:pt x="38874" y="47463"/>
                      <a:pt x="47336" y="50517"/>
                      <a:pt x="60697" y="53699"/>
                    </a:cubicBezTo>
                    <a:cubicBezTo>
                      <a:pt x="74058" y="56880"/>
                      <a:pt x="84047" y="60125"/>
                      <a:pt x="90473" y="63560"/>
                    </a:cubicBezTo>
                    <a:cubicBezTo>
                      <a:pt x="96899" y="66932"/>
                      <a:pt x="101926" y="71577"/>
                      <a:pt x="105552" y="77430"/>
                    </a:cubicBezTo>
                    <a:cubicBezTo>
                      <a:pt x="109179" y="83284"/>
                      <a:pt x="111024" y="90537"/>
                      <a:pt x="111024" y="99190"/>
                    </a:cubicBezTo>
                    <a:cubicBezTo>
                      <a:pt x="111024" y="107015"/>
                      <a:pt x="108861" y="114332"/>
                      <a:pt x="104470" y="121204"/>
                    </a:cubicBezTo>
                    <a:cubicBezTo>
                      <a:pt x="100080" y="128075"/>
                      <a:pt x="93973" y="133101"/>
                      <a:pt x="86020" y="136473"/>
                    </a:cubicBezTo>
                    <a:cubicBezTo>
                      <a:pt x="78067" y="139782"/>
                      <a:pt x="68141" y="141436"/>
                      <a:pt x="56307" y="141436"/>
                    </a:cubicBezTo>
                    <a:cubicBezTo>
                      <a:pt x="39065" y="141436"/>
                      <a:pt x="25768" y="137428"/>
                      <a:pt x="16542" y="129475"/>
                    </a:cubicBezTo>
                    <a:cubicBezTo>
                      <a:pt x="7317" y="121522"/>
                      <a:pt x="1781" y="109879"/>
                      <a:pt x="0" y="94545"/>
                    </a:cubicBezTo>
                    <a:close/>
                  </a:path>
                </a:pathLst>
              </a:custGeom>
              <a:grpFill/>
              <a:ln w="6361" cap="flat">
                <a:noFill/>
                <a:prstDash val="solid"/>
                <a:miter/>
              </a:ln>
            </p:spPr>
            <p:txBody>
              <a:bodyPr rtlCol="0" anchor="ctr"/>
              <a:lstStyle/>
              <a:p>
                <a:endParaRPr lang="da-DK"/>
              </a:p>
            </p:txBody>
          </p:sp>
          <p:sp>
            <p:nvSpPr>
              <p:cNvPr id="196" name="Freeform: Shape 195">
                <a:extLst>
                  <a:ext uri="{FF2B5EF4-FFF2-40B4-BE49-F238E27FC236}">
                    <a16:creationId xmlns:a16="http://schemas.microsoft.com/office/drawing/2014/main" id="{3B59CE1C-DDCC-47F2-89E3-9667EC5FE4F4}"/>
                  </a:ext>
                </a:extLst>
              </p:cNvPr>
              <p:cNvSpPr/>
              <p:nvPr/>
            </p:nvSpPr>
            <p:spPr>
              <a:xfrm>
                <a:off x="1689217" y="3239718"/>
                <a:ext cx="27612" cy="136600"/>
              </a:xfrm>
              <a:custGeom>
                <a:avLst/>
                <a:gdLst>
                  <a:gd name="connsiteX0" fmla="*/ 0 w 27612"/>
                  <a:gd name="connsiteY0" fmla="*/ 136601 h 136600"/>
                  <a:gd name="connsiteX1" fmla="*/ 0 w 27612"/>
                  <a:gd name="connsiteY1" fmla="*/ 0 h 136600"/>
                  <a:gd name="connsiteX2" fmla="*/ 27613 w 27612"/>
                  <a:gd name="connsiteY2" fmla="*/ 0 h 136600"/>
                  <a:gd name="connsiteX3" fmla="*/ 27613 w 27612"/>
                  <a:gd name="connsiteY3" fmla="*/ 136601 h 136600"/>
                  <a:gd name="connsiteX4" fmla="*/ 0 w 27612"/>
                  <a:gd name="connsiteY4" fmla="*/ 136601 h 1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12" h="136600">
                    <a:moveTo>
                      <a:pt x="0" y="136601"/>
                    </a:moveTo>
                    <a:lnTo>
                      <a:pt x="0" y="0"/>
                    </a:lnTo>
                    <a:lnTo>
                      <a:pt x="27613" y="0"/>
                    </a:lnTo>
                    <a:lnTo>
                      <a:pt x="27613" y="136601"/>
                    </a:lnTo>
                    <a:lnTo>
                      <a:pt x="0" y="136601"/>
                    </a:lnTo>
                    <a:close/>
                  </a:path>
                </a:pathLst>
              </a:custGeom>
              <a:grpFill/>
              <a:ln w="6361" cap="flat">
                <a:noFill/>
                <a:prstDash val="solid"/>
                <a:miter/>
              </a:ln>
            </p:spPr>
            <p:txBody>
              <a:bodyPr rtlCol="0" anchor="ctr"/>
              <a:lstStyle/>
              <a:p>
                <a:endParaRPr lang="da-DK"/>
              </a:p>
            </p:txBody>
          </p:sp>
          <p:sp>
            <p:nvSpPr>
              <p:cNvPr id="197" name="Freeform: Shape 196">
                <a:extLst>
                  <a:ext uri="{FF2B5EF4-FFF2-40B4-BE49-F238E27FC236}">
                    <a16:creationId xmlns:a16="http://schemas.microsoft.com/office/drawing/2014/main" id="{FF2EC29B-B2ED-4852-BF14-2791FDFFEFAA}"/>
                  </a:ext>
                </a:extLst>
              </p:cNvPr>
              <p:cNvSpPr/>
              <p:nvPr/>
            </p:nvSpPr>
            <p:spPr>
              <a:xfrm>
                <a:off x="1736044" y="3237301"/>
                <a:ext cx="111087" cy="141435"/>
              </a:xfrm>
              <a:custGeom>
                <a:avLst/>
                <a:gdLst>
                  <a:gd name="connsiteX0" fmla="*/ 0 w 111087"/>
                  <a:gd name="connsiteY0" fmla="*/ 94545 h 141435"/>
                  <a:gd name="connsiteX1" fmla="*/ 26849 w 111087"/>
                  <a:gd name="connsiteY1" fmla="*/ 91937 h 141435"/>
                  <a:gd name="connsiteX2" fmla="*/ 36711 w 111087"/>
                  <a:gd name="connsiteY2" fmla="*/ 111787 h 141435"/>
                  <a:gd name="connsiteX3" fmla="*/ 56689 w 111087"/>
                  <a:gd name="connsiteY3" fmla="*/ 118150 h 141435"/>
                  <a:gd name="connsiteX4" fmla="*/ 76794 w 111087"/>
                  <a:gd name="connsiteY4" fmla="*/ 112487 h 141435"/>
                  <a:gd name="connsiteX5" fmla="*/ 83538 w 111087"/>
                  <a:gd name="connsiteY5" fmla="*/ 99317 h 141435"/>
                  <a:gd name="connsiteX6" fmla="*/ 80675 w 111087"/>
                  <a:gd name="connsiteY6" fmla="*/ 91046 h 141435"/>
                  <a:gd name="connsiteX7" fmla="*/ 70750 w 111087"/>
                  <a:gd name="connsiteY7" fmla="*/ 85129 h 141435"/>
                  <a:gd name="connsiteX8" fmla="*/ 48672 w 111087"/>
                  <a:gd name="connsiteY8" fmla="*/ 79148 h 141435"/>
                  <a:gd name="connsiteX9" fmla="*/ 17560 w 111087"/>
                  <a:gd name="connsiteY9" fmla="*/ 65660 h 141435"/>
                  <a:gd name="connsiteX10" fmla="*/ 4963 w 111087"/>
                  <a:gd name="connsiteY10" fmla="*/ 38174 h 141435"/>
                  <a:gd name="connsiteX11" fmla="*/ 10880 w 111087"/>
                  <a:gd name="connsiteY11" fmla="*/ 18642 h 141435"/>
                  <a:gd name="connsiteX12" fmla="*/ 27931 w 111087"/>
                  <a:gd name="connsiteY12" fmla="*/ 4772 h 141435"/>
                  <a:gd name="connsiteX13" fmla="*/ 54844 w 111087"/>
                  <a:gd name="connsiteY13" fmla="*/ 0 h 141435"/>
                  <a:gd name="connsiteX14" fmla="*/ 93591 w 111087"/>
                  <a:gd name="connsiteY14" fmla="*/ 11262 h 141435"/>
                  <a:gd name="connsiteX15" fmla="*/ 107270 w 111087"/>
                  <a:gd name="connsiteY15" fmla="*/ 41356 h 141435"/>
                  <a:gd name="connsiteX16" fmla="*/ 79657 w 111087"/>
                  <a:gd name="connsiteY16" fmla="*/ 42564 h 141435"/>
                  <a:gd name="connsiteX17" fmla="*/ 72086 w 111087"/>
                  <a:gd name="connsiteY17" fmla="*/ 27422 h 141435"/>
                  <a:gd name="connsiteX18" fmla="*/ 54589 w 111087"/>
                  <a:gd name="connsiteY18" fmla="*/ 22841 h 141435"/>
                  <a:gd name="connsiteX19" fmla="*/ 35757 w 111087"/>
                  <a:gd name="connsiteY19" fmla="*/ 27804 h 141435"/>
                  <a:gd name="connsiteX20" fmla="*/ 31367 w 111087"/>
                  <a:gd name="connsiteY20" fmla="*/ 36266 h 141435"/>
                  <a:gd name="connsiteX21" fmla="*/ 35439 w 111087"/>
                  <a:gd name="connsiteY21" fmla="*/ 44537 h 141435"/>
                  <a:gd name="connsiteX22" fmla="*/ 60761 w 111087"/>
                  <a:gd name="connsiteY22" fmla="*/ 53699 h 141435"/>
                  <a:gd name="connsiteX23" fmla="*/ 90537 w 111087"/>
                  <a:gd name="connsiteY23" fmla="*/ 63560 h 141435"/>
                  <a:gd name="connsiteX24" fmla="*/ 105616 w 111087"/>
                  <a:gd name="connsiteY24" fmla="*/ 77430 h 141435"/>
                  <a:gd name="connsiteX25" fmla="*/ 111087 w 111087"/>
                  <a:gd name="connsiteY25" fmla="*/ 99190 h 141435"/>
                  <a:gd name="connsiteX26" fmla="*/ 104534 w 111087"/>
                  <a:gd name="connsiteY26" fmla="*/ 121204 h 141435"/>
                  <a:gd name="connsiteX27" fmla="*/ 86083 w 111087"/>
                  <a:gd name="connsiteY27" fmla="*/ 136473 h 141435"/>
                  <a:gd name="connsiteX28" fmla="*/ 56371 w 111087"/>
                  <a:gd name="connsiteY28" fmla="*/ 141436 h 141435"/>
                  <a:gd name="connsiteX29" fmla="*/ 16542 w 111087"/>
                  <a:gd name="connsiteY29" fmla="*/ 129475 h 141435"/>
                  <a:gd name="connsiteX30" fmla="*/ 0 w 111087"/>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87" h="141435">
                    <a:moveTo>
                      <a:pt x="0" y="94545"/>
                    </a:moveTo>
                    <a:lnTo>
                      <a:pt x="26849" y="91937"/>
                    </a:lnTo>
                    <a:cubicBezTo>
                      <a:pt x="28440" y="100971"/>
                      <a:pt x="31748" y="107588"/>
                      <a:pt x="36711" y="111787"/>
                    </a:cubicBezTo>
                    <a:cubicBezTo>
                      <a:pt x="41674" y="115986"/>
                      <a:pt x="48291" y="118150"/>
                      <a:pt x="56689" y="118150"/>
                    </a:cubicBezTo>
                    <a:cubicBezTo>
                      <a:pt x="65596" y="118150"/>
                      <a:pt x="72277" y="116304"/>
                      <a:pt x="76794" y="112487"/>
                    </a:cubicBezTo>
                    <a:cubicBezTo>
                      <a:pt x="81311" y="108733"/>
                      <a:pt x="83538" y="104343"/>
                      <a:pt x="83538" y="99317"/>
                    </a:cubicBezTo>
                    <a:cubicBezTo>
                      <a:pt x="83538" y="96072"/>
                      <a:pt x="82584" y="93336"/>
                      <a:pt x="80675" y="91046"/>
                    </a:cubicBezTo>
                    <a:cubicBezTo>
                      <a:pt x="78766" y="88755"/>
                      <a:pt x="75458" y="86783"/>
                      <a:pt x="70750" y="85129"/>
                    </a:cubicBezTo>
                    <a:cubicBezTo>
                      <a:pt x="67505" y="83984"/>
                      <a:pt x="60125" y="82011"/>
                      <a:pt x="48672" y="79148"/>
                    </a:cubicBezTo>
                    <a:cubicBezTo>
                      <a:pt x="33912" y="75458"/>
                      <a:pt x="23477" y="71004"/>
                      <a:pt x="17560" y="65660"/>
                    </a:cubicBezTo>
                    <a:cubicBezTo>
                      <a:pt x="9162" y="58152"/>
                      <a:pt x="4963" y="48990"/>
                      <a:pt x="4963" y="38174"/>
                    </a:cubicBezTo>
                    <a:cubicBezTo>
                      <a:pt x="4963" y="31239"/>
                      <a:pt x="6935" y="24686"/>
                      <a:pt x="10880" y="18642"/>
                    </a:cubicBezTo>
                    <a:cubicBezTo>
                      <a:pt x="14824" y="12598"/>
                      <a:pt x="20487" y="7953"/>
                      <a:pt x="27931" y="4772"/>
                    </a:cubicBezTo>
                    <a:cubicBezTo>
                      <a:pt x="35375" y="1591"/>
                      <a:pt x="44346" y="0"/>
                      <a:pt x="54844" y="0"/>
                    </a:cubicBezTo>
                    <a:cubicBezTo>
                      <a:pt x="72022" y="0"/>
                      <a:pt x="84874" y="3754"/>
                      <a:pt x="93591" y="11262"/>
                    </a:cubicBezTo>
                    <a:cubicBezTo>
                      <a:pt x="102307" y="18769"/>
                      <a:pt x="106825" y="28822"/>
                      <a:pt x="107270" y="41356"/>
                    </a:cubicBezTo>
                    <a:lnTo>
                      <a:pt x="79657" y="42564"/>
                    </a:lnTo>
                    <a:cubicBezTo>
                      <a:pt x="78448" y="35566"/>
                      <a:pt x="75967" y="30476"/>
                      <a:pt x="72086" y="27422"/>
                    </a:cubicBezTo>
                    <a:cubicBezTo>
                      <a:pt x="68205" y="24368"/>
                      <a:pt x="62351" y="22841"/>
                      <a:pt x="54589" y="22841"/>
                    </a:cubicBezTo>
                    <a:cubicBezTo>
                      <a:pt x="46573" y="22841"/>
                      <a:pt x="40274" y="24495"/>
                      <a:pt x="35757" y="27804"/>
                    </a:cubicBezTo>
                    <a:cubicBezTo>
                      <a:pt x="32830" y="29903"/>
                      <a:pt x="31367" y="32766"/>
                      <a:pt x="31367" y="36266"/>
                    </a:cubicBezTo>
                    <a:cubicBezTo>
                      <a:pt x="31367" y="39510"/>
                      <a:pt x="32703" y="42246"/>
                      <a:pt x="35439" y="44537"/>
                    </a:cubicBezTo>
                    <a:cubicBezTo>
                      <a:pt x="38938" y="47463"/>
                      <a:pt x="47400" y="50517"/>
                      <a:pt x="60761" y="53699"/>
                    </a:cubicBezTo>
                    <a:cubicBezTo>
                      <a:pt x="74122" y="56880"/>
                      <a:pt x="84111" y="60125"/>
                      <a:pt x="90537" y="63560"/>
                    </a:cubicBezTo>
                    <a:cubicBezTo>
                      <a:pt x="96963" y="66932"/>
                      <a:pt x="101989" y="71577"/>
                      <a:pt x="105616" y="77430"/>
                    </a:cubicBezTo>
                    <a:cubicBezTo>
                      <a:pt x="109242" y="83284"/>
                      <a:pt x="111087" y="90537"/>
                      <a:pt x="111087" y="99190"/>
                    </a:cubicBezTo>
                    <a:cubicBezTo>
                      <a:pt x="111087" y="107015"/>
                      <a:pt x="108924" y="114332"/>
                      <a:pt x="104534" y="121204"/>
                    </a:cubicBezTo>
                    <a:cubicBezTo>
                      <a:pt x="100144" y="128075"/>
                      <a:pt x="94036" y="133101"/>
                      <a:pt x="86083" y="136473"/>
                    </a:cubicBezTo>
                    <a:cubicBezTo>
                      <a:pt x="78130" y="139782"/>
                      <a:pt x="68205" y="141436"/>
                      <a:pt x="56371" y="141436"/>
                    </a:cubicBezTo>
                    <a:cubicBezTo>
                      <a:pt x="39129" y="141436"/>
                      <a:pt x="25831" y="137428"/>
                      <a:pt x="16542" y="129475"/>
                    </a:cubicBezTo>
                    <a:cubicBezTo>
                      <a:pt x="7380" y="121522"/>
                      <a:pt x="1845" y="109879"/>
                      <a:pt x="0" y="94545"/>
                    </a:cubicBezTo>
                    <a:close/>
                  </a:path>
                </a:pathLst>
              </a:custGeom>
              <a:grpFill/>
              <a:ln w="6361" cap="flat">
                <a:noFill/>
                <a:prstDash val="solid"/>
                <a:miter/>
              </a:ln>
            </p:spPr>
            <p:txBody>
              <a:bodyPr rtlCol="0" anchor="ctr"/>
              <a:lstStyle/>
              <a:p>
                <a:endParaRPr lang="da-DK"/>
              </a:p>
            </p:txBody>
          </p:sp>
        </p:grpSp>
        <p:grpSp>
          <p:nvGrpSpPr>
            <p:cNvPr id="136" name="Graphic 5">
              <a:extLst>
                <a:ext uri="{FF2B5EF4-FFF2-40B4-BE49-F238E27FC236}">
                  <a16:creationId xmlns:a16="http://schemas.microsoft.com/office/drawing/2014/main" id="{5CE08459-A461-41A7-A386-98767833848C}"/>
                </a:ext>
              </a:extLst>
            </p:cNvPr>
            <p:cNvGrpSpPr/>
            <p:nvPr/>
          </p:nvGrpSpPr>
          <p:grpSpPr>
            <a:xfrm>
              <a:off x="1202622" y="3457567"/>
              <a:ext cx="491876" cy="224401"/>
              <a:chOff x="1202622" y="3457567"/>
              <a:chExt cx="491876" cy="224401"/>
            </a:xfrm>
            <a:grpFill/>
          </p:grpSpPr>
          <p:sp>
            <p:nvSpPr>
              <p:cNvPr id="145" name="Freeform: Shape 144">
                <a:extLst>
                  <a:ext uri="{FF2B5EF4-FFF2-40B4-BE49-F238E27FC236}">
                    <a16:creationId xmlns:a16="http://schemas.microsoft.com/office/drawing/2014/main" id="{FEC06A92-DA19-4257-A721-377867D8BF62}"/>
                  </a:ext>
                </a:extLst>
              </p:cNvPr>
              <p:cNvSpPr/>
              <p:nvPr/>
            </p:nvSpPr>
            <p:spPr>
              <a:xfrm>
                <a:off x="1202622" y="3457567"/>
                <a:ext cx="28503" cy="45554"/>
              </a:xfrm>
              <a:custGeom>
                <a:avLst/>
                <a:gdLst>
                  <a:gd name="connsiteX0" fmla="*/ 0 w 28503"/>
                  <a:gd name="connsiteY0" fmla="*/ 45555 h 45554"/>
                  <a:gd name="connsiteX1" fmla="*/ 0 w 28503"/>
                  <a:gd name="connsiteY1" fmla="*/ 0 h 45554"/>
                  <a:gd name="connsiteX2" fmla="*/ 6044 w 28503"/>
                  <a:gd name="connsiteY2" fmla="*/ 0 h 45554"/>
                  <a:gd name="connsiteX3" fmla="*/ 6044 w 28503"/>
                  <a:gd name="connsiteY3" fmla="*/ 40147 h 45554"/>
                  <a:gd name="connsiteX4" fmla="*/ 28504 w 28503"/>
                  <a:gd name="connsiteY4" fmla="*/ 40147 h 45554"/>
                  <a:gd name="connsiteX5" fmla="*/ 28504 w 28503"/>
                  <a:gd name="connsiteY5" fmla="*/ 45491 h 45554"/>
                  <a:gd name="connsiteX6" fmla="*/ 0 w 28503"/>
                  <a:gd name="connsiteY6"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03" h="45554">
                    <a:moveTo>
                      <a:pt x="0" y="45555"/>
                    </a:moveTo>
                    <a:lnTo>
                      <a:pt x="0" y="0"/>
                    </a:lnTo>
                    <a:lnTo>
                      <a:pt x="6044" y="0"/>
                    </a:lnTo>
                    <a:lnTo>
                      <a:pt x="6044" y="40147"/>
                    </a:lnTo>
                    <a:lnTo>
                      <a:pt x="28504" y="40147"/>
                    </a:lnTo>
                    <a:lnTo>
                      <a:pt x="28504" y="45491"/>
                    </a:lnTo>
                    <a:lnTo>
                      <a:pt x="0" y="45491"/>
                    </a:lnTo>
                    <a:close/>
                  </a:path>
                </a:pathLst>
              </a:custGeom>
              <a:grpFill/>
              <a:ln w="6361" cap="flat">
                <a:noFill/>
                <a:prstDash val="solid"/>
                <a:miter/>
              </a:ln>
            </p:spPr>
            <p:txBody>
              <a:bodyPr rtlCol="0" anchor="ctr"/>
              <a:lstStyle/>
              <a:p>
                <a:endParaRPr lang="da-DK"/>
              </a:p>
            </p:txBody>
          </p:sp>
          <p:sp>
            <p:nvSpPr>
              <p:cNvPr id="146" name="Freeform: Shape 145">
                <a:extLst>
                  <a:ext uri="{FF2B5EF4-FFF2-40B4-BE49-F238E27FC236}">
                    <a16:creationId xmlns:a16="http://schemas.microsoft.com/office/drawing/2014/main" id="{C3A4CF0B-8AF5-465A-8E8C-3AA0345450A8}"/>
                  </a:ext>
                </a:extLst>
              </p:cNvPr>
              <p:cNvSpPr/>
              <p:nvPr/>
            </p:nvSpPr>
            <p:spPr>
              <a:xfrm>
                <a:off x="1235770"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grpFill/>
              <a:ln w="6361" cap="flat">
                <a:noFill/>
                <a:prstDash val="solid"/>
                <a:miter/>
              </a:ln>
            </p:spPr>
            <p:txBody>
              <a:bodyPr rtlCol="0" anchor="ctr"/>
              <a:lstStyle/>
              <a:p>
                <a:endParaRPr lang="da-DK"/>
              </a:p>
            </p:txBody>
          </p:sp>
          <p:sp>
            <p:nvSpPr>
              <p:cNvPr id="147" name="Freeform: Shape 146">
                <a:extLst>
                  <a:ext uri="{FF2B5EF4-FFF2-40B4-BE49-F238E27FC236}">
                    <a16:creationId xmlns:a16="http://schemas.microsoft.com/office/drawing/2014/main" id="{8ED1E6CD-5C0C-457D-B580-84BA39408297}"/>
                  </a:ext>
                </a:extLst>
              </p:cNvPr>
              <p:cNvSpPr/>
              <p:nvPr/>
            </p:nvSpPr>
            <p:spPr>
              <a:xfrm>
                <a:off x="126993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07 w 16033"/>
                  <a:gd name="connsiteY11" fmla="*/ 0 h 44918"/>
                  <a:gd name="connsiteX12" fmla="*/ 9607 w 16033"/>
                  <a:gd name="connsiteY12" fmla="*/ 11516 h 44918"/>
                  <a:gd name="connsiteX13" fmla="*/ 15206 w 16033"/>
                  <a:gd name="connsiteY13" fmla="*/ 11516 h 44918"/>
                  <a:gd name="connsiteX14" fmla="*/ 15206 w 16033"/>
                  <a:gd name="connsiteY14" fmla="*/ 15842 h 44918"/>
                  <a:gd name="connsiteX15" fmla="*/ 9607 w 16033"/>
                  <a:gd name="connsiteY15" fmla="*/ 15842 h 44918"/>
                  <a:gd name="connsiteX16" fmla="*/ 9607 w 16033"/>
                  <a:gd name="connsiteY16" fmla="*/ 35120 h 44918"/>
                  <a:gd name="connsiteX17" fmla="*/ 9925 w 16033"/>
                  <a:gd name="connsiteY17" fmla="*/ 38174 h 44918"/>
                  <a:gd name="connsiteX18" fmla="*/ 10880 w 16033"/>
                  <a:gd name="connsiteY18" fmla="*/ 39256 h 44918"/>
                  <a:gd name="connsiteX19" fmla="*/ 12788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07" y="0"/>
                    </a:lnTo>
                    <a:lnTo>
                      <a:pt x="9607" y="11516"/>
                    </a:lnTo>
                    <a:lnTo>
                      <a:pt x="15206" y="11516"/>
                    </a:lnTo>
                    <a:lnTo>
                      <a:pt x="15206" y="15842"/>
                    </a:lnTo>
                    <a:lnTo>
                      <a:pt x="9607" y="15842"/>
                    </a:lnTo>
                    <a:lnTo>
                      <a:pt x="9607" y="35120"/>
                    </a:lnTo>
                    <a:cubicBezTo>
                      <a:pt x="9607" y="36711"/>
                      <a:pt x="9734" y="37729"/>
                      <a:pt x="9925" y="38174"/>
                    </a:cubicBezTo>
                    <a:cubicBezTo>
                      <a:pt x="10116" y="38620"/>
                      <a:pt x="10434" y="39001"/>
                      <a:pt x="10880" y="39256"/>
                    </a:cubicBezTo>
                    <a:cubicBezTo>
                      <a:pt x="11325" y="39510"/>
                      <a:pt x="11961" y="39638"/>
                      <a:pt x="12788" y="39638"/>
                    </a:cubicBezTo>
                    <a:cubicBezTo>
                      <a:pt x="13361" y="39638"/>
                      <a:pt x="14188" y="39574"/>
                      <a:pt x="15206" y="39447"/>
                    </a:cubicBezTo>
                    <a:close/>
                  </a:path>
                </a:pathLst>
              </a:custGeom>
              <a:grpFill/>
              <a:ln w="6361" cap="flat">
                <a:noFill/>
                <a:prstDash val="solid"/>
                <a:miter/>
              </a:ln>
            </p:spPr>
            <p:txBody>
              <a:bodyPr rtlCol="0" anchor="ctr"/>
              <a:lstStyle/>
              <a:p>
                <a:endParaRPr lang="da-DK"/>
              </a:p>
            </p:txBody>
          </p:sp>
          <p:sp>
            <p:nvSpPr>
              <p:cNvPr id="148" name="Freeform: Shape 147">
                <a:extLst>
                  <a:ext uri="{FF2B5EF4-FFF2-40B4-BE49-F238E27FC236}">
                    <a16:creationId xmlns:a16="http://schemas.microsoft.com/office/drawing/2014/main" id="{E7A7E626-0448-4F87-B43D-8A8C702D3A9A}"/>
                  </a:ext>
                </a:extLst>
              </p:cNvPr>
              <p:cNvSpPr/>
              <p:nvPr/>
            </p:nvSpPr>
            <p:spPr>
              <a:xfrm>
                <a:off x="1287623"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grpFill/>
              <a:ln w="6361" cap="flat">
                <a:noFill/>
                <a:prstDash val="solid"/>
                <a:miter/>
              </a:ln>
            </p:spPr>
            <p:txBody>
              <a:bodyPr rtlCol="0" anchor="ctr"/>
              <a:lstStyle/>
              <a:p>
                <a:endParaRPr lang="da-DK"/>
              </a:p>
            </p:txBody>
          </p:sp>
          <p:sp>
            <p:nvSpPr>
              <p:cNvPr id="149" name="Freeform: Shape 148">
                <a:extLst>
                  <a:ext uri="{FF2B5EF4-FFF2-40B4-BE49-F238E27FC236}">
                    <a16:creationId xmlns:a16="http://schemas.microsoft.com/office/drawing/2014/main" id="{2CFFDAED-0B89-4932-88E2-6581D568E3BA}"/>
                  </a:ext>
                </a:extLst>
              </p:cNvPr>
              <p:cNvSpPr/>
              <p:nvPr/>
            </p:nvSpPr>
            <p:spPr>
              <a:xfrm>
                <a:off x="1306456" y="3469401"/>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grpFill/>
              <a:ln w="6361" cap="flat">
                <a:noFill/>
                <a:prstDash val="solid"/>
                <a:miter/>
              </a:ln>
            </p:spPr>
            <p:txBody>
              <a:bodyPr rtlCol="0" anchor="ctr"/>
              <a:lstStyle/>
              <a:p>
                <a:endParaRPr lang="da-DK"/>
              </a:p>
            </p:txBody>
          </p:sp>
          <p:sp>
            <p:nvSpPr>
              <p:cNvPr id="150" name="Freeform: Shape 149">
                <a:extLst>
                  <a:ext uri="{FF2B5EF4-FFF2-40B4-BE49-F238E27FC236}">
                    <a16:creationId xmlns:a16="http://schemas.microsoft.com/office/drawing/2014/main" id="{3957E977-7CF3-452A-9CC7-11DA575B61C6}"/>
                  </a:ext>
                </a:extLst>
              </p:cNvPr>
              <p:cNvSpPr/>
              <p:nvPr/>
            </p:nvSpPr>
            <p:spPr>
              <a:xfrm>
                <a:off x="1343612" y="3469337"/>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3"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51" name="Freeform: Shape 150">
                <a:extLst>
                  <a:ext uri="{FF2B5EF4-FFF2-40B4-BE49-F238E27FC236}">
                    <a16:creationId xmlns:a16="http://schemas.microsoft.com/office/drawing/2014/main" id="{51738BEE-CC4D-4A89-B512-66F928AE4EFD}"/>
                  </a:ext>
                </a:extLst>
              </p:cNvPr>
              <p:cNvSpPr/>
              <p:nvPr/>
            </p:nvSpPr>
            <p:spPr>
              <a:xfrm>
                <a:off x="1363081"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663 w 30412"/>
                  <a:gd name="connsiteY11" fmla="*/ 18642 h 34484"/>
                  <a:gd name="connsiteX12" fmla="*/ 8716 w 30412"/>
                  <a:gd name="connsiteY12" fmla="*/ 26976 h 34484"/>
                  <a:gd name="connsiteX13" fmla="*/ 15588 w 30412"/>
                  <a:gd name="connsiteY13" fmla="*/ 29840 h 34484"/>
                  <a:gd name="connsiteX14" fmla="*/ 20869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663" y="18642"/>
                    </a:lnTo>
                    <a:cubicBezTo>
                      <a:pt x="5853" y="22268"/>
                      <a:pt x="6871" y="25068"/>
                      <a:pt x="8716" y="26976"/>
                    </a:cubicBezTo>
                    <a:cubicBezTo>
                      <a:pt x="10562" y="28885"/>
                      <a:pt x="12852" y="29840"/>
                      <a:pt x="15588" y="29840"/>
                    </a:cubicBezTo>
                    <a:cubicBezTo>
                      <a:pt x="17624" y="29840"/>
                      <a:pt x="19405" y="29331"/>
                      <a:pt x="20869"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grpFill/>
              <a:ln w="6361" cap="flat">
                <a:noFill/>
                <a:prstDash val="solid"/>
                <a:miter/>
              </a:ln>
            </p:spPr>
            <p:txBody>
              <a:bodyPr rtlCol="0" anchor="ctr"/>
              <a:lstStyle/>
              <a:p>
                <a:endParaRPr lang="da-DK"/>
              </a:p>
            </p:txBody>
          </p:sp>
          <p:sp>
            <p:nvSpPr>
              <p:cNvPr id="152" name="Freeform: Shape 151">
                <a:extLst>
                  <a:ext uri="{FF2B5EF4-FFF2-40B4-BE49-F238E27FC236}">
                    <a16:creationId xmlns:a16="http://schemas.microsoft.com/office/drawing/2014/main" id="{895DA46F-9872-465A-A46C-75AA3CD3FC5C}"/>
                  </a:ext>
                </a:extLst>
              </p:cNvPr>
              <p:cNvSpPr/>
              <p:nvPr/>
            </p:nvSpPr>
            <p:spPr>
              <a:xfrm>
                <a:off x="1415698" y="3469337"/>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53" name="Freeform: Shape 152">
                <a:extLst>
                  <a:ext uri="{FF2B5EF4-FFF2-40B4-BE49-F238E27FC236}">
                    <a16:creationId xmlns:a16="http://schemas.microsoft.com/office/drawing/2014/main" id="{31C898CE-2D3F-4E41-A403-9041804D843F}"/>
                  </a:ext>
                </a:extLst>
              </p:cNvPr>
              <p:cNvSpPr/>
              <p:nvPr/>
            </p:nvSpPr>
            <p:spPr>
              <a:xfrm>
                <a:off x="144674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8"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grpFill/>
              <a:ln w="6361" cap="flat">
                <a:noFill/>
                <a:prstDash val="solid"/>
                <a:miter/>
              </a:ln>
            </p:spPr>
            <p:txBody>
              <a:bodyPr rtlCol="0" anchor="ctr"/>
              <a:lstStyle/>
              <a:p>
                <a:endParaRPr lang="da-DK"/>
              </a:p>
            </p:txBody>
          </p:sp>
          <p:sp>
            <p:nvSpPr>
              <p:cNvPr id="154" name="Freeform: Shape 153">
                <a:extLst>
                  <a:ext uri="{FF2B5EF4-FFF2-40B4-BE49-F238E27FC236}">
                    <a16:creationId xmlns:a16="http://schemas.microsoft.com/office/drawing/2014/main" id="{08AD43DD-E658-4E3A-B1A2-7AD18CDBC1A4}"/>
                  </a:ext>
                </a:extLst>
              </p:cNvPr>
              <p:cNvSpPr/>
              <p:nvPr/>
            </p:nvSpPr>
            <p:spPr>
              <a:xfrm>
                <a:off x="1467297" y="3470164"/>
                <a:ext cx="26658" cy="33720"/>
              </a:xfrm>
              <a:custGeom>
                <a:avLst/>
                <a:gdLst>
                  <a:gd name="connsiteX0" fmla="*/ 21696 w 26658"/>
                  <a:gd name="connsiteY0" fmla="*/ 32957 h 33720"/>
                  <a:gd name="connsiteX1" fmla="*/ 21696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696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696" y="32957"/>
                    </a:moveTo>
                    <a:lnTo>
                      <a:pt x="21696" y="28122"/>
                    </a:lnTo>
                    <a:cubicBezTo>
                      <a:pt x="19151" y="31876"/>
                      <a:pt x="15651"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35" y="25704"/>
                      <a:pt x="6999" y="26849"/>
                      <a:pt x="8144" y="27676"/>
                    </a:cubicBezTo>
                    <a:cubicBezTo>
                      <a:pt x="9289" y="28504"/>
                      <a:pt x="10689" y="28949"/>
                      <a:pt x="12343" y="28949"/>
                    </a:cubicBezTo>
                    <a:cubicBezTo>
                      <a:pt x="13997" y="28949"/>
                      <a:pt x="15588" y="28504"/>
                      <a:pt x="17051" y="27676"/>
                    </a:cubicBezTo>
                    <a:cubicBezTo>
                      <a:pt x="18514" y="26849"/>
                      <a:pt x="19532" y="25640"/>
                      <a:pt x="20169" y="24177"/>
                    </a:cubicBezTo>
                    <a:cubicBezTo>
                      <a:pt x="20805" y="22714"/>
                      <a:pt x="21059" y="20551"/>
                      <a:pt x="21059" y="17751"/>
                    </a:cubicBezTo>
                    <a:lnTo>
                      <a:pt x="21059" y="64"/>
                    </a:lnTo>
                    <a:lnTo>
                      <a:pt x="26658" y="64"/>
                    </a:lnTo>
                    <a:lnTo>
                      <a:pt x="26658" y="33085"/>
                    </a:lnTo>
                    <a:lnTo>
                      <a:pt x="21696" y="33085"/>
                    </a:lnTo>
                    <a:close/>
                  </a:path>
                </a:pathLst>
              </a:custGeom>
              <a:grpFill/>
              <a:ln w="6361" cap="flat">
                <a:noFill/>
                <a:prstDash val="solid"/>
                <a:miter/>
              </a:ln>
            </p:spPr>
            <p:txBody>
              <a:bodyPr rtlCol="0" anchor="ctr"/>
              <a:lstStyle/>
              <a:p>
                <a:endParaRPr lang="da-DK"/>
              </a:p>
            </p:txBody>
          </p:sp>
          <p:sp>
            <p:nvSpPr>
              <p:cNvPr id="155" name="Freeform: Shape 154">
                <a:extLst>
                  <a:ext uri="{FF2B5EF4-FFF2-40B4-BE49-F238E27FC236}">
                    <a16:creationId xmlns:a16="http://schemas.microsoft.com/office/drawing/2014/main" id="{5AEA35FA-232D-4B56-A86D-E76B8FD69E70}"/>
                  </a:ext>
                </a:extLst>
              </p:cNvPr>
              <p:cNvSpPr/>
              <p:nvPr/>
            </p:nvSpPr>
            <p:spPr>
              <a:xfrm>
                <a:off x="1500700" y="3457567"/>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8"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grpFill/>
              <a:ln w="6361" cap="flat">
                <a:noFill/>
                <a:prstDash val="solid"/>
                <a:miter/>
              </a:ln>
            </p:spPr>
            <p:txBody>
              <a:bodyPr rtlCol="0" anchor="ctr"/>
              <a:lstStyle/>
              <a:p>
                <a:endParaRPr lang="da-DK"/>
              </a:p>
            </p:txBody>
          </p:sp>
          <p:sp>
            <p:nvSpPr>
              <p:cNvPr id="156" name="Freeform: Shape 155">
                <a:extLst>
                  <a:ext uri="{FF2B5EF4-FFF2-40B4-BE49-F238E27FC236}">
                    <a16:creationId xmlns:a16="http://schemas.microsoft.com/office/drawing/2014/main" id="{6777F292-6F73-406E-9627-1CE0E97E4234}"/>
                  </a:ext>
                </a:extLst>
              </p:cNvPr>
              <p:cNvSpPr/>
              <p:nvPr/>
            </p:nvSpPr>
            <p:spPr>
              <a:xfrm>
                <a:off x="1538238"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grpFill/>
              <a:ln w="6361" cap="flat">
                <a:noFill/>
                <a:prstDash val="solid"/>
                <a:miter/>
              </a:ln>
            </p:spPr>
            <p:txBody>
              <a:bodyPr rtlCol="0" anchor="ctr"/>
              <a:lstStyle/>
              <a:p>
                <a:endParaRPr lang="da-DK"/>
              </a:p>
            </p:txBody>
          </p:sp>
          <p:sp>
            <p:nvSpPr>
              <p:cNvPr id="157" name="Freeform: Shape 156">
                <a:extLst>
                  <a:ext uri="{FF2B5EF4-FFF2-40B4-BE49-F238E27FC236}">
                    <a16:creationId xmlns:a16="http://schemas.microsoft.com/office/drawing/2014/main" id="{CB3E1891-2EAA-4690-B238-DFB8AC690D41}"/>
                  </a:ext>
                </a:extLst>
              </p:cNvPr>
              <p:cNvSpPr/>
              <p:nvPr/>
            </p:nvSpPr>
            <p:spPr>
              <a:xfrm>
                <a:off x="1550517"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grpFill/>
              <a:ln w="6361" cap="flat">
                <a:noFill/>
                <a:prstDash val="solid"/>
                <a:miter/>
              </a:ln>
            </p:spPr>
            <p:txBody>
              <a:bodyPr rtlCol="0" anchor="ctr"/>
              <a:lstStyle/>
              <a:p>
                <a:endParaRPr lang="da-DK"/>
              </a:p>
            </p:txBody>
          </p:sp>
          <p:sp>
            <p:nvSpPr>
              <p:cNvPr id="158" name="Freeform: Shape 157">
                <a:extLst>
                  <a:ext uri="{FF2B5EF4-FFF2-40B4-BE49-F238E27FC236}">
                    <a16:creationId xmlns:a16="http://schemas.microsoft.com/office/drawing/2014/main" id="{D232F6BC-AD42-4C4E-943C-ECC6A1D3B561}"/>
                  </a:ext>
                </a:extLst>
              </p:cNvPr>
              <p:cNvSpPr/>
              <p:nvPr/>
            </p:nvSpPr>
            <p:spPr>
              <a:xfrm>
                <a:off x="1587546" y="3457567"/>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59" name="Freeform: Shape 158">
                <a:extLst>
                  <a:ext uri="{FF2B5EF4-FFF2-40B4-BE49-F238E27FC236}">
                    <a16:creationId xmlns:a16="http://schemas.microsoft.com/office/drawing/2014/main" id="{47408FE1-D8D1-45F6-A7BD-A1D4F55A94D8}"/>
                  </a:ext>
                </a:extLst>
              </p:cNvPr>
              <p:cNvSpPr/>
              <p:nvPr/>
            </p:nvSpPr>
            <p:spPr>
              <a:xfrm>
                <a:off x="1601862"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grpFill/>
              <a:ln w="6361" cap="flat">
                <a:noFill/>
                <a:prstDash val="solid"/>
                <a:miter/>
              </a:ln>
            </p:spPr>
            <p:txBody>
              <a:bodyPr rtlCol="0" anchor="ctr"/>
              <a:lstStyle/>
              <a:p>
                <a:endParaRPr lang="da-DK"/>
              </a:p>
            </p:txBody>
          </p:sp>
          <p:sp>
            <p:nvSpPr>
              <p:cNvPr id="160" name="Freeform: Shape 159">
                <a:extLst>
                  <a:ext uri="{FF2B5EF4-FFF2-40B4-BE49-F238E27FC236}">
                    <a16:creationId xmlns:a16="http://schemas.microsoft.com/office/drawing/2014/main" id="{525216FA-05BC-48D8-A059-F0C4AAB0EBA0}"/>
                  </a:ext>
                </a:extLst>
              </p:cNvPr>
              <p:cNvSpPr/>
              <p:nvPr/>
            </p:nvSpPr>
            <p:spPr>
              <a:xfrm>
                <a:off x="1612614" y="3470100"/>
                <a:ext cx="30221" cy="33020"/>
              </a:xfrm>
              <a:custGeom>
                <a:avLst/>
                <a:gdLst>
                  <a:gd name="connsiteX0" fmla="*/ 12534 w 30221"/>
                  <a:gd name="connsiteY0" fmla="*/ 33021 h 33020"/>
                  <a:gd name="connsiteX1" fmla="*/ 0 w 30221"/>
                  <a:gd name="connsiteY1" fmla="*/ 0 h 33020"/>
                  <a:gd name="connsiteX2" fmla="*/ 5917 w 30221"/>
                  <a:gd name="connsiteY2" fmla="*/ 0 h 33020"/>
                  <a:gd name="connsiteX3" fmla="*/ 12979 w 30221"/>
                  <a:gd name="connsiteY3" fmla="*/ 19787 h 33020"/>
                  <a:gd name="connsiteX4" fmla="*/ 15079 w 30221"/>
                  <a:gd name="connsiteY4" fmla="*/ 26404 h 33020"/>
                  <a:gd name="connsiteX5" fmla="*/ 17178 w 30221"/>
                  <a:gd name="connsiteY5" fmla="*/ 20105 h 33020"/>
                  <a:gd name="connsiteX6" fmla="*/ 24495 w 30221"/>
                  <a:gd name="connsiteY6" fmla="*/ 0 h 33020"/>
                  <a:gd name="connsiteX7" fmla="*/ 30221 w 30221"/>
                  <a:gd name="connsiteY7" fmla="*/ 0 h 33020"/>
                  <a:gd name="connsiteX8" fmla="*/ 17751 w 30221"/>
                  <a:gd name="connsiteY8" fmla="*/ 33021 h 33020"/>
                  <a:gd name="connsiteX9" fmla="*/ 12534 w 30221"/>
                  <a:gd name="connsiteY9" fmla="*/ 33021 h 3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21" h="33020">
                    <a:moveTo>
                      <a:pt x="12534" y="33021"/>
                    </a:moveTo>
                    <a:lnTo>
                      <a:pt x="0" y="0"/>
                    </a:lnTo>
                    <a:lnTo>
                      <a:pt x="5917" y="0"/>
                    </a:lnTo>
                    <a:lnTo>
                      <a:pt x="12979" y="19787"/>
                    </a:lnTo>
                    <a:cubicBezTo>
                      <a:pt x="13743" y="21887"/>
                      <a:pt x="14443" y="24114"/>
                      <a:pt x="15079" y="26404"/>
                    </a:cubicBezTo>
                    <a:cubicBezTo>
                      <a:pt x="15588" y="24686"/>
                      <a:pt x="16288" y="22587"/>
                      <a:pt x="17178" y="20105"/>
                    </a:cubicBezTo>
                    <a:lnTo>
                      <a:pt x="24495" y="0"/>
                    </a:lnTo>
                    <a:lnTo>
                      <a:pt x="30221" y="0"/>
                    </a:lnTo>
                    <a:lnTo>
                      <a:pt x="17751" y="33021"/>
                    </a:lnTo>
                    <a:lnTo>
                      <a:pt x="12534" y="33021"/>
                    </a:lnTo>
                    <a:close/>
                  </a:path>
                </a:pathLst>
              </a:custGeom>
              <a:grpFill/>
              <a:ln w="6361" cap="flat">
                <a:noFill/>
                <a:prstDash val="solid"/>
                <a:miter/>
              </a:ln>
            </p:spPr>
            <p:txBody>
              <a:bodyPr rtlCol="0" anchor="ctr"/>
              <a:lstStyle/>
              <a:p>
                <a:endParaRPr lang="da-DK"/>
              </a:p>
            </p:txBody>
          </p:sp>
          <p:sp>
            <p:nvSpPr>
              <p:cNvPr id="161" name="Freeform: Shape 160">
                <a:extLst>
                  <a:ext uri="{FF2B5EF4-FFF2-40B4-BE49-F238E27FC236}">
                    <a16:creationId xmlns:a16="http://schemas.microsoft.com/office/drawing/2014/main" id="{F45ADB97-3D03-4D39-805A-7339A56E584A}"/>
                  </a:ext>
                </a:extLst>
              </p:cNvPr>
              <p:cNvSpPr/>
              <p:nvPr/>
            </p:nvSpPr>
            <p:spPr>
              <a:xfrm>
                <a:off x="1644617" y="3496759"/>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grpFill/>
              <a:ln w="6361" cap="flat">
                <a:noFill/>
                <a:prstDash val="solid"/>
                <a:miter/>
              </a:ln>
            </p:spPr>
            <p:txBody>
              <a:bodyPr rtlCol="0" anchor="ctr"/>
              <a:lstStyle/>
              <a:p>
                <a:endParaRPr lang="da-DK"/>
              </a:p>
            </p:txBody>
          </p:sp>
          <p:sp>
            <p:nvSpPr>
              <p:cNvPr id="162" name="Freeform: Shape 161">
                <a:extLst>
                  <a:ext uri="{FF2B5EF4-FFF2-40B4-BE49-F238E27FC236}">
                    <a16:creationId xmlns:a16="http://schemas.microsoft.com/office/drawing/2014/main" id="{95853541-D172-461B-AEDC-3B68A48B70BA}"/>
                  </a:ext>
                </a:extLst>
              </p:cNvPr>
              <p:cNvSpPr/>
              <p:nvPr/>
            </p:nvSpPr>
            <p:spPr>
              <a:xfrm>
                <a:off x="1203194" y="3540278"/>
                <a:ext cx="30730" cy="45554"/>
              </a:xfrm>
              <a:custGeom>
                <a:avLst/>
                <a:gdLst>
                  <a:gd name="connsiteX0" fmla="*/ 0 w 30730"/>
                  <a:gd name="connsiteY0" fmla="*/ 45555 h 45554"/>
                  <a:gd name="connsiteX1" fmla="*/ 0 w 30730"/>
                  <a:gd name="connsiteY1" fmla="*/ 0 h 45554"/>
                  <a:gd name="connsiteX2" fmla="*/ 30730 w 30730"/>
                  <a:gd name="connsiteY2" fmla="*/ 0 h 45554"/>
                  <a:gd name="connsiteX3" fmla="*/ 30730 w 30730"/>
                  <a:gd name="connsiteY3" fmla="*/ 5344 h 45554"/>
                  <a:gd name="connsiteX4" fmla="*/ 6044 w 30730"/>
                  <a:gd name="connsiteY4" fmla="*/ 5344 h 45554"/>
                  <a:gd name="connsiteX5" fmla="*/ 6044 w 30730"/>
                  <a:gd name="connsiteY5" fmla="*/ 19469 h 45554"/>
                  <a:gd name="connsiteX6" fmla="*/ 27422 w 30730"/>
                  <a:gd name="connsiteY6" fmla="*/ 19469 h 45554"/>
                  <a:gd name="connsiteX7" fmla="*/ 27422 w 30730"/>
                  <a:gd name="connsiteY7" fmla="*/ 24813 h 45554"/>
                  <a:gd name="connsiteX8" fmla="*/ 6044 w 30730"/>
                  <a:gd name="connsiteY8" fmla="*/ 24813 h 45554"/>
                  <a:gd name="connsiteX9" fmla="*/ 6044 w 30730"/>
                  <a:gd name="connsiteY9" fmla="*/ 45491 h 45554"/>
                  <a:gd name="connsiteX10" fmla="*/ 0 w 30730"/>
                  <a:gd name="connsiteY10"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30" h="45554">
                    <a:moveTo>
                      <a:pt x="0" y="45555"/>
                    </a:moveTo>
                    <a:lnTo>
                      <a:pt x="0" y="0"/>
                    </a:lnTo>
                    <a:lnTo>
                      <a:pt x="30730" y="0"/>
                    </a:lnTo>
                    <a:lnTo>
                      <a:pt x="30730" y="5344"/>
                    </a:lnTo>
                    <a:lnTo>
                      <a:pt x="6044" y="5344"/>
                    </a:lnTo>
                    <a:lnTo>
                      <a:pt x="6044" y="19469"/>
                    </a:lnTo>
                    <a:lnTo>
                      <a:pt x="27422" y="19469"/>
                    </a:lnTo>
                    <a:lnTo>
                      <a:pt x="27422" y="24813"/>
                    </a:lnTo>
                    <a:lnTo>
                      <a:pt x="6044" y="24813"/>
                    </a:lnTo>
                    <a:lnTo>
                      <a:pt x="6044" y="45491"/>
                    </a:lnTo>
                    <a:lnTo>
                      <a:pt x="0" y="45491"/>
                    </a:lnTo>
                    <a:close/>
                  </a:path>
                </a:pathLst>
              </a:custGeom>
              <a:grpFill/>
              <a:ln w="6361" cap="flat">
                <a:noFill/>
                <a:prstDash val="solid"/>
                <a:miter/>
              </a:ln>
            </p:spPr>
            <p:txBody>
              <a:bodyPr rtlCol="0" anchor="ctr"/>
              <a:lstStyle/>
              <a:p>
                <a:endParaRPr lang="da-DK"/>
              </a:p>
            </p:txBody>
          </p:sp>
          <p:sp>
            <p:nvSpPr>
              <p:cNvPr id="163" name="Freeform: Shape 162">
                <a:extLst>
                  <a:ext uri="{FF2B5EF4-FFF2-40B4-BE49-F238E27FC236}">
                    <a16:creationId xmlns:a16="http://schemas.microsoft.com/office/drawing/2014/main" id="{F179A4C9-9B31-4D29-AA2F-B1B8EAA90777}"/>
                  </a:ext>
                </a:extLst>
              </p:cNvPr>
              <p:cNvSpPr/>
              <p:nvPr/>
            </p:nvSpPr>
            <p:spPr>
              <a:xfrm>
                <a:off x="1238824" y="3551921"/>
                <a:ext cx="51853" cy="34611"/>
              </a:xfrm>
              <a:custGeom>
                <a:avLst/>
                <a:gdLst>
                  <a:gd name="connsiteX0" fmla="*/ 51853 w 51853"/>
                  <a:gd name="connsiteY0" fmla="*/ 23795 h 34611"/>
                  <a:gd name="connsiteX1" fmla="*/ 46573 w 51853"/>
                  <a:gd name="connsiteY1" fmla="*/ 31812 h 34611"/>
                  <a:gd name="connsiteX2" fmla="*/ 37284 w 51853"/>
                  <a:gd name="connsiteY2" fmla="*/ 34611 h 34611"/>
                  <a:gd name="connsiteX3" fmla="*/ 30349 w 51853"/>
                  <a:gd name="connsiteY3" fmla="*/ 33148 h 34611"/>
                  <a:gd name="connsiteX4" fmla="*/ 25004 w 51853"/>
                  <a:gd name="connsiteY4" fmla="*/ 28503 h 34611"/>
                  <a:gd name="connsiteX5" fmla="*/ 18451 w 51853"/>
                  <a:gd name="connsiteY5" fmla="*/ 33148 h 34611"/>
                  <a:gd name="connsiteX6" fmla="*/ 11325 w 51853"/>
                  <a:gd name="connsiteY6" fmla="*/ 34611 h 34611"/>
                  <a:gd name="connsiteX7" fmla="*/ 2990 w 51853"/>
                  <a:gd name="connsiteY7" fmla="*/ 31875 h 34611"/>
                  <a:gd name="connsiteX8" fmla="*/ 0 w 51853"/>
                  <a:gd name="connsiteY8" fmla="*/ 25195 h 34611"/>
                  <a:gd name="connsiteX9" fmla="*/ 1527 w 51853"/>
                  <a:gd name="connsiteY9" fmla="*/ 20169 h 34611"/>
                  <a:gd name="connsiteX10" fmla="*/ 5790 w 51853"/>
                  <a:gd name="connsiteY10" fmla="*/ 16606 h 34611"/>
                  <a:gd name="connsiteX11" fmla="*/ 14570 w 51853"/>
                  <a:gd name="connsiteY11" fmla="*/ 14633 h 34611"/>
                  <a:gd name="connsiteX12" fmla="*/ 22396 w 51853"/>
                  <a:gd name="connsiteY12" fmla="*/ 13107 h 34611"/>
                  <a:gd name="connsiteX13" fmla="*/ 22459 w 51853"/>
                  <a:gd name="connsiteY13" fmla="*/ 11834 h 34611"/>
                  <a:gd name="connsiteX14" fmla="*/ 20805 w 51853"/>
                  <a:gd name="connsiteY14" fmla="*/ 6362 h 34611"/>
                  <a:gd name="connsiteX15" fmla="*/ 15079 w 51853"/>
                  <a:gd name="connsiteY15" fmla="*/ 4772 h 34611"/>
                  <a:gd name="connsiteX16" fmla="*/ 10498 w 51853"/>
                  <a:gd name="connsiteY16" fmla="*/ 5408 h 34611"/>
                  <a:gd name="connsiteX17" fmla="*/ 7762 w 51853"/>
                  <a:gd name="connsiteY17" fmla="*/ 7253 h 34611"/>
                  <a:gd name="connsiteX18" fmla="*/ 6299 w 51853"/>
                  <a:gd name="connsiteY18" fmla="*/ 11070 h 34611"/>
                  <a:gd name="connsiteX19" fmla="*/ 891 w 51853"/>
                  <a:gd name="connsiteY19" fmla="*/ 10434 h 34611"/>
                  <a:gd name="connsiteX20" fmla="*/ 3372 w 51853"/>
                  <a:gd name="connsiteY20" fmla="*/ 4644 h 34611"/>
                  <a:gd name="connsiteX21" fmla="*/ 8017 w 51853"/>
                  <a:gd name="connsiteY21" fmla="*/ 1272 h 34611"/>
                  <a:gd name="connsiteX22" fmla="*/ 15142 w 51853"/>
                  <a:gd name="connsiteY22" fmla="*/ 63 h 34611"/>
                  <a:gd name="connsiteX23" fmla="*/ 23477 w 51853"/>
                  <a:gd name="connsiteY23" fmla="*/ 1591 h 34611"/>
                  <a:gd name="connsiteX24" fmla="*/ 26531 w 51853"/>
                  <a:gd name="connsiteY24" fmla="*/ 4454 h 34611"/>
                  <a:gd name="connsiteX25" fmla="*/ 31048 w 51853"/>
                  <a:gd name="connsiteY25" fmla="*/ 1145 h 34611"/>
                  <a:gd name="connsiteX26" fmla="*/ 37156 w 51853"/>
                  <a:gd name="connsiteY26" fmla="*/ 0 h 34611"/>
                  <a:gd name="connsiteX27" fmla="*/ 45491 w 51853"/>
                  <a:gd name="connsiteY27" fmla="*/ 2418 h 34611"/>
                  <a:gd name="connsiteX28" fmla="*/ 50326 w 51853"/>
                  <a:gd name="connsiteY28" fmla="*/ 8844 h 34611"/>
                  <a:gd name="connsiteX29" fmla="*/ 51853 w 51853"/>
                  <a:gd name="connsiteY29" fmla="*/ 16733 h 34611"/>
                  <a:gd name="connsiteX30" fmla="*/ 51790 w 51853"/>
                  <a:gd name="connsiteY30" fmla="*/ 18642 h 34611"/>
                  <a:gd name="connsiteX31" fmla="*/ 28122 w 51853"/>
                  <a:gd name="connsiteY31" fmla="*/ 18642 h 34611"/>
                  <a:gd name="connsiteX32" fmla="*/ 29203 w 51853"/>
                  <a:gd name="connsiteY32" fmla="*/ 25131 h 34611"/>
                  <a:gd name="connsiteX33" fmla="*/ 32512 w 51853"/>
                  <a:gd name="connsiteY33" fmla="*/ 28503 h 34611"/>
                  <a:gd name="connsiteX34" fmla="*/ 37538 w 51853"/>
                  <a:gd name="connsiteY34" fmla="*/ 29840 h 34611"/>
                  <a:gd name="connsiteX35" fmla="*/ 42946 w 51853"/>
                  <a:gd name="connsiteY35" fmla="*/ 27994 h 34611"/>
                  <a:gd name="connsiteX36" fmla="*/ 46000 w 51853"/>
                  <a:gd name="connsiteY36" fmla="*/ 22841 h 34611"/>
                  <a:gd name="connsiteX37" fmla="*/ 51853 w 51853"/>
                  <a:gd name="connsiteY37" fmla="*/ 23795 h 34611"/>
                  <a:gd name="connsiteX38" fmla="*/ 22650 w 51853"/>
                  <a:gd name="connsiteY38" fmla="*/ 17306 h 34611"/>
                  <a:gd name="connsiteX39" fmla="*/ 12661 w 51853"/>
                  <a:gd name="connsiteY39" fmla="*/ 19596 h 34611"/>
                  <a:gd name="connsiteX40" fmla="*/ 7889 w 51853"/>
                  <a:gd name="connsiteY40" fmla="*/ 21187 h 34611"/>
                  <a:gd name="connsiteX41" fmla="*/ 6044 w 51853"/>
                  <a:gd name="connsiteY41" fmla="*/ 25004 h 34611"/>
                  <a:gd name="connsiteX42" fmla="*/ 7698 w 51853"/>
                  <a:gd name="connsiteY42" fmla="*/ 28694 h 34611"/>
                  <a:gd name="connsiteX43" fmla="*/ 12470 w 51853"/>
                  <a:gd name="connsiteY43" fmla="*/ 30221 h 34611"/>
                  <a:gd name="connsiteX44" fmla="*/ 18705 w 51853"/>
                  <a:gd name="connsiteY44" fmla="*/ 28440 h 34611"/>
                  <a:gd name="connsiteX45" fmla="*/ 22141 w 51853"/>
                  <a:gd name="connsiteY45" fmla="*/ 24050 h 34611"/>
                  <a:gd name="connsiteX46" fmla="*/ 22650 w 51853"/>
                  <a:gd name="connsiteY46" fmla="*/ 17306 h 34611"/>
                  <a:gd name="connsiteX47" fmla="*/ 28122 w 51853"/>
                  <a:gd name="connsiteY47" fmla="*/ 14188 h 34611"/>
                  <a:gd name="connsiteX48" fmla="*/ 46255 w 51853"/>
                  <a:gd name="connsiteY48" fmla="*/ 14188 h 34611"/>
                  <a:gd name="connsiteX49" fmla="*/ 43455 w 51853"/>
                  <a:gd name="connsiteY49" fmla="*/ 6999 h 34611"/>
                  <a:gd name="connsiteX50" fmla="*/ 37284 w 51853"/>
                  <a:gd name="connsiteY50" fmla="*/ 4708 h 34611"/>
                  <a:gd name="connsiteX51" fmla="*/ 30858 w 51853"/>
                  <a:gd name="connsiteY51" fmla="*/ 7190 h 34611"/>
                  <a:gd name="connsiteX52" fmla="*/ 28122 w 51853"/>
                  <a:gd name="connsiteY52" fmla="*/ 14188 h 3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853" h="34611">
                    <a:moveTo>
                      <a:pt x="51853" y="23795"/>
                    </a:moveTo>
                    <a:cubicBezTo>
                      <a:pt x="50835" y="27231"/>
                      <a:pt x="49054" y="29903"/>
                      <a:pt x="46573" y="31812"/>
                    </a:cubicBezTo>
                    <a:cubicBezTo>
                      <a:pt x="44091" y="33721"/>
                      <a:pt x="40974" y="34611"/>
                      <a:pt x="37284" y="34611"/>
                    </a:cubicBezTo>
                    <a:cubicBezTo>
                      <a:pt x="34675" y="34611"/>
                      <a:pt x="32321" y="34102"/>
                      <a:pt x="30349" y="33148"/>
                    </a:cubicBezTo>
                    <a:cubicBezTo>
                      <a:pt x="28376" y="32194"/>
                      <a:pt x="26595" y="30603"/>
                      <a:pt x="25004" y="28503"/>
                    </a:cubicBezTo>
                    <a:cubicBezTo>
                      <a:pt x="22841" y="30603"/>
                      <a:pt x="20678" y="32194"/>
                      <a:pt x="18451" y="33148"/>
                    </a:cubicBezTo>
                    <a:cubicBezTo>
                      <a:pt x="16224" y="34102"/>
                      <a:pt x="13870" y="34611"/>
                      <a:pt x="11325" y="34611"/>
                    </a:cubicBezTo>
                    <a:cubicBezTo>
                      <a:pt x="7762" y="34611"/>
                      <a:pt x="4963" y="33721"/>
                      <a:pt x="2990" y="31875"/>
                    </a:cubicBezTo>
                    <a:cubicBezTo>
                      <a:pt x="1018" y="30030"/>
                      <a:pt x="0" y="27804"/>
                      <a:pt x="0" y="25195"/>
                    </a:cubicBezTo>
                    <a:cubicBezTo>
                      <a:pt x="0" y="23414"/>
                      <a:pt x="509" y="21759"/>
                      <a:pt x="1527" y="20169"/>
                    </a:cubicBezTo>
                    <a:cubicBezTo>
                      <a:pt x="2545" y="18578"/>
                      <a:pt x="4008" y="17433"/>
                      <a:pt x="5790" y="16606"/>
                    </a:cubicBezTo>
                    <a:cubicBezTo>
                      <a:pt x="7571" y="15779"/>
                      <a:pt x="10562" y="15143"/>
                      <a:pt x="14570" y="14633"/>
                    </a:cubicBezTo>
                    <a:cubicBezTo>
                      <a:pt x="17687" y="14188"/>
                      <a:pt x="20296" y="13679"/>
                      <a:pt x="22396" y="13107"/>
                    </a:cubicBezTo>
                    <a:cubicBezTo>
                      <a:pt x="22396" y="12597"/>
                      <a:pt x="22459" y="12152"/>
                      <a:pt x="22459" y="11834"/>
                    </a:cubicBezTo>
                    <a:cubicBezTo>
                      <a:pt x="22459" y="9225"/>
                      <a:pt x="21887" y="7380"/>
                      <a:pt x="20805" y="6362"/>
                    </a:cubicBezTo>
                    <a:cubicBezTo>
                      <a:pt x="19723" y="5344"/>
                      <a:pt x="17815" y="4772"/>
                      <a:pt x="15079" y="4772"/>
                    </a:cubicBezTo>
                    <a:cubicBezTo>
                      <a:pt x="13297" y="4772"/>
                      <a:pt x="11770" y="4963"/>
                      <a:pt x="10498" y="5408"/>
                    </a:cubicBezTo>
                    <a:cubicBezTo>
                      <a:pt x="9225" y="5853"/>
                      <a:pt x="8335" y="6490"/>
                      <a:pt x="7762" y="7253"/>
                    </a:cubicBezTo>
                    <a:cubicBezTo>
                      <a:pt x="7189" y="8080"/>
                      <a:pt x="6680" y="9353"/>
                      <a:pt x="6299" y="11070"/>
                    </a:cubicBezTo>
                    <a:lnTo>
                      <a:pt x="891" y="10434"/>
                    </a:lnTo>
                    <a:cubicBezTo>
                      <a:pt x="1463" y="8016"/>
                      <a:pt x="2290" y="6108"/>
                      <a:pt x="3372" y="4644"/>
                    </a:cubicBezTo>
                    <a:cubicBezTo>
                      <a:pt x="4454" y="3245"/>
                      <a:pt x="6044" y="2100"/>
                      <a:pt x="8017" y="1272"/>
                    </a:cubicBezTo>
                    <a:cubicBezTo>
                      <a:pt x="10053" y="445"/>
                      <a:pt x="12407" y="63"/>
                      <a:pt x="15142" y="63"/>
                    </a:cubicBezTo>
                    <a:cubicBezTo>
                      <a:pt x="18578" y="63"/>
                      <a:pt x="21378" y="573"/>
                      <a:pt x="23477" y="1591"/>
                    </a:cubicBezTo>
                    <a:cubicBezTo>
                      <a:pt x="24686" y="2163"/>
                      <a:pt x="25704" y="3181"/>
                      <a:pt x="26531" y="4454"/>
                    </a:cubicBezTo>
                    <a:cubicBezTo>
                      <a:pt x="27867" y="2990"/>
                      <a:pt x="29331" y="1909"/>
                      <a:pt x="31048" y="1145"/>
                    </a:cubicBezTo>
                    <a:cubicBezTo>
                      <a:pt x="32703" y="382"/>
                      <a:pt x="34739" y="0"/>
                      <a:pt x="37156" y="0"/>
                    </a:cubicBezTo>
                    <a:cubicBezTo>
                      <a:pt x="40528" y="0"/>
                      <a:pt x="43264" y="827"/>
                      <a:pt x="45491" y="2418"/>
                    </a:cubicBezTo>
                    <a:cubicBezTo>
                      <a:pt x="47718" y="4008"/>
                      <a:pt x="49309" y="6172"/>
                      <a:pt x="50326" y="8844"/>
                    </a:cubicBezTo>
                    <a:cubicBezTo>
                      <a:pt x="51344" y="11516"/>
                      <a:pt x="51853" y="14125"/>
                      <a:pt x="51853" y="16733"/>
                    </a:cubicBezTo>
                    <a:cubicBezTo>
                      <a:pt x="51853" y="17115"/>
                      <a:pt x="51853" y="17751"/>
                      <a:pt x="51790" y="18642"/>
                    </a:cubicBezTo>
                    <a:lnTo>
                      <a:pt x="28122" y="18642"/>
                    </a:lnTo>
                    <a:cubicBezTo>
                      <a:pt x="28185" y="21632"/>
                      <a:pt x="28503" y="23795"/>
                      <a:pt x="29203" y="25131"/>
                    </a:cubicBezTo>
                    <a:cubicBezTo>
                      <a:pt x="29903" y="26468"/>
                      <a:pt x="30985" y="27613"/>
                      <a:pt x="32512" y="28503"/>
                    </a:cubicBezTo>
                    <a:cubicBezTo>
                      <a:pt x="34039" y="29394"/>
                      <a:pt x="35693" y="29840"/>
                      <a:pt x="37538" y="29840"/>
                    </a:cubicBezTo>
                    <a:cubicBezTo>
                      <a:pt x="39638" y="29840"/>
                      <a:pt x="41483" y="29203"/>
                      <a:pt x="42946" y="27994"/>
                    </a:cubicBezTo>
                    <a:cubicBezTo>
                      <a:pt x="44409" y="26786"/>
                      <a:pt x="45427" y="25068"/>
                      <a:pt x="46000" y="22841"/>
                    </a:cubicBezTo>
                    <a:lnTo>
                      <a:pt x="51853" y="23795"/>
                    </a:lnTo>
                    <a:close/>
                    <a:moveTo>
                      <a:pt x="22650" y="17306"/>
                    </a:moveTo>
                    <a:cubicBezTo>
                      <a:pt x="20996" y="18005"/>
                      <a:pt x="17687" y="18769"/>
                      <a:pt x="12661" y="19596"/>
                    </a:cubicBezTo>
                    <a:cubicBezTo>
                      <a:pt x="10371" y="19978"/>
                      <a:pt x="8844" y="20487"/>
                      <a:pt x="7889" y="21187"/>
                    </a:cubicBezTo>
                    <a:cubicBezTo>
                      <a:pt x="6680" y="22141"/>
                      <a:pt x="6044" y="23414"/>
                      <a:pt x="6044" y="25004"/>
                    </a:cubicBezTo>
                    <a:cubicBezTo>
                      <a:pt x="6044" y="26468"/>
                      <a:pt x="6617" y="27740"/>
                      <a:pt x="7698" y="28694"/>
                    </a:cubicBezTo>
                    <a:cubicBezTo>
                      <a:pt x="8780" y="29712"/>
                      <a:pt x="10371" y="30221"/>
                      <a:pt x="12470" y="30221"/>
                    </a:cubicBezTo>
                    <a:cubicBezTo>
                      <a:pt x="14888" y="30221"/>
                      <a:pt x="16924" y="29649"/>
                      <a:pt x="18705" y="28440"/>
                    </a:cubicBezTo>
                    <a:cubicBezTo>
                      <a:pt x="20487" y="27231"/>
                      <a:pt x="21632" y="25768"/>
                      <a:pt x="22141" y="24050"/>
                    </a:cubicBezTo>
                    <a:cubicBezTo>
                      <a:pt x="22459" y="22968"/>
                      <a:pt x="22650" y="20741"/>
                      <a:pt x="22650" y="17306"/>
                    </a:cubicBezTo>
                    <a:close/>
                    <a:moveTo>
                      <a:pt x="28122" y="14188"/>
                    </a:moveTo>
                    <a:lnTo>
                      <a:pt x="46255" y="14188"/>
                    </a:lnTo>
                    <a:cubicBezTo>
                      <a:pt x="45936" y="10943"/>
                      <a:pt x="45046" y="8526"/>
                      <a:pt x="43455" y="6999"/>
                    </a:cubicBezTo>
                    <a:cubicBezTo>
                      <a:pt x="41865" y="5472"/>
                      <a:pt x="39829" y="4708"/>
                      <a:pt x="37284" y="4708"/>
                    </a:cubicBezTo>
                    <a:cubicBezTo>
                      <a:pt x="34675" y="4708"/>
                      <a:pt x="32512" y="5535"/>
                      <a:pt x="30858" y="7190"/>
                    </a:cubicBezTo>
                    <a:cubicBezTo>
                      <a:pt x="29203" y="8844"/>
                      <a:pt x="28313" y="11261"/>
                      <a:pt x="28122" y="14188"/>
                    </a:cubicBezTo>
                    <a:close/>
                  </a:path>
                </a:pathLst>
              </a:custGeom>
              <a:grpFill/>
              <a:ln w="6361" cap="flat">
                <a:noFill/>
                <a:prstDash val="solid"/>
                <a:miter/>
              </a:ln>
            </p:spPr>
            <p:txBody>
              <a:bodyPr rtlCol="0" anchor="ctr"/>
              <a:lstStyle/>
              <a:p>
                <a:endParaRPr lang="da-DK"/>
              </a:p>
            </p:txBody>
          </p:sp>
          <p:sp>
            <p:nvSpPr>
              <p:cNvPr id="164" name="Freeform: Shape 163">
                <a:extLst>
                  <a:ext uri="{FF2B5EF4-FFF2-40B4-BE49-F238E27FC236}">
                    <a16:creationId xmlns:a16="http://schemas.microsoft.com/office/drawing/2014/main" id="{3C4CE17D-5288-4A80-AA09-28B1B6B5A75C}"/>
                  </a:ext>
                </a:extLst>
              </p:cNvPr>
              <p:cNvSpPr/>
              <p:nvPr/>
            </p:nvSpPr>
            <p:spPr>
              <a:xfrm>
                <a:off x="1297485"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65" name="Freeform: Shape 164">
                <a:extLst>
                  <a:ext uri="{FF2B5EF4-FFF2-40B4-BE49-F238E27FC236}">
                    <a16:creationId xmlns:a16="http://schemas.microsoft.com/office/drawing/2014/main" id="{E1411903-F236-484D-AE07-BDF61CAFCA4C}"/>
                  </a:ext>
                </a:extLst>
              </p:cNvPr>
              <p:cNvSpPr/>
              <p:nvPr/>
            </p:nvSpPr>
            <p:spPr>
              <a:xfrm>
                <a:off x="1311609"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66" name="Freeform: Shape 165">
                <a:extLst>
                  <a:ext uri="{FF2B5EF4-FFF2-40B4-BE49-F238E27FC236}">
                    <a16:creationId xmlns:a16="http://schemas.microsoft.com/office/drawing/2014/main" id="{23576E51-A0A3-46B7-9697-C760AF1E323A}"/>
                  </a:ext>
                </a:extLst>
              </p:cNvPr>
              <p:cNvSpPr/>
              <p:nvPr/>
            </p:nvSpPr>
            <p:spPr>
              <a:xfrm>
                <a:off x="1324016" y="3552112"/>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459" y="27167"/>
                      <a:pt x="23604"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grpFill/>
              <a:ln w="6361" cap="flat">
                <a:noFill/>
                <a:prstDash val="solid"/>
                <a:miter/>
              </a:ln>
            </p:spPr>
            <p:txBody>
              <a:bodyPr rtlCol="0" anchor="ctr"/>
              <a:lstStyle/>
              <a:p>
                <a:endParaRPr lang="da-DK"/>
              </a:p>
            </p:txBody>
          </p:sp>
          <p:sp>
            <p:nvSpPr>
              <p:cNvPr id="167" name="Freeform: Shape 166">
                <a:extLst>
                  <a:ext uri="{FF2B5EF4-FFF2-40B4-BE49-F238E27FC236}">
                    <a16:creationId xmlns:a16="http://schemas.microsoft.com/office/drawing/2014/main" id="{FA22C054-CFD4-4CC5-98CD-70EDE80A861E}"/>
                  </a:ext>
                </a:extLst>
              </p:cNvPr>
              <p:cNvSpPr/>
              <p:nvPr/>
            </p:nvSpPr>
            <p:spPr>
              <a:xfrm>
                <a:off x="1359009"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0" y="26976"/>
                      <a:pt x="8144" y="28122"/>
                    </a:cubicBezTo>
                    <a:cubicBezTo>
                      <a:pt x="9607" y="29267"/>
                      <a:pt x="11516" y="29903"/>
                      <a:pt x="14061" y="29903"/>
                    </a:cubicBezTo>
                    <a:cubicBezTo>
                      <a:pt x="16606" y="29903"/>
                      <a:pt x="18515" y="29394"/>
                      <a:pt x="19787" y="28313"/>
                    </a:cubicBezTo>
                    <a:cubicBezTo>
                      <a:pt x="21059" y="27295"/>
                      <a:pt x="21632" y="26022"/>
                      <a:pt x="21632" y="24622"/>
                    </a:cubicBezTo>
                    <a:cubicBezTo>
                      <a:pt x="21632" y="23350"/>
                      <a:pt x="21059"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2" y="12598"/>
                      <a:pt x="891" y="11134"/>
                      <a:pt x="891" y="9480"/>
                    </a:cubicBezTo>
                    <a:cubicBezTo>
                      <a:pt x="891" y="8017"/>
                      <a:pt x="1209" y="6617"/>
                      <a:pt x="1909" y="5408"/>
                    </a:cubicBezTo>
                    <a:cubicBezTo>
                      <a:pt x="2609" y="4136"/>
                      <a:pt x="3499" y="3118"/>
                      <a:pt x="4645" y="2291"/>
                    </a:cubicBezTo>
                    <a:cubicBezTo>
                      <a:pt x="5535" y="1654"/>
                      <a:pt x="6680"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68" name="Freeform: Shape 167">
                <a:extLst>
                  <a:ext uri="{FF2B5EF4-FFF2-40B4-BE49-F238E27FC236}">
                    <a16:creationId xmlns:a16="http://schemas.microsoft.com/office/drawing/2014/main" id="{632C94AB-373F-455A-B2A2-FD43B56FE6AB}"/>
                  </a:ext>
                </a:extLst>
              </p:cNvPr>
              <p:cNvSpPr/>
              <p:nvPr/>
            </p:nvSpPr>
            <p:spPr>
              <a:xfrm>
                <a:off x="1410735" y="3552048"/>
                <a:ext cx="28630" cy="46381"/>
              </a:xfrm>
              <a:custGeom>
                <a:avLst/>
                <a:gdLst>
                  <a:gd name="connsiteX0" fmla="*/ 0 w 28630"/>
                  <a:gd name="connsiteY0" fmla="*/ 46382 h 46381"/>
                  <a:gd name="connsiteX1" fmla="*/ 0 w 28630"/>
                  <a:gd name="connsiteY1" fmla="*/ 763 h 46381"/>
                  <a:gd name="connsiteX2" fmla="*/ 5090 w 28630"/>
                  <a:gd name="connsiteY2" fmla="*/ 763 h 46381"/>
                  <a:gd name="connsiteX3" fmla="*/ 5090 w 28630"/>
                  <a:gd name="connsiteY3" fmla="*/ 5026 h 46381"/>
                  <a:gd name="connsiteX4" fmla="*/ 9162 w 28630"/>
                  <a:gd name="connsiteY4" fmla="*/ 1273 h 46381"/>
                  <a:gd name="connsiteX5" fmla="*/ 14634 w 28630"/>
                  <a:gd name="connsiteY5" fmla="*/ 0 h 46381"/>
                  <a:gd name="connsiteX6" fmla="*/ 22078 w 28630"/>
                  <a:gd name="connsiteY6" fmla="*/ 2163 h 46381"/>
                  <a:gd name="connsiteX7" fmla="*/ 26977 w 28630"/>
                  <a:gd name="connsiteY7" fmla="*/ 8271 h 46381"/>
                  <a:gd name="connsiteX8" fmla="*/ 28631 w 28630"/>
                  <a:gd name="connsiteY8" fmla="*/ 16988 h 46381"/>
                  <a:gd name="connsiteX9" fmla="*/ 26786 w 28630"/>
                  <a:gd name="connsiteY9" fmla="*/ 26086 h 46381"/>
                  <a:gd name="connsiteX10" fmla="*/ 21505 w 28630"/>
                  <a:gd name="connsiteY10" fmla="*/ 32321 h 46381"/>
                  <a:gd name="connsiteX11" fmla="*/ 14252 w 28630"/>
                  <a:gd name="connsiteY11" fmla="*/ 34484 h 46381"/>
                  <a:gd name="connsiteX12" fmla="*/ 9225 w 28630"/>
                  <a:gd name="connsiteY12" fmla="*/ 33275 h 46381"/>
                  <a:gd name="connsiteX13" fmla="*/ 5599 w 28630"/>
                  <a:gd name="connsiteY13" fmla="*/ 30285 h 46381"/>
                  <a:gd name="connsiteX14" fmla="*/ 5599 w 28630"/>
                  <a:gd name="connsiteY14" fmla="*/ 46318 h 46381"/>
                  <a:gd name="connsiteX15" fmla="*/ 0 w 28630"/>
                  <a:gd name="connsiteY15" fmla="*/ 46318 h 46381"/>
                  <a:gd name="connsiteX16" fmla="*/ 5090 w 28630"/>
                  <a:gd name="connsiteY16" fmla="*/ 17433 h 46381"/>
                  <a:gd name="connsiteX17" fmla="*/ 7635 w 28630"/>
                  <a:gd name="connsiteY17" fmla="*/ 26849 h 46381"/>
                  <a:gd name="connsiteX18" fmla="*/ 13870 w 28630"/>
                  <a:gd name="connsiteY18" fmla="*/ 29903 h 46381"/>
                  <a:gd name="connsiteX19" fmla="*/ 20232 w 28630"/>
                  <a:gd name="connsiteY19" fmla="*/ 26722 h 46381"/>
                  <a:gd name="connsiteX20" fmla="*/ 22905 w 28630"/>
                  <a:gd name="connsiteY20" fmla="*/ 16924 h 46381"/>
                  <a:gd name="connsiteX21" fmla="*/ 20296 w 28630"/>
                  <a:gd name="connsiteY21" fmla="*/ 7508 h 46381"/>
                  <a:gd name="connsiteX22" fmla="*/ 14125 w 28630"/>
                  <a:gd name="connsiteY22" fmla="*/ 4390 h 46381"/>
                  <a:gd name="connsiteX23" fmla="*/ 7826 w 28630"/>
                  <a:gd name="connsiteY23" fmla="*/ 7762 h 46381"/>
                  <a:gd name="connsiteX24" fmla="*/ 5090 w 28630"/>
                  <a:gd name="connsiteY24" fmla="*/ 17433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630" h="46381">
                    <a:moveTo>
                      <a:pt x="0" y="46382"/>
                    </a:moveTo>
                    <a:lnTo>
                      <a:pt x="0" y="763"/>
                    </a:lnTo>
                    <a:lnTo>
                      <a:pt x="5090" y="763"/>
                    </a:lnTo>
                    <a:lnTo>
                      <a:pt x="5090" y="5026"/>
                    </a:lnTo>
                    <a:cubicBezTo>
                      <a:pt x="6299" y="3372"/>
                      <a:pt x="7635" y="2100"/>
                      <a:pt x="9162" y="1273"/>
                    </a:cubicBezTo>
                    <a:cubicBezTo>
                      <a:pt x="10689" y="445"/>
                      <a:pt x="12534" y="0"/>
                      <a:pt x="14634" y="0"/>
                    </a:cubicBezTo>
                    <a:cubicBezTo>
                      <a:pt x="17433" y="0"/>
                      <a:pt x="19914" y="700"/>
                      <a:pt x="22078" y="2163"/>
                    </a:cubicBezTo>
                    <a:cubicBezTo>
                      <a:pt x="24241" y="3627"/>
                      <a:pt x="25831" y="5663"/>
                      <a:pt x="26977" y="8271"/>
                    </a:cubicBezTo>
                    <a:cubicBezTo>
                      <a:pt x="28058" y="10943"/>
                      <a:pt x="28631" y="13806"/>
                      <a:pt x="28631" y="16988"/>
                    </a:cubicBezTo>
                    <a:cubicBezTo>
                      <a:pt x="28631" y="20360"/>
                      <a:pt x="28058" y="23414"/>
                      <a:pt x="26786" y="26086"/>
                    </a:cubicBezTo>
                    <a:cubicBezTo>
                      <a:pt x="25577" y="28758"/>
                      <a:pt x="23795" y="30858"/>
                      <a:pt x="21505" y="32321"/>
                    </a:cubicBezTo>
                    <a:cubicBezTo>
                      <a:pt x="19214" y="33784"/>
                      <a:pt x="16797" y="34484"/>
                      <a:pt x="14252" y="34484"/>
                    </a:cubicBezTo>
                    <a:cubicBezTo>
                      <a:pt x="12407" y="34484"/>
                      <a:pt x="10689" y="34103"/>
                      <a:pt x="9225" y="33275"/>
                    </a:cubicBezTo>
                    <a:cubicBezTo>
                      <a:pt x="7762" y="32448"/>
                      <a:pt x="6553" y="31494"/>
                      <a:pt x="5599" y="30285"/>
                    </a:cubicBezTo>
                    <a:lnTo>
                      <a:pt x="5599" y="46318"/>
                    </a:lnTo>
                    <a:lnTo>
                      <a:pt x="0" y="46318"/>
                    </a:lnTo>
                    <a:close/>
                    <a:moveTo>
                      <a:pt x="5090" y="17433"/>
                    </a:moveTo>
                    <a:cubicBezTo>
                      <a:pt x="5090" y="21696"/>
                      <a:pt x="5917" y="24813"/>
                      <a:pt x="7635" y="26849"/>
                    </a:cubicBezTo>
                    <a:cubicBezTo>
                      <a:pt x="9353" y="28885"/>
                      <a:pt x="11452" y="29903"/>
                      <a:pt x="13870" y="29903"/>
                    </a:cubicBezTo>
                    <a:cubicBezTo>
                      <a:pt x="16351" y="29903"/>
                      <a:pt x="18451" y="28822"/>
                      <a:pt x="20232" y="26722"/>
                    </a:cubicBezTo>
                    <a:cubicBezTo>
                      <a:pt x="22014" y="24622"/>
                      <a:pt x="22905" y="21378"/>
                      <a:pt x="22905" y="16924"/>
                    </a:cubicBezTo>
                    <a:cubicBezTo>
                      <a:pt x="22905" y="12725"/>
                      <a:pt x="22078" y="9544"/>
                      <a:pt x="20296" y="7508"/>
                    </a:cubicBezTo>
                    <a:cubicBezTo>
                      <a:pt x="18578" y="5408"/>
                      <a:pt x="16479" y="4390"/>
                      <a:pt x="14125" y="4390"/>
                    </a:cubicBezTo>
                    <a:cubicBezTo>
                      <a:pt x="11707" y="4390"/>
                      <a:pt x="9607" y="5472"/>
                      <a:pt x="7826" y="7762"/>
                    </a:cubicBezTo>
                    <a:cubicBezTo>
                      <a:pt x="5981" y="9989"/>
                      <a:pt x="5090" y="13170"/>
                      <a:pt x="5090" y="17433"/>
                    </a:cubicBezTo>
                    <a:close/>
                  </a:path>
                </a:pathLst>
              </a:custGeom>
              <a:grpFill/>
              <a:ln w="6361" cap="flat">
                <a:noFill/>
                <a:prstDash val="solid"/>
                <a:miter/>
              </a:ln>
            </p:spPr>
            <p:txBody>
              <a:bodyPr rtlCol="0" anchor="ctr"/>
              <a:lstStyle/>
              <a:p>
                <a:endParaRPr lang="da-DK"/>
              </a:p>
            </p:txBody>
          </p:sp>
          <p:sp>
            <p:nvSpPr>
              <p:cNvPr id="169" name="Freeform: Shape 168">
                <a:extLst>
                  <a:ext uri="{FF2B5EF4-FFF2-40B4-BE49-F238E27FC236}">
                    <a16:creationId xmlns:a16="http://schemas.microsoft.com/office/drawing/2014/main" id="{E0EAE2E4-31CA-4F1C-BE65-FC7FA53E9524}"/>
                  </a:ext>
                </a:extLst>
              </p:cNvPr>
              <p:cNvSpPr/>
              <p:nvPr/>
            </p:nvSpPr>
            <p:spPr>
              <a:xfrm>
                <a:off x="144604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70" name="Freeform: Shape 169">
                <a:extLst>
                  <a:ext uri="{FF2B5EF4-FFF2-40B4-BE49-F238E27FC236}">
                    <a16:creationId xmlns:a16="http://schemas.microsoft.com/office/drawing/2014/main" id="{18FEE76F-BFF8-4D5F-AA1B-4D585AFA3358}"/>
                  </a:ext>
                </a:extLst>
              </p:cNvPr>
              <p:cNvSpPr/>
              <p:nvPr/>
            </p:nvSpPr>
            <p:spPr>
              <a:xfrm>
                <a:off x="1465197" y="3552048"/>
                <a:ext cx="30921" cy="34547"/>
              </a:xfrm>
              <a:custGeom>
                <a:avLst/>
                <a:gdLst>
                  <a:gd name="connsiteX0" fmla="*/ 0 w 30921"/>
                  <a:gd name="connsiteY0" fmla="*/ 17242 h 34547"/>
                  <a:gd name="connsiteX1" fmla="*/ 5090 w 30921"/>
                  <a:gd name="connsiteY1" fmla="*/ 3690 h 34547"/>
                  <a:gd name="connsiteX2" fmla="*/ 15461 w 30921"/>
                  <a:gd name="connsiteY2" fmla="*/ 0 h 34547"/>
                  <a:gd name="connsiteX3" fmla="*/ 26595 w 30921"/>
                  <a:gd name="connsiteY3" fmla="*/ 4454 h 34547"/>
                  <a:gd name="connsiteX4" fmla="*/ 30921 w 30921"/>
                  <a:gd name="connsiteY4" fmla="*/ 16797 h 34547"/>
                  <a:gd name="connsiteX5" fmla="*/ 29012 w 30921"/>
                  <a:gd name="connsiteY5" fmla="*/ 26849 h 34547"/>
                  <a:gd name="connsiteX6" fmla="*/ 23477 w 30921"/>
                  <a:gd name="connsiteY6" fmla="*/ 32512 h 34547"/>
                  <a:gd name="connsiteX7" fmla="*/ 15524 w 30921"/>
                  <a:gd name="connsiteY7" fmla="*/ 34548 h 34547"/>
                  <a:gd name="connsiteX8" fmla="*/ 4326 w 30921"/>
                  <a:gd name="connsiteY8" fmla="*/ 30094 h 34547"/>
                  <a:gd name="connsiteX9" fmla="*/ 0 w 30921"/>
                  <a:gd name="connsiteY9" fmla="*/ 17242 h 34547"/>
                  <a:gd name="connsiteX10" fmla="*/ 5790 w 30921"/>
                  <a:gd name="connsiteY10" fmla="*/ 17242 h 34547"/>
                  <a:gd name="connsiteX11" fmla="*/ 8526 w 30921"/>
                  <a:gd name="connsiteY11" fmla="*/ 26722 h 34547"/>
                  <a:gd name="connsiteX12" fmla="*/ 15461 w 30921"/>
                  <a:gd name="connsiteY12" fmla="*/ 29903 h 34547"/>
                  <a:gd name="connsiteX13" fmla="*/ 22396 w 30921"/>
                  <a:gd name="connsiteY13" fmla="*/ 26722 h 34547"/>
                  <a:gd name="connsiteX14" fmla="*/ 25131 w 30921"/>
                  <a:gd name="connsiteY14" fmla="*/ 17051 h 34547"/>
                  <a:gd name="connsiteX15" fmla="*/ 22332 w 30921"/>
                  <a:gd name="connsiteY15" fmla="*/ 7762 h 34547"/>
                  <a:gd name="connsiteX16" fmla="*/ 15397 w 30921"/>
                  <a:gd name="connsiteY16" fmla="*/ 4581 h 34547"/>
                  <a:gd name="connsiteX17" fmla="*/ 8462 w 30921"/>
                  <a:gd name="connsiteY17" fmla="*/ 7698 h 34547"/>
                  <a:gd name="connsiteX18" fmla="*/ 5790 w 30921"/>
                  <a:gd name="connsiteY18" fmla="*/ 17242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921" h="34547">
                    <a:moveTo>
                      <a:pt x="0" y="17242"/>
                    </a:moveTo>
                    <a:cubicBezTo>
                      <a:pt x="0" y="11134"/>
                      <a:pt x="1718" y="6617"/>
                      <a:pt x="5090" y="3690"/>
                    </a:cubicBezTo>
                    <a:cubicBezTo>
                      <a:pt x="7953" y="1273"/>
                      <a:pt x="11389" y="0"/>
                      <a:pt x="15461" y="0"/>
                    </a:cubicBezTo>
                    <a:cubicBezTo>
                      <a:pt x="19978" y="0"/>
                      <a:pt x="23732" y="1463"/>
                      <a:pt x="26595" y="4454"/>
                    </a:cubicBezTo>
                    <a:cubicBezTo>
                      <a:pt x="29458" y="7444"/>
                      <a:pt x="30921" y="11516"/>
                      <a:pt x="30921" y="16797"/>
                    </a:cubicBezTo>
                    <a:cubicBezTo>
                      <a:pt x="30921" y="21059"/>
                      <a:pt x="30285" y="24368"/>
                      <a:pt x="29012" y="26849"/>
                    </a:cubicBezTo>
                    <a:cubicBezTo>
                      <a:pt x="27740" y="29267"/>
                      <a:pt x="25895" y="31176"/>
                      <a:pt x="23477" y="32512"/>
                    </a:cubicBezTo>
                    <a:cubicBezTo>
                      <a:pt x="21059" y="33848"/>
                      <a:pt x="18387" y="34548"/>
                      <a:pt x="15524" y="34548"/>
                    </a:cubicBezTo>
                    <a:cubicBezTo>
                      <a:pt x="10880" y="34548"/>
                      <a:pt x="7189" y="33085"/>
                      <a:pt x="4326" y="30094"/>
                    </a:cubicBezTo>
                    <a:cubicBezTo>
                      <a:pt x="1463" y="27104"/>
                      <a:pt x="0" y="22841"/>
                      <a:pt x="0" y="17242"/>
                    </a:cubicBezTo>
                    <a:close/>
                    <a:moveTo>
                      <a:pt x="5790" y="17242"/>
                    </a:moveTo>
                    <a:cubicBezTo>
                      <a:pt x="5790" y="21441"/>
                      <a:pt x="6681" y="24622"/>
                      <a:pt x="8526" y="26722"/>
                    </a:cubicBezTo>
                    <a:cubicBezTo>
                      <a:pt x="10371" y="28822"/>
                      <a:pt x="12661" y="29903"/>
                      <a:pt x="15461" y="29903"/>
                    </a:cubicBezTo>
                    <a:cubicBezTo>
                      <a:pt x="18260" y="29903"/>
                      <a:pt x="20550" y="28822"/>
                      <a:pt x="22396" y="26722"/>
                    </a:cubicBezTo>
                    <a:cubicBezTo>
                      <a:pt x="24241" y="24622"/>
                      <a:pt x="25131" y="21378"/>
                      <a:pt x="25131" y="17051"/>
                    </a:cubicBezTo>
                    <a:cubicBezTo>
                      <a:pt x="25131" y="12979"/>
                      <a:pt x="24241" y="9862"/>
                      <a:pt x="22332" y="7762"/>
                    </a:cubicBezTo>
                    <a:cubicBezTo>
                      <a:pt x="20487" y="5663"/>
                      <a:pt x="18196" y="4581"/>
                      <a:pt x="15397" y="4581"/>
                    </a:cubicBezTo>
                    <a:cubicBezTo>
                      <a:pt x="12598" y="4581"/>
                      <a:pt x="10307" y="5599"/>
                      <a:pt x="8462" y="7698"/>
                    </a:cubicBezTo>
                    <a:cubicBezTo>
                      <a:pt x="6681" y="9862"/>
                      <a:pt x="5790" y="13043"/>
                      <a:pt x="5790" y="17242"/>
                    </a:cubicBezTo>
                    <a:close/>
                  </a:path>
                </a:pathLst>
              </a:custGeom>
              <a:grpFill/>
              <a:ln w="6361" cap="flat">
                <a:noFill/>
                <a:prstDash val="solid"/>
                <a:miter/>
              </a:ln>
            </p:spPr>
            <p:txBody>
              <a:bodyPr rtlCol="0" anchor="ctr"/>
              <a:lstStyle/>
              <a:p>
                <a:endParaRPr lang="da-DK"/>
              </a:p>
            </p:txBody>
          </p:sp>
          <p:sp>
            <p:nvSpPr>
              <p:cNvPr id="171" name="Freeform: Shape 170">
                <a:extLst>
                  <a:ext uri="{FF2B5EF4-FFF2-40B4-BE49-F238E27FC236}">
                    <a16:creationId xmlns:a16="http://schemas.microsoft.com/office/drawing/2014/main" id="{24BF6996-CA0E-4F83-9EC7-E63DA65D5FE9}"/>
                  </a:ext>
                </a:extLst>
              </p:cNvPr>
              <p:cNvSpPr/>
              <p:nvPr/>
            </p:nvSpPr>
            <p:spPr>
              <a:xfrm>
                <a:off x="1501018" y="3552048"/>
                <a:ext cx="28694" cy="34484"/>
              </a:xfrm>
              <a:custGeom>
                <a:avLst/>
                <a:gdLst>
                  <a:gd name="connsiteX0" fmla="*/ 23223 w 28694"/>
                  <a:gd name="connsiteY0" fmla="*/ 21696 h 34484"/>
                  <a:gd name="connsiteX1" fmla="*/ 28694 w 28694"/>
                  <a:gd name="connsiteY1" fmla="*/ 22396 h 34484"/>
                  <a:gd name="connsiteX2" fmla="*/ 24114 w 28694"/>
                  <a:gd name="connsiteY2" fmla="*/ 31303 h 34484"/>
                  <a:gd name="connsiteX3" fmla="*/ 15015 w 28694"/>
                  <a:gd name="connsiteY3" fmla="*/ 34484 h 34484"/>
                  <a:gd name="connsiteX4" fmla="*/ 4136 w 28694"/>
                  <a:gd name="connsiteY4" fmla="*/ 30030 h 34484"/>
                  <a:gd name="connsiteX5" fmla="*/ 0 w 28694"/>
                  <a:gd name="connsiteY5" fmla="*/ 17369 h 34484"/>
                  <a:gd name="connsiteX6" fmla="*/ 1782 w 28694"/>
                  <a:gd name="connsiteY6" fmla="*/ 8017 h 34484"/>
                  <a:gd name="connsiteX7" fmla="*/ 7190 w 28694"/>
                  <a:gd name="connsiteY7" fmla="*/ 2036 h 34484"/>
                  <a:gd name="connsiteX8" fmla="*/ 15079 w 28694"/>
                  <a:gd name="connsiteY8" fmla="*/ 0 h 34484"/>
                  <a:gd name="connsiteX9" fmla="*/ 23859 w 28694"/>
                  <a:gd name="connsiteY9" fmla="*/ 2736 h 34484"/>
                  <a:gd name="connsiteX10" fmla="*/ 28249 w 28694"/>
                  <a:gd name="connsiteY10" fmla="*/ 10434 h 34484"/>
                  <a:gd name="connsiteX11" fmla="*/ 22777 w 28694"/>
                  <a:gd name="connsiteY11" fmla="*/ 11261 h 34484"/>
                  <a:gd name="connsiteX12" fmla="*/ 20042 w 28694"/>
                  <a:gd name="connsiteY12" fmla="*/ 6235 h 34484"/>
                  <a:gd name="connsiteX13" fmla="*/ 15270 w 28694"/>
                  <a:gd name="connsiteY13" fmla="*/ 4581 h 34484"/>
                  <a:gd name="connsiteX14" fmla="*/ 8398 w 28694"/>
                  <a:gd name="connsiteY14" fmla="*/ 7635 h 34484"/>
                  <a:gd name="connsiteX15" fmla="*/ 5726 w 28694"/>
                  <a:gd name="connsiteY15" fmla="*/ 17242 h 34484"/>
                  <a:gd name="connsiteX16" fmla="*/ 8271 w 28694"/>
                  <a:gd name="connsiteY16" fmla="*/ 26913 h 34484"/>
                  <a:gd name="connsiteX17" fmla="*/ 14888 w 28694"/>
                  <a:gd name="connsiteY17" fmla="*/ 29903 h 34484"/>
                  <a:gd name="connsiteX18" fmla="*/ 20423 w 28694"/>
                  <a:gd name="connsiteY18" fmla="*/ 27867 h 34484"/>
                  <a:gd name="connsiteX19" fmla="*/ 23223 w 28694"/>
                  <a:gd name="connsiteY19" fmla="*/ 21696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694" h="34484">
                    <a:moveTo>
                      <a:pt x="23223" y="21696"/>
                    </a:moveTo>
                    <a:lnTo>
                      <a:pt x="28694" y="22396"/>
                    </a:lnTo>
                    <a:cubicBezTo>
                      <a:pt x="28122" y="26213"/>
                      <a:pt x="26531" y="29140"/>
                      <a:pt x="24114" y="31303"/>
                    </a:cubicBezTo>
                    <a:cubicBezTo>
                      <a:pt x="21632" y="33466"/>
                      <a:pt x="18578" y="34484"/>
                      <a:pt x="15015" y="34484"/>
                    </a:cubicBezTo>
                    <a:cubicBezTo>
                      <a:pt x="10498" y="34484"/>
                      <a:pt x="6871" y="33021"/>
                      <a:pt x="4136" y="30030"/>
                    </a:cubicBezTo>
                    <a:cubicBezTo>
                      <a:pt x="1400" y="27104"/>
                      <a:pt x="0" y="22841"/>
                      <a:pt x="0" y="17369"/>
                    </a:cubicBezTo>
                    <a:cubicBezTo>
                      <a:pt x="0" y="13806"/>
                      <a:pt x="573" y="10689"/>
                      <a:pt x="1782" y="8017"/>
                    </a:cubicBezTo>
                    <a:cubicBezTo>
                      <a:pt x="2990" y="5344"/>
                      <a:pt x="4772" y="3308"/>
                      <a:pt x="7190" y="2036"/>
                    </a:cubicBezTo>
                    <a:cubicBezTo>
                      <a:pt x="9607" y="700"/>
                      <a:pt x="12216" y="0"/>
                      <a:pt x="15079" y="0"/>
                    </a:cubicBezTo>
                    <a:cubicBezTo>
                      <a:pt x="18642" y="0"/>
                      <a:pt x="21569" y="891"/>
                      <a:pt x="23859" y="2736"/>
                    </a:cubicBezTo>
                    <a:cubicBezTo>
                      <a:pt x="26149" y="4581"/>
                      <a:pt x="27613" y="7126"/>
                      <a:pt x="28249" y="10434"/>
                    </a:cubicBezTo>
                    <a:lnTo>
                      <a:pt x="22777" y="11261"/>
                    </a:lnTo>
                    <a:cubicBezTo>
                      <a:pt x="22268" y="9035"/>
                      <a:pt x="21378" y="7380"/>
                      <a:pt x="20042" y="6235"/>
                    </a:cubicBezTo>
                    <a:cubicBezTo>
                      <a:pt x="18705" y="5090"/>
                      <a:pt x="17115" y="4581"/>
                      <a:pt x="15270" y="4581"/>
                    </a:cubicBezTo>
                    <a:cubicBezTo>
                      <a:pt x="12470" y="4581"/>
                      <a:pt x="10180" y="5599"/>
                      <a:pt x="8398" y="7635"/>
                    </a:cubicBezTo>
                    <a:cubicBezTo>
                      <a:pt x="6617" y="9671"/>
                      <a:pt x="5726" y="12852"/>
                      <a:pt x="5726" y="17242"/>
                    </a:cubicBezTo>
                    <a:cubicBezTo>
                      <a:pt x="5726" y="21696"/>
                      <a:pt x="6553" y="24877"/>
                      <a:pt x="8271" y="26913"/>
                    </a:cubicBezTo>
                    <a:cubicBezTo>
                      <a:pt x="9989" y="28949"/>
                      <a:pt x="12216" y="29903"/>
                      <a:pt x="14888" y="29903"/>
                    </a:cubicBezTo>
                    <a:cubicBezTo>
                      <a:pt x="17115" y="29903"/>
                      <a:pt x="18896" y="29203"/>
                      <a:pt x="20423" y="27867"/>
                    </a:cubicBezTo>
                    <a:cubicBezTo>
                      <a:pt x="21887" y="26531"/>
                      <a:pt x="22841" y="24495"/>
                      <a:pt x="23223" y="21696"/>
                    </a:cubicBezTo>
                    <a:close/>
                  </a:path>
                </a:pathLst>
              </a:custGeom>
              <a:grpFill/>
              <a:ln w="6361" cap="flat">
                <a:noFill/>
                <a:prstDash val="solid"/>
                <a:miter/>
              </a:ln>
            </p:spPr>
            <p:txBody>
              <a:bodyPr rtlCol="0" anchor="ctr"/>
              <a:lstStyle/>
              <a:p>
                <a:endParaRPr lang="da-DK"/>
              </a:p>
            </p:txBody>
          </p:sp>
          <p:sp>
            <p:nvSpPr>
              <p:cNvPr id="172" name="Freeform: Shape 171">
                <a:extLst>
                  <a:ext uri="{FF2B5EF4-FFF2-40B4-BE49-F238E27FC236}">
                    <a16:creationId xmlns:a16="http://schemas.microsoft.com/office/drawing/2014/main" id="{22096A5D-05BF-40DB-9875-D4F8204CFC92}"/>
                  </a:ext>
                </a:extLst>
              </p:cNvPr>
              <p:cNvSpPr/>
              <p:nvPr/>
            </p:nvSpPr>
            <p:spPr>
              <a:xfrm>
                <a:off x="1532639" y="3552112"/>
                <a:ext cx="30412" cy="34484"/>
              </a:xfrm>
              <a:custGeom>
                <a:avLst/>
                <a:gdLst>
                  <a:gd name="connsiteX0" fmla="*/ 24432 w 30412"/>
                  <a:gd name="connsiteY0" fmla="*/ 23096 h 34484"/>
                  <a:gd name="connsiteX1" fmla="*/ 30221 w 30412"/>
                  <a:gd name="connsiteY1" fmla="*/ 23795 h 34484"/>
                  <a:gd name="connsiteX2" fmla="*/ 25132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108 w 30412"/>
                  <a:gd name="connsiteY16" fmla="*/ 13997 h 34484"/>
                  <a:gd name="connsiteX17" fmla="*/ 24559 w 30412"/>
                  <a:gd name="connsiteY17" fmla="*/ 13997 h 34484"/>
                  <a:gd name="connsiteX18" fmla="*/ 22459 w 30412"/>
                  <a:gd name="connsiteY18" fmla="*/ 7762 h 34484"/>
                  <a:gd name="connsiteX19" fmla="*/ 15524 w 30412"/>
                  <a:gd name="connsiteY19" fmla="*/ 4517 h 34484"/>
                  <a:gd name="connsiteX20" fmla="*/ 9035 w 30412"/>
                  <a:gd name="connsiteY20" fmla="*/ 7126 h 34484"/>
                  <a:gd name="connsiteX21" fmla="*/ 6108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2"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108" y="13997"/>
                    </a:moveTo>
                    <a:lnTo>
                      <a:pt x="24559" y="13997"/>
                    </a:lnTo>
                    <a:cubicBezTo>
                      <a:pt x="24304" y="11198"/>
                      <a:pt x="23605" y="9162"/>
                      <a:pt x="22459" y="7762"/>
                    </a:cubicBezTo>
                    <a:cubicBezTo>
                      <a:pt x="20678" y="5599"/>
                      <a:pt x="18387" y="4517"/>
                      <a:pt x="15524" y="4517"/>
                    </a:cubicBezTo>
                    <a:cubicBezTo>
                      <a:pt x="12979" y="4517"/>
                      <a:pt x="10816" y="5408"/>
                      <a:pt x="9035" y="7126"/>
                    </a:cubicBezTo>
                    <a:cubicBezTo>
                      <a:pt x="7253" y="8844"/>
                      <a:pt x="6299" y="11134"/>
                      <a:pt x="6108" y="13997"/>
                    </a:cubicBezTo>
                    <a:close/>
                  </a:path>
                </a:pathLst>
              </a:custGeom>
              <a:grpFill/>
              <a:ln w="6361" cap="flat">
                <a:noFill/>
                <a:prstDash val="solid"/>
                <a:miter/>
              </a:ln>
            </p:spPr>
            <p:txBody>
              <a:bodyPr rtlCol="0" anchor="ctr"/>
              <a:lstStyle/>
              <a:p>
                <a:endParaRPr lang="da-DK"/>
              </a:p>
            </p:txBody>
          </p:sp>
          <p:sp>
            <p:nvSpPr>
              <p:cNvPr id="173" name="Freeform: Shape 172">
                <a:extLst>
                  <a:ext uri="{FF2B5EF4-FFF2-40B4-BE49-F238E27FC236}">
                    <a16:creationId xmlns:a16="http://schemas.microsoft.com/office/drawing/2014/main" id="{F56E5AC3-66AE-45D9-A4AD-EE8E26BAB91C}"/>
                  </a:ext>
                </a:extLst>
              </p:cNvPr>
              <p:cNvSpPr/>
              <p:nvPr/>
            </p:nvSpPr>
            <p:spPr>
              <a:xfrm>
                <a:off x="1567632"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74" name="Freeform: Shape 173">
                <a:extLst>
                  <a:ext uri="{FF2B5EF4-FFF2-40B4-BE49-F238E27FC236}">
                    <a16:creationId xmlns:a16="http://schemas.microsoft.com/office/drawing/2014/main" id="{E1ED4843-2AD4-456C-A8C5-ABC53A690DF8}"/>
                  </a:ext>
                </a:extLst>
              </p:cNvPr>
              <p:cNvSpPr/>
              <p:nvPr/>
            </p:nvSpPr>
            <p:spPr>
              <a:xfrm>
                <a:off x="1599444"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75" name="Freeform: Shape 174">
                <a:extLst>
                  <a:ext uri="{FF2B5EF4-FFF2-40B4-BE49-F238E27FC236}">
                    <a16:creationId xmlns:a16="http://schemas.microsoft.com/office/drawing/2014/main" id="{B325332F-0172-4A80-8F8C-0AFB1F2C347F}"/>
                  </a:ext>
                </a:extLst>
              </p:cNvPr>
              <p:cNvSpPr/>
              <p:nvPr/>
            </p:nvSpPr>
            <p:spPr>
              <a:xfrm>
                <a:off x="1631701" y="3552112"/>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grpFill/>
              <a:ln w="6361" cap="flat">
                <a:noFill/>
                <a:prstDash val="solid"/>
                <a:miter/>
              </a:ln>
            </p:spPr>
            <p:txBody>
              <a:bodyPr rtlCol="0" anchor="ctr"/>
              <a:lstStyle/>
              <a:p>
                <a:endParaRPr lang="da-DK"/>
              </a:p>
            </p:txBody>
          </p:sp>
          <p:sp>
            <p:nvSpPr>
              <p:cNvPr id="176" name="Freeform: Shape 175">
                <a:extLst>
                  <a:ext uri="{FF2B5EF4-FFF2-40B4-BE49-F238E27FC236}">
                    <a16:creationId xmlns:a16="http://schemas.microsoft.com/office/drawing/2014/main" id="{BB205720-A851-44CB-9743-647BFCCCF900}"/>
                  </a:ext>
                </a:extLst>
              </p:cNvPr>
              <p:cNvSpPr/>
              <p:nvPr/>
            </p:nvSpPr>
            <p:spPr>
              <a:xfrm>
                <a:off x="166885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544"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77" name="Freeform: Shape 176">
                <a:extLst>
                  <a:ext uri="{FF2B5EF4-FFF2-40B4-BE49-F238E27FC236}">
                    <a16:creationId xmlns:a16="http://schemas.microsoft.com/office/drawing/2014/main" id="{B3404B56-FCC9-4204-83D4-6C53DBE5AA68}"/>
                  </a:ext>
                </a:extLst>
              </p:cNvPr>
              <p:cNvSpPr/>
              <p:nvPr/>
            </p:nvSpPr>
            <p:spPr>
              <a:xfrm>
                <a:off x="1688136" y="3579470"/>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grpFill/>
              <a:ln w="6361" cap="flat">
                <a:noFill/>
                <a:prstDash val="solid"/>
                <a:miter/>
              </a:ln>
            </p:spPr>
            <p:txBody>
              <a:bodyPr rtlCol="0" anchor="ctr"/>
              <a:lstStyle/>
              <a:p>
                <a:endParaRPr lang="da-DK"/>
              </a:p>
            </p:txBody>
          </p:sp>
          <p:sp>
            <p:nvSpPr>
              <p:cNvPr id="178" name="Freeform: Shape 177">
                <a:extLst>
                  <a:ext uri="{FF2B5EF4-FFF2-40B4-BE49-F238E27FC236}">
                    <a16:creationId xmlns:a16="http://schemas.microsoft.com/office/drawing/2014/main" id="{0AFCA0E1-AA66-4182-8188-AB0C3A69953A}"/>
                  </a:ext>
                </a:extLst>
              </p:cNvPr>
              <p:cNvSpPr/>
              <p:nvPr/>
            </p:nvSpPr>
            <p:spPr>
              <a:xfrm>
                <a:off x="1202812" y="3622989"/>
                <a:ext cx="35883" cy="45554"/>
              </a:xfrm>
              <a:custGeom>
                <a:avLst/>
                <a:gdLst>
                  <a:gd name="connsiteX0" fmla="*/ 0 w 35883"/>
                  <a:gd name="connsiteY0" fmla="*/ 45555 h 45554"/>
                  <a:gd name="connsiteX1" fmla="*/ 0 w 35883"/>
                  <a:gd name="connsiteY1" fmla="*/ 0 h 45554"/>
                  <a:gd name="connsiteX2" fmla="*/ 6172 w 35883"/>
                  <a:gd name="connsiteY2" fmla="*/ 0 h 45554"/>
                  <a:gd name="connsiteX3" fmla="*/ 30094 w 35883"/>
                  <a:gd name="connsiteY3" fmla="*/ 35757 h 45554"/>
                  <a:gd name="connsiteX4" fmla="*/ 30094 w 35883"/>
                  <a:gd name="connsiteY4" fmla="*/ 0 h 45554"/>
                  <a:gd name="connsiteX5" fmla="*/ 35884 w 35883"/>
                  <a:gd name="connsiteY5" fmla="*/ 0 h 45554"/>
                  <a:gd name="connsiteX6" fmla="*/ 35884 w 35883"/>
                  <a:gd name="connsiteY6" fmla="*/ 45555 h 45554"/>
                  <a:gd name="connsiteX7" fmla="*/ 29712 w 35883"/>
                  <a:gd name="connsiteY7" fmla="*/ 45555 h 45554"/>
                  <a:gd name="connsiteX8" fmla="*/ 5790 w 35883"/>
                  <a:gd name="connsiteY8" fmla="*/ 9798 h 45554"/>
                  <a:gd name="connsiteX9" fmla="*/ 5790 w 35883"/>
                  <a:gd name="connsiteY9" fmla="*/ 45555 h 45554"/>
                  <a:gd name="connsiteX10" fmla="*/ 0 w 35883"/>
                  <a:gd name="connsiteY10"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83" h="45554">
                    <a:moveTo>
                      <a:pt x="0" y="45555"/>
                    </a:moveTo>
                    <a:lnTo>
                      <a:pt x="0" y="0"/>
                    </a:lnTo>
                    <a:lnTo>
                      <a:pt x="6172" y="0"/>
                    </a:lnTo>
                    <a:lnTo>
                      <a:pt x="30094" y="35757"/>
                    </a:lnTo>
                    <a:lnTo>
                      <a:pt x="30094" y="0"/>
                    </a:lnTo>
                    <a:lnTo>
                      <a:pt x="35884" y="0"/>
                    </a:lnTo>
                    <a:lnTo>
                      <a:pt x="35884" y="45555"/>
                    </a:lnTo>
                    <a:lnTo>
                      <a:pt x="29712" y="45555"/>
                    </a:lnTo>
                    <a:lnTo>
                      <a:pt x="5790" y="9798"/>
                    </a:lnTo>
                    <a:lnTo>
                      <a:pt x="5790" y="45555"/>
                    </a:lnTo>
                    <a:lnTo>
                      <a:pt x="0" y="45555"/>
                    </a:lnTo>
                    <a:close/>
                  </a:path>
                </a:pathLst>
              </a:custGeom>
              <a:grpFill/>
              <a:ln w="6361" cap="flat">
                <a:noFill/>
                <a:prstDash val="solid"/>
                <a:miter/>
              </a:ln>
            </p:spPr>
            <p:txBody>
              <a:bodyPr rtlCol="0" anchor="ctr"/>
              <a:lstStyle/>
              <a:p>
                <a:endParaRPr lang="da-DK"/>
              </a:p>
            </p:txBody>
          </p:sp>
          <p:sp>
            <p:nvSpPr>
              <p:cNvPr id="179" name="Freeform: Shape 178">
                <a:extLst>
                  <a:ext uri="{FF2B5EF4-FFF2-40B4-BE49-F238E27FC236}">
                    <a16:creationId xmlns:a16="http://schemas.microsoft.com/office/drawing/2014/main" id="{4F12784C-FB28-4005-AB5A-186DA1B34556}"/>
                  </a:ext>
                </a:extLst>
              </p:cNvPr>
              <p:cNvSpPr/>
              <p:nvPr/>
            </p:nvSpPr>
            <p:spPr>
              <a:xfrm>
                <a:off x="1244931" y="3635523"/>
                <a:ext cx="30284" cy="46381"/>
              </a:xfrm>
              <a:custGeom>
                <a:avLst/>
                <a:gdLst>
                  <a:gd name="connsiteX0" fmla="*/ 2927 w 30284"/>
                  <a:gd name="connsiteY0" fmla="*/ 45682 h 46381"/>
                  <a:gd name="connsiteX1" fmla="*/ 2290 w 30284"/>
                  <a:gd name="connsiteY1" fmla="*/ 40401 h 46381"/>
                  <a:gd name="connsiteX2" fmla="*/ 5472 w 30284"/>
                  <a:gd name="connsiteY2" fmla="*/ 40910 h 46381"/>
                  <a:gd name="connsiteX3" fmla="*/ 8462 w 30284"/>
                  <a:gd name="connsiteY3" fmla="*/ 40274 h 46381"/>
                  <a:gd name="connsiteX4" fmla="*/ 10307 w 30284"/>
                  <a:gd name="connsiteY4" fmla="*/ 38556 h 46381"/>
                  <a:gd name="connsiteX5" fmla="*/ 12025 w 30284"/>
                  <a:gd name="connsiteY5" fmla="*/ 34421 h 46381"/>
                  <a:gd name="connsiteX6" fmla="*/ 12534 w 30284"/>
                  <a:gd name="connsiteY6" fmla="*/ 33085 h 46381"/>
                  <a:gd name="connsiteX7" fmla="*/ 0 w 30284"/>
                  <a:gd name="connsiteY7" fmla="*/ 0 h 46381"/>
                  <a:gd name="connsiteX8" fmla="*/ 6044 w 30284"/>
                  <a:gd name="connsiteY8" fmla="*/ 0 h 46381"/>
                  <a:gd name="connsiteX9" fmla="*/ 12916 w 30284"/>
                  <a:gd name="connsiteY9" fmla="*/ 19087 h 46381"/>
                  <a:gd name="connsiteX10" fmla="*/ 15333 w 30284"/>
                  <a:gd name="connsiteY10" fmla="*/ 26722 h 46381"/>
                  <a:gd name="connsiteX11" fmla="*/ 17624 w 30284"/>
                  <a:gd name="connsiteY11" fmla="*/ 19215 h 46381"/>
                  <a:gd name="connsiteX12" fmla="*/ 24686 w 30284"/>
                  <a:gd name="connsiteY12" fmla="*/ 0 h 46381"/>
                  <a:gd name="connsiteX13" fmla="*/ 30285 w 30284"/>
                  <a:gd name="connsiteY13" fmla="*/ 0 h 46381"/>
                  <a:gd name="connsiteX14" fmla="*/ 17751 w 30284"/>
                  <a:gd name="connsiteY14" fmla="*/ 33530 h 46381"/>
                  <a:gd name="connsiteX15" fmla="*/ 14633 w 30284"/>
                  <a:gd name="connsiteY15" fmla="*/ 41037 h 46381"/>
                  <a:gd name="connsiteX16" fmla="*/ 11198 w 30284"/>
                  <a:gd name="connsiteY16" fmla="*/ 45109 h 46381"/>
                  <a:gd name="connsiteX17" fmla="*/ 6617 w 30284"/>
                  <a:gd name="connsiteY17" fmla="*/ 46382 h 46381"/>
                  <a:gd name="connsiteX18" fmla="*/ 2927 w 30284"/>
                  <a:gd name="connsiteY18" fmla="*/ 45682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284" h="46381">
                    <a:moveTo>
                      <a:pt x="2927" y="45682"/>
                    </a:moveTo>
                    <a:lnTo>
                      <a:pt x="2290" y="40401"/>
                    </a:lnTo>
                    <a:cubicBezTo>
                      <a:pt x="3499" y="40719"/>
                      <a:pt x="4581" y="40910"/>
                      <a:pt x="5472" y="40910"/>
                    </a:cubicBezTo>
                    <a:cubicBezTo>
                      <a:pt x="6744" y="40910"/>
                      <a:pt x="7698" y="40719"/>
                      <a:pt x="8462" y="40274"/>
                    </a:cubicBezTo>
                    <a:cubicBezTo>
                      <a:pt x="9225" y="39829"/>
                      <a:pt x="9798" y="39256"/>
                      <a:pt x="10307" y="38556"/>
                    </a:cubicBezTo>
                    <a:cubicBezTo>
                      <a:pt x="10625" y="37983"/>
                      <a:pt x="11198" y="36584"/>
                      <a:pt x="12025" y="34421"/>
                    </a:cubicBezTo>
                    <a:cubicBezTo>
                      <a:pt x="12152" y="34103"/>
                      <a:pt x="12279" y="33657"/>
                      <a:pt x="12534" y="33085"/>
                    </a:cubicBezTo>
                    <a:lnTo>
                      <a:pt x="0" y="0"/>
                    </a:lnTo>
                    <a:lnTo>
                      <a:pt x="6044" y="0"/>
                    </a:lnTo>
                    <a:lnTo>
                      <a:pt x="12916" y="19087"/>
                    </a:lnTo>
                    <a:cubicBezTo>
                      <a:pt x="13806" y="21505"/>
                      <a:pt x="14633" y="24050"/>
                      <a:pt x="15333" y="26722"/>
                    </a:cubicBezTo>
                    <a:cubicBezTo>
                      <a:pt x="15970" y="24177"/>
                      <a:pt x="16733" y="21632"/>
                      <a:pt x="17624" y="19215"/>
                    </a:cubicBezTo>
                    <a:lnTo>
                      <a:pt x="24686" y="0"/>
                    </a:lnTo>
                    <a:lnTo>
                      <a:pt x="30285" y="0"/>
                    </a:lnTo>
                    <a:lnTo>
                      <a:pt x="17751" y="33530"/>
                    </a:lnTo>
                    <a:cubicBezTo>
                      <a:pt x="16415" y="37156"/>
                      <a:pt x="15333" y="39638"/>
                      <a:pt x="14633" y="41037"/>
                    </a:cubicBezTo>
                    <a:cubicBezTo>
                      <a:pt x="13616" y="42883"/>
                      <a:pt x="12470" y="44219"/>
                      <a:pt x="11198" y="45109"/>
                    </a:cubicBezTo>
                    <a:cubicBezTo>
                      <a:pt x="9925" y="46000"/>
                      <a:pt x="8398" y="46382"/>
                      <a:pt x="6617" y="46382"/>
                    </a:cubicBezTo>
                    <a:cubicBezTo>
                      <a:pt x="5472" y="46382"/>
                      <a:pt x="4263" y="46127"/>
                      <a:pt x="2927" y="45682"/>
                    </a:cubicBezTo>
                    <a:close/>
                  </a:path>
                </a:pathLst>
              </a:custGeom>
              <a:grpFill/>
              <a:ln w="6361" cap="flat">
                <a:noFill/>
                <a:prstDash val="solid"/>
                <a:miter/>
              </a:ln>
            </p:spPr>
            <p:txBody>
              <a:bodyPr rtlCol="0" anchor="ctr"/>
              <a:lstStyle/>
              <a:p>
                <a:endParaRPr lang="da-DK"/>
              </a:p>
            </p:txBody>
          </p:sp>
          <p:sp>
            <p:nvSpPr>
              <p:cNvPr id="180" name="Freeform: Shape 179">
                <a:extLst>
                  <a:ext uri="{FF2B5EF4-FFF2-40B4-BE49-F238E27FC236}">
                    <a16:creationId xmlns:a16="http://schemas.microsoft.com/office/drawing/2014/main" id="{E0A23AED-0C03-4E50-B63C-B66E9B8C2062}"/>
                  </a:ext>
                </a:extLst>
              </p:cNvPr>
              <p:cNvSpPr/>
              <p:nvPr/>
            </p:nvSpPr>
            <p:spPr>
              <a:xfrm>
                <a:off x="1278143" y="3634823"/>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96"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grpFill/>
              <a:ln w="6361" cap="flat">
                <a:noFill/>
                <a:prstDash val="solid"/>
                <a:miter/>
              </a:ln>
            </p:spPr>
            <p:txBody>
              <a:bodyPr rtlCol="0" anchor="ctr"/>
              <a:lstStyle/>
              <a:p>
                <a:endParaRPr lang="da-DK"/>
              </a:p>
            </p:txBody>
          </p:sp>
          <p:sp>
            <p:nvSpPr>
              <p:cNvPr id="181" name="Freeform: Shape 180">
                <a:extLst>
                  <a:ext uri="{FF2B5EF4-FFF2-40B4-BE49-F238E27FC236}">
                    <a16:creationId xmlns:a16="http://schemas.microsoft.com/office/drawing/2014/main" id="{5BFE4EC5-2926-4F58-9D9E-8EAE8D121BEA}"/>
                  </a:ext>
                </a:extLst>
              </p:cNvPr>
              <p:cNvSpPr/>
              <p:nvPr/>
            </p:nvSpPr>
            <p:spPr>
              <a:xfrm>
                <a:off x="1332987" y="3634823"/>
                <a:ext cx="44727" cy="33784"/>
              </a:xfrm>
              <a:custGeom>
                <a:avLst/>
                <a:gdLst>
                  <a:gd name="connsiteX0" fmla="*/ 0 w 44727"/>
                  <a:gd name="connsiteY0" fmla="*/ 33721 h 33784"/>
                  <a:gd name="connsiteX1" fmla="*/ 0 w 44727"/>
                  <a:gd name="connsiteY1" fmla="*/ 700 h 33784"/>
                  <a:gd name="connsiteX2" fmla="*/ 5026 w 44727"/>
                  <a:gd name="connsiteY2" fmla="*/ 700 h 33784"/>
                  <a:gd name="connsiteX3" fmla="*/ 5026 w 44727"/>
                  <a:gd name="connsiteY3" fmla="*/ 5344 h 33784"/>
                  <a:gd name="connsiteX4" fmla="*/ 9162 w 44727"/>
                  <a:gd name="connsiteY4" fmla="*/ 1463 h 33784"/>
                  <a:gd name="connsiteX5" fmla="*/ 15015 w 44727"/>
                  <a:gd name="connsiteY5" fmla="*/ 0 h 33784"/>
                  <a:gd name="connsiteX6" fmla="*/ 21060 w 44727"/>
                  <a:gd name="connsiteY6" fmla="*/ 1527 h 33784"/>
                  <a:gd name="connsiteX7" fmla="*/ 24368 w 44727"/>
                  <a:gd name="connsiteY7" fmla="*/ 5790 h 33784"/>
                  <a:gd name="connsiteX8" fmla="*/ 34548 w 44727"/>
                  <a:gd name="connsiteY8" fmla="*/ 0 h 33784"/>
                  <a:gd name="connsiteX9" fmla="*/ 42119 w 44727"/>
                  <a:gd name="connsiteY9" fmla="*/ 2736 h 33784"/>
                  <a:gd name="connsiteX10" fmla="*/ 44728 w 44727"/>
                  <a:gd name="connsiteY10" fmla="*/ 11134 h 33784"/>
                  <a:gd name="connsiteX11" fmla="*/ 44728 w 44727"/>
                  <a:gd name="connsiteY11" fmla="*/ 33784 h 33784"/>
                  <a:gd name="connsiteX12" fmla="*/ 39192 w 44727"/>
                  <a:gd name="connsiteY12" fmla="*/ 33784 h 33784"/>
                  <a:gd name="connsiteX13" fmla="*/ 39192 w 44727"/>
                  <a:gd name="connsiteY13" fmla="*/ 12979 h 33784"/>
                  <a:gd name="connsiteX14" fmla="*/ 38620 w 44727"/>
                  <a:gd name="connsiteY14" fmla="*/ 8144 h 33784"/>
                  <a:gd name="connsiteX15" fmla="*/ 36647 w 44727"/>
                  <a:gd name="connsiteY15" fmla="*/ 5790 h 33784"/>
                  <a:gd name="connsiteX16" fmla="*/ 33275 w 44727"/>
                  <a:gd name="connsiteY16" fmla="*/ 4899 h 33784"/>
                  <a:gd name="connsiteX17" fmla="*/ 27486 w 44727"/>
                  <a:gd name="connsiteY17" fmla="*/ 7190 h 33784"/>
                  <a:gd name="connsiteX18" fmla="*/ 25195 w 44727"/>
                  <a:gd name="connsiteY18" fmla="*/ 14570 h 33784"/>
                  <a:gd name="connsiteX19" fmla="*/ 25195 w 44727"/>
                  <a:gd name="connsiteY19" fmla="*/ 33721 h 33784"/>
                  <a:gd name="connsiteX20" fmla="*/ 19596 w 44727"/>
                  <a:gd name="connsiteY20" fmla="*/ 33721 h 33784"/>
                  <a:gd name="connsiteX21" fmla="*/ 19596 w 44727"/>
                  <a:gd name="connsiteY21" fmla="*/ 12279 h 33784"/>
                  <a:gd name="connsiteX22" fmla="*/ 18260 w 44727"/>
                  <a:gd name="connsiteY22" fmla="*/ 6680 h 33784"/>
                  <a:gd name="connsiteX23" fmla="*/ 13806 w 44727"/>
                  <a:gd name="connsiteY23" fmla="*/ 4835 h 33784"/>
                  <a:gd name="connsiteX24" fmla="*/ 9416 w 44727"/>
                  <a:gd name="connsiteY24" fmla="*/ 6108 h 33784"/>
                  <a:gd name="connsiteX25" fmla="*/ 6490 w 44727"/>
                  <a:gd name="connsiteY25" fmla="*/ 9734 h 33784"/>
                  <a:gd name="connsiteX26" fmla="*/ 5599 w 44727"/>
                  <a:gd name="connsiteY26" fmla="*/ 16606 h 33784"/>
                  <a:gd name="connsiteX27" fmla="*/ 5599 w 44727"/>
                  <a:gd name="connsiteY27" fmla="*/ 33721 h 33784"/>
                  <a:gd name="connsiteX28" fmla="*/ 0 w 44727"/>
                  <a:gd name="connsiteY28"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727" h="33784">
                    <a:moveTo>
                      <a:pt x="0" y="33721"/>
                    </a:moveTo>
                    <a:lnTo>
                      <a:pt x="0" y="700"/>
                    </a:lnTo>
                    <a:lnTo>
                      <a:pt x="5026" y="700"/>
                    </a:lnTo>
                    <a:lnTo>
                      <a:pt x="5026" y="5344"/>
                    </a:lnTo>
                    <a:cubicBezTo>
                      <a:pt x="6044" y="3754"/>
                      <a:pt x="7444" y="2418"/>
                      <a:pt x="9162" y="1463"/>
                    </a:cubicBezTo>
                    <a:cubicBezTo>
                      <a:pt x="10880" y="509"/>
                      <a:pt x="12852" y="0"/>
                      <a:pt x="15015" y="0"/>
                    </a:cubicBezTo>
                    <a:cubicBezTo>
                      <a:pt x="17433" y="0"/>
                      <a:pt x="19469" y="509"/>
                      <a:pt x="21060" y="1527"/>
                    </a:cubicBezTo>
                    <a:cubicBezTo>
                      <a:pt x="22650" y="2545"/>
                      <a:pt x="23732" y="3945"/>
                      <a:pt x="24368" y="5790"/>
                    </a:cubicBezTo>
                    <a:cubicBezTo>
                      <a:pt x="26977" y="1909"/>
                      <a:pt x="30349" y="0"/>
                      <a:pt x="34548" y="0"/>
                    </a:cubicBezTo>
                    <a:cubicBezTo>
                      <a:pt x="37793" y="0"/>
                      <a:pt x="40338" y="891"/>
                      <a:pt x="42119" y="2736"/>
                    </a:cubicBezTo>
                    <a:cubicBezTo>
                      <a:pt x="43901" y="4581"/>
                      <a:pt x="44728" y="7317"/>
                      <a:pt x="44728" y="11134"/>
                    </a:cubicBezTo>
                    <a:lnTo>
                      <a:pt x="44728" y="33784"/>
                    </a:lnTo>
                    <a:lnTo>
                      <a:pt x="39192" y="33784"/>
                    </a:lnTo>
                    <a:lnTo>
                      <a:pt x="39192" y="12979"/>
                    </a:lnTo>
                    <a:cubicBezTo>
                      <a:pt x="39192" y="10752"/>
                      <a:pt x="39001" y="9162"/>
                      <a:pt x="38620" y="8144"/>
                    </a:cubicBezTo>
                    <a:cubicBezTo>
                      <a:pt x="38238" y="7190"/>
                      <a:pt x="37602" y="6362"/>
                      <a:pt x="36647" y="5790"/>
                    </a:cubicBezTo>
                    <a:cubicBezTo>
                      <a:pt x="35693" y="5217"/>
                      <a:pt x="34548" y="4899"/>
                      <a:pt x="33275" y="4899"/>
                    </a:cubicBezTo>
                    <a:cubicBezTo>
                      <a:pt x="30985" y="4899"/>
                      <a:pt x="29013" y="5662"/>
                      <a:pt x="27486" y="7190"/>
                    </a:cubicBezTo>
                    <a:cubicBezTo>
                      <a:pt x="25959" y="8716"/>
                      <a:pt x="25195" y="11198"/>
                      <a:pt x="25195" y="14570"/>
                    </a:cubicBezTo>
                    <a:lnTo>
                      <a:pt x="25195" y="33721"/>
                    </a:lnTo>
                    <a:lnTo>
                      <a:pt x="19596" y="33721"/>
                    </a:lnTo>
                    <a:lnTo>
                      <a:pt x="19596" y="12279"/>
                    </a:lnTo>
                    <a:cubicBezTo>
                      <a:pt x="19596" y="9798"/>
                      <a:pt x="19151" y="7953"/>
                      <a:pt x="18260" y="6680"/>
                    </a:cubicBezTo>
                    <a:cubicBezTo>
                      <a:pt x="17369" y="5408"/>
                      <a:pt x="15842" y="4835"/>
                      <a:pt x="13806" y="4835"/>
                    </a:cubicBezTo>
                    <a:cubicBezTo>
                      <a:pt x="12216" y="4835"/>
                      <a:pt x="10752" y="5281"/>
                      <a:pt x="9416" y="6108"/>
                    </a:cubicBezTo>
                    <a:cubicBezTo>
                      <a:pt x="8080" y="6935"/>
                      <a:pt x="7126" y="8144"/>
                      <a:pt x="6490" y="9734"/>
                    </a:cubicBezTo>
                    <a:cubicBezTo>
                      <a:pt x="5917" y="11325"/>
                      <a:pt x="5599" y="13615"/>
                      <a:pt x="5599" y="16606"/>
                    </a:cubicBezTo>
                    <a:lnTo>
                      <a:pt x="5599" y="33721"/>
                    </a:lnTo>
                    <a:lnTo>
                      <a:pt x="0" y="33721"/>
                    </a:lnTo>
                    <a:close/>
                  </a:path>
                </a:pathLst>
              </a:custGeom>
              <a:grpFill/>
              <a:ln w="6361" cap="flat">
                <a:noFill/>
                <a:prstDash val="solid"/>
                <a:miter/>
              </a:ln>
            </p:spPr>
            <p:txBody>
              <a:bodyPr rtlCol="0" anchor="ctr"/>
              <a:lstStyle/>
              <a:p>
                <a:endParaRPr lang="da-DK"/>
              </a:p>
            </p:txBody>
          </p:sp>
          <p:sp>
            <p:nvSpPr>
              <p:cNvPr id="182" name="Freeform: Shape 181">
                <a:extLst>
                  <a:ext uri="{FF2B5EF4-FFF2-40B4-BE49-F238E27FC236}">
                    <a16:creationId xmlns:a16="http://schemas.microsoft.com/office/drawing/2014/main" id="{10F8E27E-7A5F-40F5-BD9B-777F60704844}"/>
                  </a:ext>
                </a:extLst>
              </p:cNvPr>
              <p:cNvSpPr/>
              <p:nvPr/>
            </p:nvSpPr>
            <p:spPr>
              <a:xfrm>
                <a:off x="1385858" y="3635586"/>
                <a:ext cx="26658" cy="33720"/>
              </a:xfrm>
              <a:custGeom>
                <a:avLst/>
                <a:gdLst>
                  <a:gd name="connsiteX0" fmla="*/ 21759 w 26658"/>
                  <a:gd name="connsiteY0" fmla="*/ 32957 h 33720"/>
                  <a:gd name="connsiteX1" fmla="*/ 21759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759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759" y="32957"/>
                    </a:moveTo>
                    <a:lnTo>
                      <a:pt x="21759" y="28122"/>
                    </a:lnTo>
                    <a:cubicBezTo>
                      <a:pt x="19214" y="31876"/>
                      <a:pt x="15715"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99" y="25704"/>
                      <a:pt x="6999" y="26849"/>
                      <a:pt x="8144" y="27676"/>
                    </a:cubicBezTo>
                    <a:cubicBezTo>
                      <a:pt x="9289" y="28504"/>
                      <a:pt x="10689" y="28949"/>
                      <a:pt x="12343" y="28949"/>
                    </a:cubicBezTo>
                    <a:cubicBezTo>
                      <a:pt x="13997" y="28949"/>
                      <a:pt x="15588" y="28504"/>
                      <a:pt x="17051" y="27676"/>
                    </a:cubicBezTo>
                    <a:cubicBezTo>
                      <a:pt x="18515" y="26849"/>
                      <a:pt x="19533" y="25640"/>
                      <a:pt x="20169" y="24177"/>
                    </a:cubicBezTo>
                    <a:cubicBezTo>
                      <a:pt x="20805" y="22714"/>
                      <a:pt x="21059" y="20551"/>
                      <a:pt x="21059" y="17751"/>
                    </a:cubicBezTo>
                    <a:lnTo>
                      <a:pt x="21059" y="64"/>
                    </a:lnTo>
                    <a:lnTo>
                      <a:pt x="26658" y="64"/>
                    </a:lnTo>
                    <a:lnTo>
                      <a:pt x="26658" y="33085"/>
                    </a:lnTo>
                    <a:lnTo>
                      <a:pt x="21759" y="33085"/>
                    </a:lnTo>
                    <a:close/>
                  </a:path>
                </a:pathLst>
              </a:custGeom>
              <a:grpFill/>
              <a:ln w="6361" cap="flat">
                <a:noFill/>
                <a:prstDash val="solid"/>
                <a:miter/>
              </a:ln>
            </p:spPr>
            <p:txBody>
              <a:bodyPr rtlCol="0" anchor="ctr"/>
              <a:lstStyle/>
              <a:p>
                <a:endParaRPr lang="da-DK"/>
              </a:p>
            </p:txBody>
          </p:sp>
          <p:sp>
            <p:nvSpPr>
              <p:cNvPr id="183" name="Freeform: Shape 182">
                <a:extLst>
                  <a:ext uri="{FF2B5EF4-FFF2-40B4-BE49-F238E27FC236}">
                    <a16:creationId xmlns:a16="http://schemas.microsoft.com/office/drawing/2014/main" id="{913A9B5A-BCF6-4FE7-97DB-91FC4C11EA71}"/>
                  </a:ext>
                </a:extLst>
              </p:cNvPr>
              <p:cNvSpPr/>
              <p:nvPr/>
            </p:nvSpPr>
            <p:spPr>
              <a:xfrm>
                <a:off x="1421233" y="3622989"/>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84" name="Freeform: Shape 183">
                <a:extLst>
                  <a:ext uri="{FF2B5EF4-FFF2-40B4-BE49-F238E27FC236}">
                    <a16:creationId xmlns:a16="http://schemas.microsoft.com/office/drawing/2014/main" id="{75E9F50F-D132-4C4E-8C08-21442FC0C00D}"/>
                  </a:ext>
                </a:extLst>
              </p:cNvPr>
              <p:cNvSpPr/>
              <p:nvPr/>
            </p:nvSpPr>
            <p:spPr>
              <a:xfrm>
                <a:off x="1435549" y="3622989"/>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grpFill/>
              <a:ln w="6361" cap="flat">
                <a:noFill/>
                <a:prstDash val="solid"/>
                <a:miter/>
              </a:ln>
            </p:spPr>
            <p:txBody>
              <a:bodyPr rtlCol="0" anchor="ctr"/>
              <a:lstStyle/>
              <a:p>
                <a:endParaRPr lang="da-DK"/>
              </a:p>
            </p:txBody>
          </p:sp>
          <p:sp>
            <p:nvSpPr>
              <p:cNvPr id="185" name="Freeform: Shape 184">
                <a:extLst>
                  <a:ext uri="{FF2B5EF4-FFF2-40B4-BE49-F238E27FC236}">
                    <a16:creationId xmlns:a16="http://schemas.microsoft.com/office/drawing/2014/main" id="{32A7B1DB-7D11-4A36-97AD-7F19ADA4668C}"/>
                  </a:ext>
                </a:extLst>
              </p:cNvPr>
              <p:cNvSpPr/>
              <p:nvPr/>
            </p:nvSpPr>
            <p:spPr>
              <a:xfrm>
                <a:off x="1447383" y="3634823"/>
                <a:ext cx="29076" cy="47145"/>
              </a:xfrm>
              <a:custGeom>
                <a:avLst/>
                <a:gdLst>
                  <a:gd name="connsiteX0" fmla="*/ 1209 w 29076"/>
                  <a:gd name="connsiteY0" fmla="*/ 36393 h 47145"/>
                  <a:gd name="connsiteX1" fmla="*/ 6617 w 29076"/>
                  <a:gd name="connsiteY1" fmla="*/ 37220 h 47145"/>
                  <a:gd name="connsiteX2" fmla="*/ 8526 w 29076"/>
                  <a:gd name="connsiteY2" fmla="*/ 40910 h 47145"/>
                  <a:gd name="connsiteX3" fmla="*/ 14188 w 29076"/>
                  <a:gd name="connsiteY3" fmla="*/ 42437 h 47145"/>
                  <a:gd name="connsiteX4" fmla="*/ 20169 w 29076"/>
                  <a:gd name="connsiteY4" fmla="*/ 40910 h 47145"/>
                  <a:gd name="connsiteX5" fmla="*/ 23032 w 29076"/>
                  <a:gd name="connsiteY5" fmla="*/ 36584 h 47145"/>
                  <a:gd name="connsiteX6" fmla="*/ 23414 w 29076"/>
                  <a:gd name="connsiteY6" fmla="*/ 29394 h 47145"/>
                  <a:gd name="connsiteX7" fmla="*/ 14252 w 29076"/>
                  <a:gd name="connsiteY7" fmla="*/ 33721 h 47145"/>
                  <a:gd name="connsiteX8" fmla="*/ 3754 w 29076"/>
                  <a:gd name="connsiteY8" fmla="*/ 28822 h 47145"/>
                  <a:gd name="connsiteX9" fmla="*/ 0 w 29076"/>
                  <a:gd name="connsiteY9" fmla="*/ 17051 h 47145"/>
                  <a:gd name="connsiteX10" fmla="*/ 1718 w 29076"/>
                  <a:gd name="connsiteY10" fmla="*/ 8335 h 47145"/>
                  <a:gd name="connsiteX11" fmla="*/ 6681 w 29076"/>
                  <a:gd name="connsiteY11" fmla="*/ 2163 h 47145"/>
                  <a:gd name="connsiteX12" fmla="*/ 14315 w 29076"/>
                  <a:gd name="connsiteY12" fmla="*/ 0 h 47145"/>
                  <a:gd name="connsiteX13" fmla="*/ 23923 w 29076"/>
                  <a:gd name="connsiteY13" fmla="*/ 4708 h 47145"/>
                  <a:gd name="connsiteX14" fmla="*/ 23923 w 29076"/>
                  <a:gd name="connsiteY14" fmla="*/ 763 h 47145"/>
                  <a:gd name="connsiteX15" fmla="*/ 29076 w 29076"/>
                  <a:gd name="connsiteY15" fmla="*/ 763 h 47145"/>
                  <a:gd name="connsiteX16" fmla="*/ 29076 w 29076"/>
                  <a:gd name="connsiteY16" fmla="*/ 29267 h 47145"/>
                  <a:gd name="connsiteX17" fmla="*/ 27485 w 29076"/>
                  <a:gd name="connsiteY17" fmla="*/ 40210 h 47145"/>
                  <a:gd name="connsiteX18" fmla="*/ 22523 w 29076"/>
                  <a:gd name="connsiteY18" fmla="*/ 45300 h 47145"/>
                  <a:gd name="connsiteX19" fmla="*/ 14125 w 29076"/>
                  <a:gd name="connsiteY19" fmla="*/ 47145 h 47145"/>
                  <a:gd name="connsiteX20" fmla="*/ 4581 w 29076"/>
                  <a:gd name="connsiteY20" fmla="*/ 44473 h 47145"/>
                  <a:gd name="connsiteX21" fmla="*/ 1209 w 29076"/>
                  <a:gd name="connsiteY21" fmla="*/ 36393 h 47145"/>
                  <a:gd name="connsiteX22" fmla="*/ 5853 w 29076"/>
                  <a:gd name="connsiteY22" fmla="*/ 16606 h 47145"/>
                  <a:gd name="connsiteX23" fmla="*/ 8462 w 29076"/>
                  <a:gd name="connsiteY23" fmla="*/ 26086 h 47145"/>
                  <a:gd name="connsiteX24" fmla="*/ 14952 w 29076"/>
                  <a:gd name="connsiteY24" fmla="*/ 29076 h 47145"/>
                  <a:gd name="connsiteX25" fmla="*/ 21441 w 29076"/>
                  <a:gd name="connsiteY25" fmla="*/ 26086 h 47145"/>
                  <a:gd name="connsiteX26" fmla="*/ 24050 w 29076"/>
                  <a:gd name="connsiteY26" fmla="*/ 16797 h 47145"/>
                  <a:gd name="connsiteX27" fmla="*/ 21378 w 29076"/>
                  <a:gd name="connsiteY27" fmla="*/ 7635 h 47145"/>
                  <a:gd name="connsiteX28" fmla="*/ 14888 w 29076"/>
                  <a:gd name="connsiteY28" fmla="*/ 4581 h 47145"/>
                  <a:gd name="connsiteX29" fmla="*/ 8526 w 29076"/>
                  <a:gd name="connsiteY29" fmla="*/ 7635 h 47145"/>
                  <a:gd name="connsiteX30" fmla="*/ 5853 w 29076"/>
                  <a:gd name="connsiteY30" fmla="*/ 16606 h 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076" h="47145">
                    <a:moveTo>
                      <a:pt x="1209" y="36393"/>
                    </a:moveTo>
                    <a:lnTo>
                      <a:pt x="6617" y="37220"/>
                    </a:lnTo>
                    <a:cubicBezTo>
                      <a:pt x="6871" y="38874"/>
                      <a:pt x="7508" y="40147"/>
                      <a:pt x="8526" y="40910"/>
                    </a:cubicBezTo>
                    <a:cubicBezTo>
                      <a:pt x="9925" y="41928"/>
                      <a:pt x="11834" y="42437"/>
                      <a:pt x="14188" y="42437"/>
                    </a:cubicBezTo>
                    <a:cubicBezTo>
                      <a:pt x="16797" y="42437"/>
                      <a:pt x="18769" y="41928"/>
                      <a:pt x="20169" y="40910"/>
                    </a:cubicBezTo>
                    <a:cubicBezTo>
                      <a:pt x="21569" y="39892"/>
                      <a:pt x="22523" y="38429"/>
                      <a:pt x="23032" y="36584"/>
                    </a:cubicBezTo>
                    <a:cubicBezTo>
                      <a:pt x="23286" y="35439"/>
                      <a:pt x="23477" y="33021"/>
                      <a:pt x="23414" y="29394"/>
                    </a:cubicBezTo>
                    <a:cubicBezTo>
                      <a:pt x="20996" y="32257"/>
                      <a:pt x="17942" y="33721"/>
                      <a:pt x="14252" y="33721"/>
                    </a:cubicBezTo>
                    <a:cubicBezTo>
                      <a:pt x="9734" y="33721"/>
                      <a:pt x="6235" y="32066"/>
                      <a:pt x="3754" y="28822"/>
                    </a:cubicBezTo>
                    <a:cubicBezTo>
                      <a:pt x="1272" y="25577"/>
                      <a:pt x="0" y="21632"/>
                      <a:pt x="0" y="17051"/>
                    </a:cubicBezTo>
                    <a:cubicBezTo>
                      <a:pt x="0" y="13934"/>
                      <a:pt x="573" y="11007"/>
                      <a:pt x="1718" y="8335"/>
                    </a:cubicBezTo>
                    <a:cubicBezTo>
                      <a:pt x="2863" y="5662"/>
                      <a:pt x="4517" y="3627"/>
                      <a:pt x="6681" y="2163"/>
                    </a:cubicBezTo>
                    <a:cubicBezTo>
                      <a:pt x="8844" y="700"/>
                      <a:pt x="11389" y="0"/>
                      <a:pt x="14315" y="0"/>
                    </a:cubicBezTo>
                    <a:cubicBezTo>
                      <a:pt x="18196" y="0"/>
                      <a:pt x="21441" y="1591"/>
                      <a:pt x="23923" y="4708"/>
                    </a:cubicBezTo>
                    <a:lnTo>
                      <a:pt x="23923" y="763"/>
                    </a:lnTo>
                    <a:lnTo>
                      <a:pt x="29076" y="763"/>
                    </a:lnTo>
                    <a:lnTo>
                      <a:pt x="29076" y="29267"/>
                    </a:lnTo>
                    <a:cubicBezTo>
                      <a:pt x="29076" y="34421"/>
                      <a:pt x="28567" y="38047"/>
                      <a:pt x="27485" y="40210"/>
                    </a:cubicBezTo>
                    <a:cubicBezTo>
                      <a:pt x="26404" y="42374"/>
                      <a:pt x="24813" y="44028"/>
                      <a:pt x="22523" y="45300"/>
                    </a:cubicBezTo>
                    <a:cubicBezTo>
                      <a:pt x="20232" y="46573"/>
                      <a:pt x="17497" y="47145"/>
                      <a:pt x="14125" y="47145"/>
                    </a:cubicBezTo>
                    <a:cubicBezTo>
                      <a:pt x="10180" y="47145"/>
                      <a:pt x="6999" y="46255"/>
                      <a:pt x="4581" y="44473"/>
                    </a:cubicBezTo>
                    <a:cubicBezTo>
                      <a:pt x="2290" y="42628"/>
                      <a:pt x="1145" y="39956"/>
                      <a:pt x="1209" y="36393"/>
                    </a:cubicBezTo>
                    <a:close/>
                    <a:moveTo>
                      <a:pt x="5853" y="16606"/>
                    </a:moveTo>
                    <a:cubicBezTo>
                      <a:pt x="5853" y="20932"/>
                      <a:pt x="6744" y="24114"/>
                      <a:pt x="8462" y="26086"/>
                    </a:cubicBezTo>
                    <a:cubicBezTo>
                      <a:pt x="10180" y="28058"/>
                      <a:pt x="12343" y="29076"/>
                      <a:pt x="14952" y="29076"/>
                    </a:cubicBezTo>
                    <a:cubicBezTo>
                      <a:pt x="17497" y="29076"/>
                      <a:pt x="19660" y="28058"/>
                      <a:pt x="21441" y="26086"/>
                    </a:cubicBezTo>
                    <a:cubicBezTo>
                      <a:pt x="23159" y="24114"/>
                      <a:pt x="24050" y="20996"/>
                      <a:pt x="24050" y="16797"/>
                    </a:cubicBezTo>
                    <a:cubicBezTo>
                      <a:pt x="24050" y="12788"/>
                      <a:pt x="23159" y="9734"/>
                      <a:pt x="21378" y="7635"/>
                    </a:cubicBezTo>
                    <a:cubicBezTo>
                      <a:pt x="19596" y="5535"/>
                      <a:pt x="17433" y="4581"/>
                      <a:pt x="14888" y="4581"/>
                    </a:cubicBezTo>
                    <a:cubicBezTo>
                      <a:pt x="12407" y="4581"/>
                      <a:pt x="10307" y="5599"/>
                      <a:pt x="8526" y="7635"/>
                    </a:cubicBezTo>
                    <a:cubicBezTo>
                      <a:pt x="6744" y="9607"/>
                      <a:pt x="5853" y="12597"/>
                      <a:pt x="5853" y="16606"/>
                    </a:cubicBezTo>
                    <a:close/>
                  </a:path>
                </a:pathLst>
              </a:custGeom>
              <a:grpFill/>
              <a:ln w="6361" cap="flat">
                <a:noFill/>
                <a:prstDash val="solid"/>
                <a:miter/>
              </a:ln>
            </p:spPr>
            <p:txBody>
              <a:bodyPr rtlCol="0" anchor="ctr"/>
              <a:lstStyle/>
              <a:p>
                <a:endParaRPr lang="da-DK"/>
              </a:p>
            </p:txBody>
          </p:sp>
          <p:sp>
            <p:nvSpPr>
              <p:cNvPr id="186" name="Freeform: Shape 185">
                <a:extLst>
                  <a:ext uri="{FF2B5EF4-FFF2-40B4-BE49-F238E27FC236}">
                    <a16:creationId xmlns:a16="http://schemas.microsoft.com/office/drawing/2014/main" id="{25F4D439-369F-49BC-945F-BDEFBFC405BB}"/>
                  </a:ext>
                </a:extLst>
              </p:cNvPr>
              <p:cNvSpPr/>
              <p:nvPr/>
            </p:nvSpPr>
            <p:spPr>
              <a:xfrm>
                <a:off x="1485048" y="3622989"/>
                <a:ext cx="26849" cy="45618"/>
              </a:xfrm>
              <a:custGeom>
                <a:avLst/>
                <a:gdLst>
                  <a:gd name="connsiteX0" fmla="*/ 0 w 26849"/>
                  <a:gd name="connsiteY0" fmla="*/ 45555 h 45618"/>
                  <a:gd name="connsiteX1" fmla="*/ 0 w 26849"/>
                  <a:gd name="connsiteY1" fmla="*/ 0 h 45618"/>
                  <a:gd name="connsiteX2" fmla="*/ 5599 w 26849"/>
                  <a:gd name="connsiteY2" fmla="*/ 0 h 45618"/>
                  <a:gd name="connsiteX3" fmla="*/ 5599 w 26849"/>
                  <a:gd name="connsiteY3" fmla="*/ 16351 h 45618"/>
                  <a:gd name="connsiteX4" fmla="*/ 15461 w 26849"/>
                  <a:gd name="connsiteY4" fmla="*/ 11834 h 45618"/>
                  <a:gd name="connsiteX5" fmla="*/ 21823 w 26849"/>
                  <a:gd name="connsiteY5" fmla="*/ 13297 h 45618"/>
                  <a:gd name="connsiteX6" fmla="*/ 25704 w 26849"/>
                  <a:gd name="connsiteY6" fmla="*/ 17306 h 45618"/>
                  <a:gd name="connsiteX7" fmla="*/ 26849 w 26849"/>
                  <a:gd name="connsiteY7" fmla="*/ 24686 h 45618"/>
                  <a:gd name="connsiteX8" fmla="*/ 26849 w 26849"/>
                  <a:gd name="connsiteY8" fmla="*/ 45618 h 45618"/>
                  <a:gd name="connsiteX9" fmla="*/ 21250 w 26849"/>
                  <a:gd name="connsiteY9" fmla="*/ 45618 h 45618"/>
                  <a:gd name="connsiteX10" fmla="*/ 21250 w 26849"/>
                  <a:gd name="connsiteY10" fmla="*/ 24686 h 45618"/>
                  <a:gd name="connsiteX11" fmla="*/ 19405 w 26849"/>
                  <a:gd name="connsiteY11" fmla="*/ 18578 h 45618"/>
                  <a:gd name="connsiteX12" fmla="*/ 14252 w 26849"/>
                  <a:gd name="connsiteY12" fmla="*/ 16669 h 45618"/>
                  <a:gd name="connsiteX13" fmla="*/ 9607 w 26849"/>
                  <a:gd name="connsiteY13" fmla="*/ 17942 h 45618"/>
                  <a:gd name="connsiteX14" fmla="*/ 6490 w 26849"/>
                  <a:gd name="connsiteY14" fmla="*/ 21441 h 45618"/>
                  <a:gd name="connsiteX15" fmla="*/ 5535 w 26849"/>
                  <a:gd name="connsiteY15" fmla="*/ 27549 h 45618"/>
                  <a:gd name="connsiteX16" fmla="*/ 5535 w 26849"/>
                  <a:gd name="connsiteY16" fmla="*/ 45618 h 45618"/>
                  <a:gd name="connsiteX17" fmla="*/ 0 w 26849"/>
                  <a:gd name="connsiteY17" fmla="*/ 45618 h 4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49" h="45618">
                    <a:moveTo>
                      <a:pt x="0" y="45555"/>
                    </a:moveTo>
                    <a:lnTo>
                      <a:pt x="0" y="0"/>
                    </a:lnTo>
                    <a:lnTo>
                      <a:pt x="5599" y="0"/>
                    </a:lnTo>
                    <a:lnTo>
                      <a:pt x="5599" y="16351"/>
                    </a:lnTo>
                    <a:cubicBezTo>
                      <a:pt x="8208" y="13297"/>
                      <a:pt x="11516" y="11834"/>
                      <a:pt x="15461" y="11834"/>
                    </a:cubicBezTo>
                    <a:cubicBezTo>
                      <a:pt x="17878" y="11834"/>
                      <a:pt x="20041" y="12343"/>
                      <a:pt x="21823" y="13297"/>
                    </a:cubicBezTo>
                    <a:cubicBezTo>
                      <a:pt x="23605" y="14252"/>
                      <a:pt x="24941" y="15588"/>
                      <a:pt x="25704" y="17306"/>
                    </a:cubicBezTo>
                    <a:cubicBezTo>
                      <a:pt x="26468" y="19024"/>
                      <a:pt x="26849" y="21441"/>
                      <a:pt x="26849" y="24686"/>
                    </a:cubicBezTo>
                    <a:lnTo>
                      <a:pt x="26849" y="45618"/>
                    </a:lnTo>
                    <a:lnTo>
                      <a:pt x="21250" y="45618"/>
                    </a:lnTo>
                    <a:lnTo>
                      <a:pt x="21250" y="24686"/>
                    </a:lnTo>
                    <a:cubicBezTo>
                      <a:pt x="21250" y="21887"/>
                      <a:pt x="20678" y="19851"/>
                      <a:pt x="19405" y="18578"/>
                    </a:cubicBezTo>
                    <a:cubicBezTo>
                      <a:pt x="18196" y="17306"/>
                      <a:pt x="16479" y="16669"/>
                      <a:pt x="14252" y="16669"/>
                    </a:cubicBezTo>
                    <a:cubicBezTo>
                      <a:pt x="12598" y="16669"/>
                      <a:pt x="11071" y="17115"/>
                      <a:pt x="9607" y="17942"/>
                    </a:cubicBezTo>
                    <a:cubicBezTo>
                      <a:pt x="8144" y="18769"/>
                      <a:pt x="7126" y="19978"/>
                      <a:pt x="6490" y="21441"/>
                    </a:cubicBezTo>
                    <a:cubicBezTo>
                      <a:pt x="5853" y="22905"/>
                      <a:pt x="5535" y="24941"/>
                      <a:pt x="5535" y="27549"/>
                    </a:cubicBezTo>
                    <a:lnTo>
                      <a:pt x="5535" y="45618"/>
                    </a:lnTo>
                    <a:lnTo>
                      <a:pt x="0" y="45618"/>
                    </a:lnTo>
                    <a:close/>
                  </a:path>
                </a:pathLst>
              </a:custGeom>
              <a:grpFill/>
              <a:ln w="6361" cap="flat">
                <a:noFill/>
                <a:prstDash val="solid"/>
                <a:miter/>
              </a:ln>
            </p:spPr>
            <p:txBody>
              <a:bodyPr rtlCol="0" anchor="ctr"/>
              <a:lstStyle/>
              <a:p>
                <a:endParaRPr lang="da-DK"/>
              </a:p>
            </p:txBody>
          </p:sp>
          <p:sp>
            <p:nvSpPr>
              <p:cNvPr id="187" name="Freeform: Shape 186">
                <a:extLst>
                  <a:ext uri="{FF2B5EF4-FFF2-40B4-BE49-F238E27FC236}">
                    <a16:creationId xmlns:a16="http://schemas.microsoft.com/office/drawing/2014/main" id="{67F05509-5CDB-4B8E-BBD0-B1F462A22FE9}"/>
                  </a:ext>
                </a:extLst>
              </p:cNvPr>
              <p:cNvSpPr/>
              <p:nvPr/>
            </p:nvSpPr>
            <p:spPr>
              <a:xfrm>
                <a:off x="151857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grpFill/>
              <a:ln w="6361" cap="flat">
                <a:noFill/>
                <a:prstDash val="solid"/>
                <a:miter/>
              </a:ln>
            </p:spPr>
            <p:txBody>
              <a:bodyPr rtlCol="0" anchor="ctr"/>
              <a:lstStyle/>
              <a:p>
                <a:endParaRPr lang="da-DK"/>
              </a:p>
            </p:txBody>
          </p:sp>
          <p:sp>
            <p:nvSpPr>
              <p:cNvPr id="188" name="Freeform: Shape 187">
                <a:extLst>
                  <a:ext uri="{FF2B5EF4-FFF2-40B4-BE49-F238E27FC236}">
                    <a16:creationId xmlns:a16="http://schemas.microsoft.com/office/drawing/2014/main" id="{8AC7977D-64D4-45E6-AF54-96F91CBE639A}"/>
                  </a:ext>
                </a:extLst>
              </p:cNvPr>
              <p:cNvSpPr/>
              <p:nvPr/>
            </p:nvSpPr>
            <p:spPr>
              <a:xfrm>
                <a:off x="1553698" y="3622989"/>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7"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grpFill/>
              <a:ln w="6361" cap="flat">
                <a:noFill/>
                <a:prstDash val="solid"/>
                <a:miter/>
              </a:ln>
            </p:spPr>
            <p:txBody>
              <a:bodyPr rtlCol="0" anchor="ctr"/>
              <a:lstStyle/>
              <a:p>
                <a:endParaRPr lang="da-DK"/>
              </a:p>
            </p:txBody>
          </p:sp>
          <p:sp>
            <p:nvSpPr>
              <p:cNvPr id="189" name="Freeform: Shape 188">
                <a:extLst>
                  <a:ext uri="{FF2B5EF4-FFF2-40B4-BE49-F238E27FC236}">
                    <a16:creationId xmlns:a16="http://schemas.microsoft.com/office/drawing/2014/main" id="{EDBD697C-9004-4B71-BABE-92E1C4D7BEAF}"/>
                  </a:ext>
                </a:extLst>
              </p:cNvPr>
              <p:cNvSpPr/>
              <p:nvPr/>
            </p:nvSpPr>
            <p:spPr>
              <a:xfrm>
                <a:off x="158932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90" y="8844"/>
                      <a:pt x="6235" y="11134"/>
                      <a:pt x="6044" y="13997"/>
                    </a:cubicBezTo>
                    <a:close/>
                  </a:path>
                </a:pathLst>
              </a:custGeom>
              <a:grpFill/>
              <a:ln w="6361" cap="flat">
                <a:noFill/>
                <a:prstDash val="solid"/>
                <a:miter/>
              </a:ln>
            </p:spPr>
            <p:txBody>
              <a:bodyPr rtlCol="0" anchor="ctr"/>
              <a:lstStyle/>
              <a:p>
                <a:endParaRPr lang="da-DK"/>
              </a:p>
            </p:txBody>
          </p:sp>
          <p:sp>
            <p:nvSpPr>
              <p:cNvPr id="190" name="Freeform: Shape 189">
                <a:extLst>
                  <a:ext uri="{FF2B5EF4-FFF2-40B4-BE49-F238E27FC236}">
                    <a16:creationId xmlns:a16="http://schemas.microsoft.com/office/drawing/2014/main" id="{9CAA5D5B-442B-4488-B2B7-609FDD66E536}"/>
                  </a:ext>
                </a:extLst>
              </p:cNvPr>
              <p:cNvSpPr/>
              <p:nvPr/>
            </p:nvSpPr>
            <p:spPr>
              <a:xfrm>
                <a:off x="1626484" y="3634759"/>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91" name="Freeform: Shape 190">
                <a:extLst>
                  <a:ext uri="{FF2B5EF4-FFF2-40B4-BE49-F238E27FC236}">
                    <a16:creationId xmlns:a16="http://schemas.microsoft.com/office/drawing/2014/main" id="{1462162E-DA6D-4F56-AC6F-BA6579639EF8}"/>
                  </a:ext>
                </a:extLst>
              </p:cNvPr>
              <p:cNvSpPr/>
              <p:nvPr/>
            </p:nvSpPr>
            <p:spPr>
              <a:xfrm>
                <a:off x="1645826" y="3662181"/>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grpFill/>
              <a:ln w="6361" cap="flat">
                <a:noFill/>
                <a:prstDash val="solid"/>
                <a:miter/>
              </a:ln>
            </p:spPr>
            <p:txBody>
              <a:bodyPr rtlCol="0" anchor="ctr"/>
              <a:lstStyle/>
              <a:p>
                <a:endParaRPr lang="da-DK"/>
              </a:p>
            </p:txBody>
          </p:sp>
        </p:grpSp>
        <p:grpSp>
          <p:nvGrpSpPr>
            <p:cNvPr id="137" name="Graphic 5">
              <a:extLst>
                <a:ext uri="{FF2B5EF4-FFF2-40B4-BE49-F238E27FC236}">
                  <a16:creationId xmlns:a16="http://schemas.microsoft.com/office/drawing/2014/main" id="{B9195075-A9ED-41EA-B376-D9EE0E60292C}"/>
                </a:ext>
              </a:extLst>
            </p:cNvPr>
            <p:cNvGrpSpPr/>
            <p:nvPr/>
          </p:nvGrpSpPr>
          <p:grpSpPr>
            <a:xfrm>
              <a:off x="632997" y="3239655"/>
              <a:ext cx="440022" cy="431242"/>
              <a:chOff x="632997" y="3239655"/>
              <a:chExt cx="440022" cy="431242"/>
            </a:xfrm>
            <a:grpFill/>
          </p:grpSpPr>
          <p:sp>
            <p:nvSpPr>
              <p:cNvPr id="138" name="Freeform: Shape 137">
                <a:extLst>
                  <a:ext uri="{FF2B5EF4-FFF2-40B4-BE49-F238E27FC236}">
                    <a16:creationId xmlns:a16="http://schemas.microsoft.com/office/drawing/2014/main" id="{B95A73A7-18DD-48CB-B50C-8EE0BD518EA7}"/>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39" name="Freeform: Shape 138">
                <a:extLst>
                  <a:ext uri="{FF2B5EF4-FFF2-40B4-BE49-F238E27FC236}">
                    <a16:creationId xmlns:a16="http://schemas.microsoft.com/office/drawing/2014/main" id="{C69C8BC2-51D4-4F38-9792-5FD10EFBC212}"/>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0" name="Freeform: Shape 139">
                <a:extLst>
                  <a:ext uri="{FF2B5EF4-FFF2-40B4-BE49-F238E27FC236}">
                    <a16:creationId xmlns:a16="http://schemas.microsoft.com/office/drawing/2014/main" id="{541FCB7B-9B45-4E59-8514-9B47AD510C19}"/>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1" name="Freeform: Shape 140">
                <a:extLst>
                  <a:ext uri="{FF2B5EF4-FFF2-40B4-BE49-F238E27FC236}">
                    <a16:creationId xmlns:a16="http://schemas.microsoft.com/office/drawing/2014/main" id="{B164C0AC-F6C5-4E7C-8D4F-13C8C892E12C}"/>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2" name="Freeform: Shape 141">
                <a:extLst>
                  <a:ext uri="{FF2B5EF4-FFF2-40B4-BE49-F238E27FC236}">
                    <a16:creationId xmlns:a16="http://schemas.microsoft.com/office/drawing/2014/main" id="{D1BBB65F-0047-4783-9BEA-68449A1C52F6}"/>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3" name="Freeform: Shape 142">
                <a:extLst>
                  <a:ext uri="{FF2B5EF4-FFF2-40B4-BE49-F238E27FC236}">
                    <a16:creationId xmlns:a16="http://schemas.microsoft.com/office/drawing/2014/main" id="{B8015861-32E7-4CC0-BCE1-2CD142E15D48}"/>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4" name="Freeform: Shape 143">
                <a:extLst>
                  <a:ext uri="{FF2B5EF4-FFF2-40B4-BE49-F238E27FC236}">
                    <a16:creationId xmlns:a16="http://schemas.microsoft.com/office/drawing/2014/main" id="{53EDAD37-F12F-44DB-B3D1-B0ED9B485612}"/>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grpSp>
      </p:grpSp>
    </p:spTree>
    <p:extLst>
      <p:ext uri="{BB962C8B-B14F-4D97-AF65-F5344CB8AC3E}">
        <p14:creationId xmlns:p14="http://schemas.microsoft.com/office/powerpoint/2010/main" val="42012930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A2">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12192000" cy="6858000"/>
          </a:xfrm>
          <a:prstGeom prst="rect">
            <a:avLst/>
          </a:prstGeom>
          <a:solidFill>
            <a:srgbClr val="3037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5" name="Colour block_Right">
            <a:extLst>
              <a:ext uri="{FF2B5EF4-FFF2-40B4-BE49-F238E27FC236}">
                <a16:creationId xmlns:a16="http://schemas.microsoft.com/office/drawing/2014/main" id="{83E18B63-ADB0-7292-3540-8E1581C5DAD3}"/>
              </a:ext>
            </a:extLst>
          </p:cNvPr>
          <p:cNvSpPr txBox="1">
            <a:spLocks noGrp="1" noRot="1" noMove="1" noResize="1" noEditPoints="1" noAdjustHandles="1" noChangeArrowheads="1" noChangeShapeType="1"/>
          </p:cNvSpPr>
          <p:nvPr/>
        </p:nvSpPr>
        <p:spPr>
          <a:xfrm>
            <a:off x="9142800" y="0"/>
            <a:ext cx="3049200" cy="6858000"/>
          </a:xfrm>
          <a:prstGeom prst="rect">
            <a:avLst/>
          </a:prstGeom>
          <a:solidFill>
            <a:srgbClr val="3B4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7" name="Colour block_Top">
            <a:extLst>
              <a:ext uri="{FF2B5EF4-FFF2-40B4-BE49-F238E27FC236}">
                <a16:creationId xmlns:a16="http://schemas.microsoft.com/office/drawing/2014/main" id="{F8DA1E39-CE4C-8DBA-06AF-83D8F2C4C6B3}"/>
              </a:ext>
            </a:extLst>
          </p:cNvPr>
          <p:cNvSpPr txBox="1">
            <a:spLocks noGrp="1" noRot="1" noMove="1" noResize="1" noEditPoints="1" noAdjustHandles="1" noChangeArrowheads="1" noChangeShapeType="1"/>
          </p:cNvSpPr>
          <p:nvPr/>
        </p:nvSpPr>
        <p:spPr>
          <a:xfrm>
            <a:off x="0" y="0"/>
            <a:ext cx="9144000" cy="1700213"/>
          </a:xfrm>
          <a:prstGeom prst="rect">
            <a:avLst/>
          </a:prstGeom>
          <a:solidFill>
            <a:srgbClr val="454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1015528" y="2752516"/>
            <a:ext cx="7597131" cy="1440000"/>
          </a:xfrm>
          <a:prstGeom prst="rect">
            <a:avLst/>
          </a:prstGeom>
        </p:spPr>
        <p:txBody>
          <a:bodyPr anchor="b"/>
          <a:lstStyle>
            <a:lvl1pPr algn="l">
              <a:lnSpc>
                <a:spcPct val="90000"/>
              </a:lnSpc>
              <a:defRPr sz="5000">
                <a:solidFill>
                  <a:schemeClr val="bg1"/>
                </a:solidFill>
                <a:latin typeface="Palatino Linotype" panose="02040502050505030304" pitchFamily="18" charset="0"/>
              </a:defRPr>
            </a:lvl1pPr>
          </a:lstStyle>
          <a:p>
            <a:r>
              <a:rPr lang="en-GB"/>
              <a:t>Click to insert presentation title – max 3 rows, preferably 2</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1015528" y="4492438"/>
            <a:ext cx="7597131" cy="1224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8" name="Date or author">
            <a:extLst>
              <a:ext uri="{FF2B5EF4-FFF2-40B4-BE49-F238E27FC236}">
                <a16:creationId xmlns:a16="http://schemas.microsoft.com/office/drawing/2014/main" id="{2DE87EE2-580C-FF58-180F-53ECF8E53342}"/>
              </a:ext>
            </a:extLst>
          </p:cNvPr>
          <p:cNvSpPr>
            <a:spLocks noGrp="1"/>
          </p:cNvSpPr>
          <p:nvPr>
            <p:ph type="body" sz="quarter" idx="10" hasCustomPrompt="1"/>
          </p:nvPr>
        </p:nvSpPr>
        <p:spPr>
          <a:xfrm>
            <a:off x="1015527" y="6129238"/>
            <a:ext cx="7597131" cy="216000"/>
          </a:xfrm>
          <a:prstGeom prst="rect">
            <a:avLst/>
          </a:prstGeom>
        </p:spPr>
        <p:txBody>
          <a:bodyPr anchor="b"/>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4" name="Picture Placeholder_Right">
            <a:extLst>
              <a:ext uri="{FF2B5EF4-FFF2-40B4-BE49-F238E27FC236}">
                <a16:creationId xmlns:a16="http://schemas.microsoft.com/office/drawing/2014/main" id="{5DA5B848-B1DD-34A9-2D0A-0C33F7025AFE}"/>
              </a:ext>
            </a:extLst>
          </p:cNvPr>
          <p:cNvSpPr>
            <a:spLocks noGrp="1"/>
          </p:cNvSpPr>
          <p:nvPr>
            <p:ph type="pic" sz="quarter" idx="12" hasCustomPrompt="1"/>
          </p:nvPr>
        </p:nvSpPr>
        <p:spPr>
          <a:xfrm>
            <a:off x="9142800" y="0"/>
            <a:ext cx="3049200" cy="6858000"/>
          </a:xfrm>
          <a:prstGeom prst="rect">
            <a:avLst/>
          </a:prstGeom>
          <a:noFill/>
        </p:spPr>
        <p:txBody>
          <a:bodyPr vert="horz" lIns="288000" tIns="1188000" rIns="288000" bIns="0" rtlCol="0" anchor="ctr" anchorCtr="0">
            <a:noAutofit/>
          </a:bodyPr>
          <a:lstStyle>
            <a:lvl1pPr>
              <a:defRPr lang="en-GB" sz="1200" dirty="0">
                <a:solidFill>
                  <a:srgbClr val="A8A5A1"/>
                </a:solidFill>
              </a:defRPr>
            </a:lvl1pPr>
          </a:lstStyle>
          <a:p>
            <a:pPr lvl="0" algn="ctr"/>
            <a:r>
              <a:rPr lang="en-GB"/>
              <a:t>Click on icon if you wish to insert a picture in this section. However, NEVER insert pictures in both top section and to the right – “both/and” does not apply here!  </a:t>
            </a:r>
          </a:p>
        </p:txBody>
      </p:sp>
      <p:sp>
        <p:nvSpPr>
          <p:cNvPr id="9" name="Picture Placeholder_Top">
            <a:extLst>
              <a:ext uri="{FF2B5EF4-FFF2-40B4-BE49-F238E27FC236}">
                <a16:creationId xmlns:a16="http://schemas.microsoft.com/office/drawing/2014/main" id="{037B4378-3F32-22F2-2060-4453D9A4ACDB}"/>
              </a:ext>
            </a:extLst>
          </p:cNvPr>
          <p:cNvSpPr>
            <a:spLocks noGrp="1"/>
          </p:cNvSpPr>
          <p:nvPr>
            <p:ph type="pic" sz="quarter" idx="14" hasCustomPrompt="1"/>
          </p:nvPr>
        </p:nvSpPr>
        <p:spPr>
          <a:xfrm>
            <a:off x="0" y="0"/>
            <a:ext cx="9142800" cy="1700213"/>
          </a:xfrm>
          <a:prstGeom prst="rect">
            <a:avLst/>
          </a:prstGeom>
          <a:noFill/>
        </p:spPr>
        <p:txBody>
          <a:bodyPr lIns="1440000" tIns="0" rIns="1440000" bIns="0" anchor="ctr" anchorCtr="0"/>
          <a:lstStyle>
            <a:lvl1pPr algn="ctr">
              <a:defRPr sz="1200">
                <a:solidFill>
                  <a:srgbClr val="A8A5A1"/>
                </a:solidFill>
              </a:defRPr>
            </a:lvl1pPr>
          </a:lstStyle>
          <a:p>
            <a:r>
              <a:rPr lang="en-GB"/>
              <a:t>Click on icon if you wish to insert a picture in this section. However, NEVER insert pictures in both top section and to the right – “both/and” does not apply here!  </a:t>
            </a:r>
          </a:p>
        </p:txBody>
      </p:sp>
      <p:sp>
        <p:nvSpPr>
          <p:cNvPr id="8" name="Logo">
            <a:extLst>
              <a:ext uri="{FF2B5EF4-FFF2-40B4-BE49-F238E27FC236}">
                <a16:creationId xmlns:a16="http://schemas.microsoft.com/office/drawing/2014/main" id="{BBE07E90-44D7-84B4-DC17-38931901B09A}"/>
              </a:ext>
            </a:extLst>
          </p:cNvPr>
          <p:cNvSpPr>
            <a:spLocks noGrp="1" noRot="1" noChangeAspect="1" noMove="1" noResize="1" noEditPoints="1" noAdjustHandles="1" noChangeArrowheads="1" noChangeShapeType="1"/>
          </p:cNvSpPr>
          <p:nvPr>
            <p:ph type="body" sz="quarter" idx="13" hasCustomPrompt="1"/>
          </p:nvPr>
        </p:nvSpPr>
        <p:spPr>
          <a:xfrm rot="5400000">
            <a:off x="11153739" y="755875"/>
            <a:ext cx="1260000" cy="288000"/>
          </a:xfrm>
          <a:prstGeom prst="rect">
            <a:avLst/>
          </a:prstGeom>
          <a:blipFill dpi="0" rotWithShape="0">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a:buNone/>
              <a:defRPr sz="100"/>
            </a:lvl1pPr>
          </a:lstStyle>
          <a:p>
            <a:pPr lvl="0"/>
            <a:r>
              <a:rPr lang="en-GB"/>
              <a:t> </a:t>
            </a:r>
          </a:p>
        </p:txBody>
      </p:sp>
    </p:spTree>
    <p:extLst>
      <p:ext uri="{BB962C8B-B14F-4D97-AF65-F5344CB8AC3E}">
        <p14:creationId xmlns:p14="http://schemas.microsoft.com/office/powerpoint/2010/main" val="3971888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ver A3">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12192000" cy="6858000"/>
          </a:xfrm>
          <a:prstGeom prst="rect">
            <a:avLst/>
          </a:prstGeom>
          <a:solidFill>
            <a:srgbClr val="678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5" name="Colour block_Right">
            <a:extLst>
              <a:ext uri="{FF2B5EF4-FFF2-40B4-BE49-F238E27FC236}">
                <a16:creationId xmlns:a16="http://schemas.microsoft.com/office/drawing/2014/main" id="{83E18B63-ADB0-7292-3540-8E1581C5DAD3}"/>
              </a:ext>
            </a:extLst>
          </p:cNvPr>
          <p:cNvSpPr txBox="1">
            <a:spLocks noGrp="1" noRot="1" noMove="1" noResize="1" noEditPoints="1" noAdjustHandles="1" noChangeArrowheads="1" noChangeShapeType="1"/>
          </p:cNvSpPr>
          <p:nvPr/>
        </p:nvSpPr>
        <p:spPr>
          <a:xfrm>
            <a:off x="9142800" y="0"/>
            <a:ext cx="3049200" cy="6858000"/>
          </a:xfrm>
          <a:prstGeom prst="rect">
            <a:avLst/>
          </a:prstGeom>
          <a:solidFill>
            <a:srgbClr val="6F8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7" name="Colour block_Top">
            <a:extLst>
              <a:ext uri="{FF2B5EF4-FFF2-40B4-BE49-F238E27FC236}">
                <a16:creationId xmlns:a16="http://schemas.microsoft.com/office/drawing/2014/main" id="{F8DA1E39-CE4C-8DBA-06AF-83D8F2C4C6B3}"/>
              </a:ext>
            </a:extLst>
          </p:cNvPr>
          <p:cNvSpPr txBox="1">
            <a:spLocks noGrp="1" noRot="1" noMove="1" noResize="1" noEditPoints="1" noAdjustHandles="1" noChangeArrowheads="1" noChangeShapeType="1"/>
          </p:cNvSpPr>
          <p:nvPr/>
        </p:nvSpPr>
        <p:spPr>
          <a:xfrm>
            <a:off x="0" y="0"/>
            <a:ext cx="9144000" cy="1700213"/>
          </a:xfrm>
          <a:prstGeom prst="rect">
            <a:avLst/>
          </a:prstGeom>
          <a:solidFill>
            <a:srgbClr val="768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1015528" y="2752516"/>
            <a:ext cx="7597131" cy="1440000"/>
          </a:xfrm>
          <a:prstGeom prst="rect">
            <a:avLst/>
          </a:prstGeom>
        </p:spPr>
        <p:txBody>
          <a:bodyPr anchor="b"/>
          <a:lstStyle>
            <a:lvl1pPr algn="l">
              <a:lnSpc>
                <a:spcPct val="90000"/>
              </a:lnSpc>
              <a:defRPr sz="5000">
                <a:solidFill>
                  <a:schemeClr val="bg1"/>
                </a:solidFill>
                <a:latin typeface="Palatino Linotype" panose="02040502050505030304" pitchFamily="18" charset="0"/>
              </a:defRPr>
            </a:lvl1pPr>
          </a:lstStyle>
          <a:p>
            <a:r>
              <a:rPr lang="en-GB"/>
              <a:t>Click to insert presentation title – max 3 rows, preferably 2</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1015528" y="4492438"/>
            <a:ext cx="7597131" cy="1224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8" name="Date or author">
            <a:extLst>
              <a:ext uri="{FF2B5EF4-FFF2-40B4-BE49-F238E27FC236}">
                <a16:creationId xmlns:a16="http://schemas.microsoft.com/office/drawing/2014/main" id="{2DE87EE2-580C-FF58-180F-53ECF8E53342}"/>
              </a:ext>
            </a:extLst>
          </p:cNvPr>
          <p:cNvSpPr>
            <a:spLocks noGrp="1"/>
          </p:cNvSpPr>
          <p:nvPr>
            <p:ph type="body" sz="quarter" idx="10" hasCustomPrompt="1"/>
          </p:nvPr>
        </p:nvSpPr>
        <p:spPr>
          <a:xfrm>
            <a:off x="1015527" y="6129238"/>
            <a:ext cx="7597131" cy="216000"/>
          </a:xfrm>
          <a:prstGeom prst="rect">
            <a:avLst/>
          </a:prstGeom>
        </p:spPr>
        <p:txBody>
          <a:bodyPr anchor="b"/>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8" name="Picture Placeholder_Right">
            <a:extLst>
              <a:ext uri="{FF2B5EF4-FFF2-40B4-BE49-F238E27FC236}">
                <a16:creationId xmlns:a16="http://schemas.microsoft.com/office/drawing/2014/main" id="{E5986E70-C20E-1C5C-9B85-A21A3B85CDA1}"/>
              </a:ext>
            </a:extLst>
          </p:cNvPr>
          <p:cNvSpPr>
            <a:spLocks noGrp="1"/>
          </p:cNvSpPr>
          <p:nvPr>
            <p:ph type="pic" sz="quarter" idx="12" hasCustomPrompt="1"/>
          </p:nvPr>
        </p:nvSpPr>
        <p:spPr>
          <a:xfrm>
            <a:off x="9142800" y="0"/>
            <a:ext cx="3049200" cy="6858000"/>
          </a:xfrm>
          <a:prstGeom prst="rect">
            <a:avLst/>
          </a:prstGeom>
          <a:noFill/>
        </p:spPr>
        <p:txBody>
          <a:bodyPr vert="horz" lIns="288000" tIns="1188000" rIns="288000" bIns="0" rtlCol="0" anchor="ctr" anchorCtr="0">
            <a:noAutofit/>
          </a:bodyPr>
          <a:lstStyle>
            <a:lvl1pPr>
              <a:defRPr lang="en-GB" sz="1200" dirty="0">
                <a:solidFill>
                  <a:srgbClr val="E1E0DE"/>
                </a:solidFill>
              </a:defRPr>
            </a:lvl1pPr>
          </a:lstStyle>
          <a:p>
            <a:pPr lvl="0" algn="ctr"/>
            <a:r>
              <a:rPr lang="en-GB"/>
              <a:t>Click on icon if you wish to insert a picture in this section. However, NEVER insert pictures in both top section and to the right – “both/and” does not apply here!  </a:t>
            </a:r>
          </a:p>
        </p:txBody>
      </p:sp>
      <p:sp>
        <p:nvSpPr>
          <p:cNvPr id="9" name="Picture Placeholder_Top">
            <a:extLst>
              <a:ext uri="{FF2B5EF4-FFF2-40B4-BE49-F238E27FC236}">
                <a16:creationId xmlns:a16="http://schemas.microsoft.com/office/drawing/2014/main" id="{54341B17-C02C-17C7-BB20-A6F0295C763F}"/>
              </a:ext>
            </a:extLst>
          </p:cNvPr>
          <p:cNvSpPr>
            <a:spLocks noGrp="1"/>
          </p:cNvSpPr>
          <p:nvPr>
            <p:ph type="pic" sz="quarter" idx="14" hasCustomPrompt="1"/>
          </p:nvPr>
        </p:nvSpPr>
        <p:spPr>
          <a:xfrm>
            <a:off x="0" y="0"/>
            <a:ext cx="9142800" cy="1700213"/>
          </a:xfrm>
          <a:prstGeom prst="rect">
            <a:avLst/>
          </a:prstGeom>
          <a:noFill/>
        </p:spPr>
        <p:txBody>
          <a:bodyPr lIns="1440000" tIns="0" rIns="1440000" bIns="0" anchor="ctr" anchorCtr="0"/>
          <a:lstStyle>
            <a:lvl1pPr algn="ctr">
              <a:defRPr sz="1200">
                <a:solidFill>
                  <a:srgbClr val="E1E0DE"/>
                </a:solidFill>
              </a:defRPr>
            </a:lvl1pPr>
          </a:lstStyle>
          <a:p>
            <a:r>
              <a:rPr lang="en-GB"/>
              <a:t>Click on icon if you wish to insert a picture in this section. However, NEVER insert pictures in both top section and to the right – “both/and” does not apply here!  </a:t>
            </a:r>
          </a:p>
        </p:txBody>
      </p:sp>
      <p:sp>
        <p:nvSpPr>
          <p:cNvPr id="4" name="Logo">
            <a:extLst>
              <a:ext uri="{FF2B5EF4-FFF2-40B4-BE49-F238E27FC236}">
                <a16:creationId xmlns:a16="http://schemas.microsoft.com/office/drawing/2014/main" id="{4BEDCC5B-7AEE-8C11-C6AD-8505CF1864C6}"/>
              </a:ext>
            </a:extLst>
          </p:cNvPr>
          <p:cNvSpPr>
            <a:spLocks noGrp="1" noRot="1" noChangeAspect="1" noMove="1" noResize="1" noEditPoints="1" noAdjustHandles="1" noChangeArrowheads="1" noChangeShapeType="1"/>
          </p:cNvSpPr>
          <p:nvPr>
            <p:ph type="body" sz="quarter" idx="13" hasCustomPrompt="1"/>
          </p:nvPr>
        </p:nvSpPr>
        <p:spPr>
          <a:xfrm rot="5400000">
            <a:off x="11153739" y="755875"/>
            <a:ext cx="1260000" cy="288000"/>
          </a:xfrm>
          <a:prstGeom prst="rect">
            <a:avLst/>
          </a:prstGeom>
          <a:blipFill dpi="0" rotWithShape="0">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a:buNone/>
              <a:defRPr sz="100"/>
            </a:lvl1pPr>
          </a:lstStyle>
          <a:p>
            <a:pPr lvl="0"/>
            <a:r>
              <a:rPr lang="en-GB"/>
              <a:t> </a:t>
            </a:r>
          </a:p>
        </p:txBody>
      </p:sp>
    </p:spTree>
    <p:extLst>
      <p:ext uri="{BB962C8B-B14F-4D97-AF65-F5344CB8AC3E}">
        <p14:creationId xmlns:p14="http://schemas.microsoft.com/office/powerpoint/2010/main" val="3558412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B1">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12192000" cy="6858000"/>
          </a:xfrm>
          <a:prstGeom prst="rect">
            <a:avLst/>
          </a:prstGeom>
          <a:solidFill>
            <a:srgbClr val="451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1015528" y="1627188"/>
            <a:ext cx="4032000" cy="2565328"/>
          </a:xfrm>
          <a:prstGeom prst="rect">
            <a:avLst/>
          </a:prstGeom>
        </p:spPr>
        <p:txBody>
          <a:bodyPr anchor="b"/>
          <a:lstStyle>
            <a:lvl1pPr algn="l">
              <a:lnSpc>
                <a:spcPct val="85000"/>
              </a:lnSpc>
              <a:spcAft>
                <a:spcPts val="0"/>
              </a:spcAft>
              <a:defRPr sz="5000">
                <a:solidFill>
                  <a:schemeClr val="bg1"/>
                </a:solidFill>
                <a:latin typeface="Palatino Linotype" panose="02040502050505030304" pitchFamily="18" charset="0"/>
              </a:defRPr>
            </a:lvl1pPr>
          </a:lstStyle>
          <a:p>
            <a:r>
              <a:rPr lang="en-GB"/>
              <a:t>Click to insert presentation title</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1015528" y="4492438"/>
            <a:ext cx="4032000" cy="1224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8" name="Date or author">
            <a:extLst>
              <a:ext uri="{FF2B5EF4-FFF2-40B4-BE49-F238E27FC236}">
                <a16:creationId xmlns:a16="http://schemas.microsoft.com/office/drawing/2014/main" id="{2DE87EE2-580C-FF58-180F-53ECF8E53342}"/>
              </a:ext>
            </a:extLst>
          </p:cNvPr>
          <p:cNvSpPr>
            <a:spLocks noGrp="1"/>
          </p:cNvSpPr>
          <p:nvPr>
            <p:ph type="body" sz="quarter" idx="10" hasCustomPrompt="1"/>
          </p:nvPr>
        </p:nvSpPr>
        <p:spPr>
          <a:xfrm>
            <a:off x="1015527" y="6129238"/>
            <a:ext cx="4032000" cy="216000"/>
          </a:xfrm>
          <a:prstGeom prst="rect">
            <a:avLst/>
          </a:prstGeom>
        </p:spPr>
        <p:txBody>
          <a:bodyPr anchor="b"/>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9" name="Colour block_Right">
            <a:extLst>
              <a:ext uri="{FF2B5EF4-FFF2-40B4-BE49-F238E27FC236}">
                <a16:creationId xmlns:a16="http://schemas.microsoft.com/office/drawing/2014/main" id="{CC16A2B6-E4B7-9C83-938A-E3336823C3C5}"/>
              </a:ext>
            </a:extLst>
          </p:cNvPr>
          <p:cNvSpPr txBox="1"/>
          <p:nvPr/>
        </p:nvSpPr>
        <p:spPr>
          <a:xfrm>
            <a:off x="6095999" y="0"/>
            <a:ext cx="6096001" cy="6858000"/>
          </a:xfrm>
          <a:prstGeom prst="rect">
            <a:avLst/>
          </a:prstGeom>
          <a:solidFill>
            <a:srgbClr val="4E2A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0" lvl="1" indent="0" algn="ctr">
              <a:buSzPct val="100000"/>
              <a:buNone/>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Char char="•"/>
            </a:lvl6pPr>
            <a:lvl7pPr>
              <a:defRPr>
                <a:solidFill>
                  <a:schemeClr val="lt1"/>
                </a:solidFill>
              </a:defRPr>
            </a:lvl7pPr>
            <a:lvl8pPr>
              <a:defRPr>
                <a:solidFill>
                  <a:schemeClr val="lt1"/>
                </a:solidFill>
              </a:defRPr>
            </a:lvl8pPr>
            <a:lvl9pPr>
              <a:defRPr>
                <a:solidFill>
                  <a:schemeClr val="lt1"/>
                </a:solidFill>
              </a:defRPr>
            </a:lvl9pPr>
          </a:lstStyle>
          <a:p>
            <a:pPr lvl="1"/>
            <a:endParaRPr lang="en-GB"/>
          </a:p>
        </p:txBody>
      </p:sp>
      <p:sp>
        <p:nvSpPr>
          <p:cNvPr id="10" name="Picture Placeholder_Right">
            <a:extLst>
              <a:ext uri="{FF2B5EF4-FFF2-40B4-BE49-F238E27FC236}">
                <a16:creationId xmlns:a16="http://schemas.microsoft.com/office/drawing/2014/main" id="{F98440BB-B1B2-397B-F8DD-688E67AB3B5F}"/>
              </a:ext>
            </a:extLst>
          </p:cNvPr>
          <p:cNvSpPr>
            <a:spLocks noGrp="1"/>
          </p:cNvSpPr>
          <p:nvPr>
            <p:ph type="pic" sz="quarter" idx="12" hasCustomPrompt="1"/>
          </p:nvPr>
        </p:nvSpPr>
        <p:spPr>
          <a:xfrm>
            <a:off x="6096000" y="0"/>
            <a:ext cx="6096000" cy="6858000"/>
          </a:xfrm>
          <a:prstGeom prst="rect">
            <a:avLst/>
          </a:prstGeom>
          <a:noFill/>
        </p:spPr>
        <p:txBody>
          <a:bodyPr vert="horz" lIns="720000" tIns="1188000" rIns="720000" bIns="0" rtlCol="0" anchor="ctr" anchorCtr="0">
            <a:noAutofit/>
          </a:bodyPr>
          <a:lstStyle>
            <a:lvl1pPr>
              <a:defRPr lang="en-GB" sz="1200" dirty="0">
                <a:solidFill>
                  <a:srgbClr val="A8A5A1"/>
                </a:solidFill>
              </a:defRPr>
            </a:lvl1pPr>
          </a:lstStyle>
          <a:p>
            <a:pPr lvl="0" algn="ctr"/>
            <a:r>
              <a:rPr lang="en-GB"/>
              <a:t>Click on icon if you wish to insert a picture in this section. Or use this area for placing larger icons … </a:t>
            </a:r>
          </a:p>
        </p:txBody>
      </p:sp>
      <p:sp>
        <p:nvSpPr>
          <p:cNvPr id="4" name="Logo">
            <a:extLst>
              <a:ext uri="{FF2B5EF4-FFF2-40B4-BE49-F238E27FC236}">
                <a16:creationId xmlns:a16="http://schemas.microsoft.com/office/drawing/2014/main" id="{DC79B822-38AE-3A58-5873-080A5AB9D57B}"/>
              </a:ext>
            </a:extLst>
          </p:cNvPr>
          <p:cNvSpPr>
            <a:spLocks noGrp="1" noRot="1" noChangeAspect="1" noMove="1" noResize="1" noEditPoints="1" noAdjustHandles="1" noChangeArrowheads="1" noChangeShapeType="1"/>
          </p:cNvSpPr>
          <p:nvPr>
            <p:ph type="body" sz="quarter" idx="13" hasCustomPrompt="1"/>
          </p:nvPr>
        </p:nvSpPr>
        <p:spPr>
          <a:xfrm rot="5400000">
            <a:off x="11153739" y="755875"/>
            <a:ext cx="1260000" cy="288000"/>
          </a:xfrm>
          <a:prstGeom prst="rect">
            <a:avLst/>
          </a:prstGeom>
          <a:blipFill dpi="0" rotWithShape="0">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a:buNone/>
              <a:defRPr sz="100"/>
            </a:lvl1pPr>
          </a:lstStyle>
          <a:p>
            <a:pPr lvl="0"/>
            <a:r>
              <a:rPr lang="en-GB"/>
              <a:t> </a:t>
            </a:r>
          </a:p>
        </p:txBody>
      </p:sp>
    </p:spTree>
    <p:extLst>
      <p:ext uri="{BB962C8B-B14F-4D97-AF65-F5344CB8AC3E}">
        <p14:creationId xmlns:p14="http://schemas.microsoft.com/office/powerpoint/2010/main" val="93866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B2">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12192000" cy="6858000"/>
          </a:xfrm>
          <a:prstGeom prst="rect">
            <a:avLst/>
          </a:prstGeom>
          <a:solidFill>
            <a:srgbClr val="3037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1015528" y="1627189"/>
            <a:ext cx="4032000" cy="2565328"/>
          </a:xfrm>
          <a:prstGeom prst="rect">
            <a:avLst/>
          </a:prstGeom>
        </p:spPr>
        <p:txBody>
          <a:bodyPr anchor="b"/>
          <a:lstStyle>
            <a:lvl1pPr algn="l">
              <a:lnSpc>
                <a:spcPct val="85000"/>
              </a:lnSpc>
              <a:spcAft>
                <a:spcPts val="0"/>
              </a:spcAft>
              <a:defRPr sz="5000">
                <a:solidFill>
                  <a:schemeClr val="bg1"/>
                </a:solidFill>
                <a:latin typeface="Palatino Linotype" panose="02040502050505030304" pitchFamily="18" charset="0"/>
              </a:defRPr>
            </a:lvl1pPr>
          </a:lstStyle>
          <a:p>
            <a:r>
              <a:rPr lang="en-GB"/>
              <a:t>Click to insert presentation title</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1015528" y="4492438"/>
            <a:ext cx="4032000" cy="1224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8" name="Date or author">
            <a:extLst>
              <a:ext uri="{FF2B5EF4-FFF2-40B4-BE49-F238E27FC236}">
                <a16:creationId xmlns:a16="http://schemas.microsoft.com/office/drawing/2014/main" id="{2DE87EE2-580C-FF58-180F-53ECF8E53342}"/>
              </a:ext>
            </a:extLst>
          </p:cNvPr>
          <p:cNvSpPr>
            <a:spLocks noGrp="1"/>
          </p:cNvSpPr>
          <p:nvPr>
            <p:ph type="body" sz="quarter" idx="10" hasCustomPrompt="1"/>
          </p:nvPr>
        </p:nvSpPr>
        <p:spPr>
          <a:xfrm>
            <a:off x="1015527" y="6129238"/>
            <a:ext cx="4032000" cy="216000"/>
          </a:xfrm>
          <a:prstGeom prst="rect">
            <a:avLst/>
          </a:prstGeom>
        </p:spPr>
        <p:txBody>
          <a:bodyPr anchor="b"/>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9" name="Colour block_Right">
            <a:extLst>
              <a:ext uri="{FF2B5EF4-FFF2-40B4-BE49-F238E27FC236}">
                <a16:creationId xmlns:a16="http://schemas.microsoft.com/office/drawing/2014/main" id="{CC16A2B6-E4B7-9C83-938A-E3336823C3C5}"/>
              </a:ext>
            </a:extLst>
          </p:cNvPr>
          <p:cNvSpPr txBox="1"/>
          <p:nvPr/>
        </p:nvSpPr>
        <p:spPr>
          <a:xfrm>
            <a:off x="6095999" y="0"/>
            <a:ext cx="6096001" cy="6858000"/>
          </a:xfrm>
          <a:prstGeom prst="rect">
            <a:avLst/>
          </a:prstGeom>
          <a:solidFill>
            <a:srgbClr val="3B4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10" name="Picture Placeholder_Right">
            <a:extLst>
              <a:ext uri="{FF2B5EF4-FFF2-40B4-BE49-F238E27FC236}">
                <a16:creationId xmlns:a16="http://schemas.microsoft.com/office/drawing/2014/main" id="{F98440BB-B1B2-397B-F8DD-688E67AB3B5F}"/>
              </a:ext>
            </a:extLst>
          </p:cNvPr>
          <p:cNvSpPr>
            <a:spLocks noGrp="1"/>
          </p:cNvSpPr>
          <p:nvPr>
            <p:ph type="pic" sz="quarter" idx="12" hasCustomPrompt="1"/>
          </p:nvPr>
        </p:nvSpPr>
        <p:spPr>
          <a:xfrm>
            <a:off x="6096000" y="0"/>
            <a:ext cx="6096000" cy="6858000"/>
          </a:xfrm>
          <a:prstGeom prst="rect">
            <a:avLst/>
          </a:prstGeom>
          <a:noFill/>
        </p:spPr>
        <p:txBody>
          <a:bodyPr vert="horz" lIns="720000" tIns="1188000" rIns="720000" bIns="0" rtlCol="0" anchor="ctr" anchorCtr="0">
            <a:noAutofit/>
          </a:bodyPr>
          <a:lstStyle>
            <a:lvl1pPr>
              <a:defRPr lang="en-GB" sz="1200" dirty="0">
                <a:solidFill>
                  <a:srgbClr val="A8A5A1"/>
                </a:solidFill>
              </a:defRPr>
            </a:lvl1pPr>
          </a:lstStyle>
          <a:p>
            <a:pPr lvl="0" algn="ctr"/>
            <a:r>
              <a:rPr lang="en-GB"/>
              <a:t>Click on icon if you wish to insert a picture in this section. Or use this area for placing larger icons … </a:t>
            </a:r>
          </a:p>
        </p:txBody>
      </p:sp>
      <p:sp>
        <p:nvSpPr>
          <p:cNvPr id="4" name="Logo">
            <a:extLst>
              <a:ext uri="{FF2B5EF4-FFF2-40B4-BE49-F238E27FC236}">
                <a16:creationId xmlns:a16="http://schemas.microsoft.com/office/drawing/2014/main" id="{B7C987FB-7AF9-EA5F-E57F-21D8EE8657C2}"/>
              </a:ext>
            </a:extLst>
          </p:cNvPr>
          <p:cNvSpPr>
            <a:spLocks noGrp="1" noRot="1" noChangeAspect="1" noMove="1" noResize="1" noEditPoints="1" noAdjustHandles="1" noChangeArrowheads="1" noChangeShapeType="1"/>
          </p:cNvSpPr>
          <p:nvPr>
            <p:ph type="body" sz="quarter" idx="13" hasCustomPrompt="1"/>
          </p:nvPr>
        </p:nvSpPr>
        <p:spPr>
          <a:xfrm rot="5400000">
            <a:off x="11153739" y="755875"/>
            <a:ext cx="1260000" cy="288000"/>
          </a:xfrm>
          <a:prstGeom prst="rect">
            <a:avLst/>
          </a:prstGeom>
          <a:blipFill dpi="0" rotWithShape="0">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a:buNone/>
              <a:defRPr sz="100"/>
            </a:lvl1pPr>
          </a:lstStyle>
          <a:p>
            <a:pPr lvl="0"/>
            <a:r>
              <a:rPr lang="en-GB"/>
              <a:t> </a:t>
            </a:r>
          </a:p>
        </p:txBody>
      </p:sp>
    </p:spTree>
    <p:extLst>
      <p:ext uri="{BB962C8B-B14F-4D97-AF65-F5344CB8AC3E}">
        <p14:creationId xmlns:p14="http://schemas.microsoft.com/office/powerpoint/2010/main" val="1816987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3">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12192000" cy="6858000"/>
          </a:xfrm>
          <a:prstGeom prst="rect">
            <a:avLst/>
          </a:prstGeom>
          <a:solidFill>
            <a:srgbClr val="678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1015528" y="1627189"/>
            <a:ext cx="4032000" cy="2565328"/>
          </a:xfrm>
          <a:prstGeom prst="rect">
            <a:avLst/>
          </a:prstGeom>
        </p:spPr>
        <p:txBody>
          <a:bodyPr anchor="b"/>
          <a:lstStyle>
            <a:lvl1pPr algn="l">
              <a:lnSpc>
                <a:spcPct val="85000"/>
              </a:lnSpc>
              <a:spcAft>
                <a:spcPts val="0"/>
              </a:spcAft>
              <a:defRPr sz="5000">
                <a:solidFill>
                  <a:schemeClr val="bg1"/>
                </a:solidFill>
                <a:latin typeface="Palatino Linotype" panose="02040502050505030304" pitchFamily="18" charset="0"/>
              </a:defRPr>
            </a:lvl1pPr>
          </a:lstStyle>
          <a:p>
            <a:r>
              <a:rPr lang="en-GB"/>
              <a:t>Click to insert presentation title</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1015528" y="4492438"/>
            <a:ext cx="4032000" cy="1224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8" name="Date or author">
            <a:extLst>
              <a:ext uri="{FF2B5EF4-FFF2-40B4-BE49-F238E27FC236}">
                <a16:creationId xmlns:a16="http://schemas.microsoft.com/office/drawing/2014/main" id="{2DE87EE2-580C-FF58-180F-53ECF8E53342}"/>
              </a:ext>
            </a:extLst>
          </p:cNvPr>
          <p:cNvSpPr>
            <a:spLocks noGrp="1"/>
          </p:cNvSpPr>
          <p:nvPr>
            <p:ph type="body" sz="quarter" idx="10" hasCustomPrompt="1"/>
          </p:nvPr>
        </p:nvSpPr>
        <p:spPr>
          <a:xfrm>
            <a:off x="1015527" y="6129238"/>
            <a:ext cx="4032000" cy="216000"/>
          </a:xfrm>
          <a:prstGeom prst="rect">
            <a:avLst/>
          </a:prstGeom>
        </p:spPr>
        <p:txBody>
          <a:bodyPr anchor="b"/>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9" name="Colour block_Right">
            <a:extLst>
              <a:ext uri="{FF2B5EF4-FFF2-40B4-BE49-F238E27FC236}">
                <a16:creationId xmlns:a16="http://schemas.microsoft.com/office/drawing/2014/main" id="{CC16A2B6-E4B7-9C83-938A-E3336823C3C5}"/>
              </a:ext>
            </a:extLst>
          </p:cNvPr>
          <p:cNvSpPr txBox="1"/>
          <p:nvPr/>
        </p:nvSpPr>
        <p:spPr>
          <a:xfrm>
            <a:off x="6095999" y="0"/>
            <a:ext cx="6096001" cy="6858000"/>
          </a:xfrm>
          <a:prstGeom prst="rect">
            <a:avLst/>
          </a:prstGeom>
          <a:solidFill>
            <a:srgbClr val="6F8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10" name="Picture Placeholder_Right">
            <a:extLst>
              <a:ext uri="{FF2B5EF4-FFF2-40B4-BE49-F238E27FC236}">
                <a16:creationId xmlns:a16="http://schemas.microsoft.com/office/drawing/2014/main" id="{F98440BB-B1B2-397B-F8DD-688E67AB3B5F}"/>
              </a:ext>
            </a:extLst>
          </p:cNvPr>
          <p:cNvSpPr>
            <a:spLocks noGrp="1"/>
          </p:cNvSpPr>
          <p:nvPr>
            <p:ph type="pic" sz="quarter" idx="12" hasCustomPrompt="1"/>
          </p:nvPr>
        </p:nvSpPr>
        <p:spPr>
          <a:xfrm>
            <a:off x="6096000" y="0"/>
            <a:ext cx="6096000" cy="6858000"/>
          </a:xfrm>
          <a:prstGeom prst="rect">
            <a:avLst/>
          </a:prstGeom>
          <a:noFill/>
        </p:spPr>
        <p:txBody>
          <a:bodyPr vert="horz" lIns="720000" tIns="1188000" rIns="720000" bIns="0" rtlCol="0" anchor="ctr" anchorCtr="0">
            <a:noAutofit/>
          </a:bodyPr>
          <a:lstStyle>
            <a:lvl1pPr>
              <a:defRPr lang="en-GB" sz="1200" dirty="0">
                <a:solidFill>
                  <a:srgbClr val="E1E0DE"/>
                </a:solidFill>
              </a:defRPr>
            </a:lvl1pPr>
          </a:lstStyle>
          <a:p>
            <a:pPr lvl="0" algn="ctr"/>
            <a:r>
              <a:rPr lang="en-GB"/>
              <a:t>Click on icon if you wish to insert a picture in this section. Or use this area for placing larger icons … </a:t>
            </a:r>
          </a:p>
        </p:txBody>
      </p:sp>
      <p:sp>
        <p:nvSpPr>
          <p:cNvPr id="4" name="Logo">
            <a:extLst>
              <a:ext uri="{FF2B5EF4-FFF2-40B4-BE49-F238E27FC236}">
                <a16:creationId xmlns:a16="http://schemas.microsoft.com/office/drawing/2014/main" id="{0BB8E069-39F1-5900-93EA-D01A056EA2F7}"/>
              </a:ext>
            </a:extLst>
          </p:cNvPr>
          <p:cNvSpPr>
            <a:spLocks noGrp="1" noRot="1" noChangeAspect="1" noMove="1" noResize="1" noEditPoints="1" noAdjustHandles="1" noChangeArrowheads="1" noChangeShapeType="1"/>
          </p:cNvSpPr>
          <p:nvPr>
            <p:ph type="body" sz="quarter" idx="13" hasCustomPrompt="1"/>
          </p:nvPr>
        </p:nvSpPr>
        <p:spPr>
          <a:xfrm rot="5400000">
            <a:off x="11153739" y="755875"/>
            <a:ext cx="1260000" cy="288000"/>
          </a:xfrm>
          <a:prstGeom prst="rect">
            <a:avLst/>
          </a:prstGeom>
          <a:blipFill dpi="0" rotWithShape="0">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a:buNone/>
              <a:defRPr sz="100"/>
            </a:lvl1pPr>
          </a:lstStyle>
          <a:p>
            <a:pPr lvl="0"/>
            <a:r>
              <a:rPr lang="en-GB"/>
              <a:t> </a:t>
            </a:r>
          </a:p>
        </p:txBody>
      </p:sp>
    </p:spTree>
    <p:extLst>
      <p:ext uri="{BB962C8B-B14F-4D97-AF65-F5344CB8AC3E}">
        <p14:creationId xmlns:p14="http://schemas.microsoft.com/office/powerpoint/2010/main" val="16627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 C1">
    <p:bg>
      <p:bgPr>
        <a:solidFill>
          <a:srgbClr val="1F2023"/>
        </a:solidFill>
        <a:effectLst/>
      </p:bgPr>
    </p:bg>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12192000" cy="6858000"/>
          </a:xfrm>
          <a:prstGeom prst="rect">
            <a:avLst/>
          </a:prstGeom>
          <a:solidFill>
            <a:srgbClr val="451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5" name="Colour block_Left">
            <a:extLst>
              <a:ext uri="{FF2B5EF4-FFF2-40B4-BE49-F238E27FC236}">
                <a16:creationId xmlns:a16="http://schemas.microsoft.com/office/drawing/2014/main" id="{83E18B63-ADB0-7292-3540-8E1581C5DAD3}"/>
              </a:ext>
            </a:extLst>
          </p:cNvPr>
          <p:cNvSpPr txBox="1">
            <a:spLocks noGrp="1" noRot="1" noMove="1" noResize="1" noEditPoints="1" noAdjustHandles="1" noChangeArrowheads="1" noChangeShapeType="1"/>
          </p:cNvSpPr>
          <p:nvPr/>
        </p:nvSpPr>
        <p:spPr>
          <a:xfrm>
            <a:off x="0" y="0"/>
            <a:ext cx="3049200" cy="6858000"/>
          </a:xfrm>
          <a:prstGeom prst="rect">
            <a:avLst/>
          </a:prstGeom>
          <a:solidFill>
            <a:srgbClr val="583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7" name="Colour block_Top">
            <a:extLst>
              <a:ext uri="{FF2B5EF4-FFF2-40B4-BE49-F238E27FC236}">
                <a16:creationId xmlns:a16="http://schemas.microsoft.com/office/drawing/2014/main" id="{F8DA1E39-CE4C-8DBA-06AF-83D8F2C4C6B3}"/>
              </a:ext>
            </a:extLst>
          </p:cNvPr>
          <p:cNvSpPr txBox="1">
            <a:spLocks noGrp="1" noRot="1" noMove="1" noResize="1" noEditPoints="1" noAdjustHandles="1" noChangeArrowheads="1" noChangeShapeType="1"/>
          </p:cNvSpPr>
          <p:nvPr/>
        </p:nvSpPr>
        <p:spPr>
          <a:xfrm>
            <a:off x="3048000" y="0"/>
            <a:ext cx="9144000" cy="1700213"/>
          </a:xfrm>
          <a:prstGeom prst="rect">
            <a:avLst/>
          </a:prstGeom>
          <a:solidFill>
            <a:srgbClr val="4E2A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3863762" y="3185000"/>
            <a:ext cx="7488000" cy="1404000"/>
          </a:xfrm>
          <a:prstGeom prst="rect">
            <a:avLst/>
          </a:prstGeom>
        </p:spPr>
        <p:txBody>
          <a:bodyPr anchor="t"/>
          <a:lstStyle>
            <a:lvl1pPr algn="l">
              <a:lnSpc>
                <a:spcPct val="90000"/>
              </a:lnSpc>
              <a:defRPr sz="4400">
                <a:solidFill>
                  <a:schemeClr val="bg1"/>
                </a:solidFill>
                <a:latin typeface="Palatino Linotype" panose="02040502050505030304" pitchFamily="18" charset="0"/>
              </a:defRPr>
            </a:lvl1pPr>
          </a:lstStyle>
          <a:p>
            <a:r>
              <a:rPr lang="en-GB"/>
              <a:t>Click to insert (max two rows) presentation title.  </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3863762" y="4696318"/>
            <a:ext cx="7488000" cy="936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9" name="Date or author">
            <a:extLst>
              <a:ext uri="{FF2B5EF4-FFF2-40B4-BE49-F238E27FC236}">
                <a16:creationId xmlns:a16="http://schemas.microsoft.com/office/drawing/2014/main" id="{D2E8728A-6E4F-B803-102D-0CDB1E33EAA7}"/>
              </a:ext>
            </a:extLst>
          </p:cNvPr>
          <p:cNvSpPr>
            <a:spLocks noGrp="1"/>
          </p:cNvSpPr>
          <p:nvPr>
            <p:ph type="body" sz="quarter" idx="13" hasCustomPrompt="1"/>
          </p:nvPr>
        </p:nvSpPr>
        <p:spPr>
          <a:xfrm>
            <a:off x="5933177" y="6129238"/>
            <a:ext cx="5418585" cy="216000"/>
          </a:xfrm>
          <a:prstGeom prst="rect">
            <a:avLst/>
          </a:prstGeom>
        </p:spPr>
        <p:txBody>
          <a:bodyPr anchor="b"/>
          <a:lstStyle>
            <a:lvl1pPr>
              <a:lnSpc>
                <a:spcPct val="100000"/>
              </a:lnSpc>
              <a:spcAft>
                <a:spcPts val="0"/>
              </a:spcAf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23" name="Implement Consulting Group">
            <a:extLst>
              <a:ext uri="{FF2B5EF4-FFF2-40B4-BE49-F238E27FC236}">
                <a16:creationId xmlns:a16="http://schemas.microsoft.com/office/drawing/2014/main" id="{88744247-9195-84E0-CAB0-3CFFD023B463}"/>
              </a:ext>
            </a:extLst>
          </p:cNvPr>
          <p:cNvSpPr txBox="1">
            <a:spLocks noGrp="1" noRot="1" noMove="1" noResize="1" noEditPoints="1" noAdjustHandles="1" noChangeArrowheads="1" noChangeShapeType="1"/>
          </p:cNvSpPr>
          <p:nvPr/>
        </p:nvSpPr>
        <p:spPr>
          <a:xfrm>
            <a:off x="3863293" y="6129238"/>
            <a:ext cx="2069885" cy="216000"/>
          </a:xfrm>
          <a:prstGeom prst="rect">
            <a:avLst/>
          </a:prstGeom>
        </p:spPr>
        <p:txBody>
          <a:bodyPr vert="horz" lIns="0" tIns="0" rIns="0" bIns="0" rtlCol="0" anchor="b">
            <a:noAutofit/>
          </a:bodyPr>
          <a:lstStyle>
            <a:lvl1pPr lvl="0" indent="0">
              <a:lnSpc>
                <a:spcPct val="100000"/>
              </a:lnSpc>
              <a:spcBef>
                <a:spcPts val="0"/>
              </a:spcBef>
              <a:spcAft>
                <a:spcPts val="600"/>
              </a:spcAft>
              <a:buFont typeface="Arial" panose="020B0604020202020204" pitchFamily="34" charset="0"/>
              <a:buChar char="​"/>
              <a:defRPr sz="1200">
                <a:solidFill>
                  <a:schemeClr val="bg1"/>
                </a:solidFill>
              </a:defRPr>
            </a:lvl1pPr>
            <a:lvl2pPr marL="179388" indent="-179388">
              <a:lnSpc>
                <a:spcPct val="100000"/>
              </a:lnSpc>
              <a:spcBef>
                <a:spcPts val="0"/>
              </a:spcBef>
              <a:spcAft>
                <a:spcPts val="600"/>
              </a:spcAft>
              <a:buFont typeface="Arial" panose="020B0604020202020204" pitchFamily="34" charset="0"/>
              <a:buChar char="•"/>
              <a:defRPr sz="1200">
                <a:solidFill>
                  <a:schemeClr val="bg1"/>
                </a:solidFill>
              </a:defRPr>
            </a:lvl2pPr>
            <a:lvl3pPr marL="358775" indent="-179388">
              <a:lnSpc>
                <a:spcPct val="100000"/>
              </a:lnSpc>
              <a:spcBef>
                <a:spcPts val="0"/>
              </a:spcBef>
              <a:spcAft>
                <a:spcPts val="600"/>
              </a:spcAft>
              <a:buFont typeface="Calibri" panose="020F0502020204030204" pitchFamily="34" charset="0"/>
              <a:buChar char="–"/>
              <a:defRPr sz="1200">
                <a:solidFill>
                  <a:schemeClr val="bg1"/>
                </a:solidFill>
              </a:defRPr>
            </a:lvl3pPr>
            <a:lvl4pPr marL="179388" indent="-179388">
              <a:lnSpc>
                <a:spcPct val="100000"/>
              </a:lnSpc>
              <a:spcBef>
                <a:spcPts val="0"/>
              </a:spcBef>
              <a:spcAft>
                <a:spcPts val="600"/>
              </a:spcAft>
              <a:buFont typeface="+mj-lt"/>
              <a:buAutoNum type="arabicPeriod"/>
              <a:defRPr sz="1200">
                <a:solidFill>
                  <a:schemeClr val="bg1"/>
                </a:solidFill>
              </a:defRPr>
            </a:lvl4pPr>
            <a:lvl5pPr marL="358775" indent="-180975">
              <a:lnSpc>
                <a:spcPct val="100000"/>
              </a:lnSpc>
              <a:spcBef>
                <a:spcPts val="0"/>
              </a:spcBef>
              <a:spcAft>
                <a:spcPts val="600"/>
              </a:spcAft>
              <a:buFont typeface="+mj-lt"/>
              <a:buAutoNum type="alphaLcParenR"/>
              <a:tabLst/>
              <a:defRPr sz="1200">
                <a:solidFill>
                  <a:schemeClr val="bg1"/>
                </a:solidFill>
              </a:defRPr>
            </a:lvl5pPr>
            <a:lvl6pPr marL="0" indent="0">
              <a:lnSpc>
                <a:spcPct val="100000"/>
              </a:lnSpc>
              <a:spcBef>
                <a:spcPts val="0"/>
              </a:spcBef>
              <a:buFont typeface="Arial" panose="020B0604020202020204" pitchFamily="34" charset="0"/>
              <a:buChar char="​"/>
              <a:defRPr sz="3600"/>
            </a:lvl6pPr>
            <a:lvl7pPr marL="0" indent="0">
              <a:lnSpc>
                <a:spcPct val="100000"/>
              </a:lnSpc>
              <a:spcBef>
                <a:spcPts val="0"/>
              </a:spcBef>
              <a:buFont typeface="Arial" panose="020B0604020202020204" pitchFamily="34" charset="0"/>
              <a:buChar char="​"/>
              <a:defRPr sz="1200"/>
            </a:lvl7pPr>
            <a:lvl8pPr marL="179388" indent="-179388">
              <a:lnSpc>
                <a:spcPct val="100000"/>
              </a:lnSpc>
              <a:spcBef>
                <a:spcPts val="0"/>
              </a:spcBef>
              <a:buFont typeface="Arial" panose="020B0604020202020204" pitchFamily="34" charset="0"/>
              <a:buChar char="•"/>
              <a:defRPr sz="1200"/>
            </a:lvl8pPr>
            <a:lvl9pPr marL="0" indent="0">
              <a:lnSpc>
                <a:spcPct val="100000"/>
              </a:lnSpc>
              <a:spcBef>
                <a:spcPts val="600"/>
              </a:spcBef>
              <a:spcAft>
                <a:spcPts val="1200"/>
              </a:spcAft>
              <a:buFont typeface="Arial" panose="020B0604020202020204" pitchFamily="34" charset="0"/>
              <a:buChar char="​"/>
              <a:defRPr sz="800" i="0"/>
            </a:lvl9pPr>
          </a:lstStyle>
          <a:p>
            <a:pPr lvl="0">
              <a:lnSpc>
                <a:spcPct val="100000"/>
              </a:lnSpc>
              <a:spcAft>
                <a:spcPts val="0"/>
              </a:spcAft>
            </a:pPr>
            <a:r>
              <a:rPr lang="en-GB" noProof="0"/>
              <a:t>Implement Consulting Group •</a:t>
            </a:r>
          </a:p>
        </p:txBody>
      </p:sp>
      <p:sp>
        <p:nvSpPr>
          <p:cNvPr id="10" name="Picture Placeholder_Left">
            <a:extLst>
              <a:ext uri="{FF2B5EF4-FFF2-40B4-BE49-F238E27FC236}">
                <a16:creationId xmlns:a16="http://schemas.microsoft.com/office/drawing/2014/main" id="{CEB64B33-913C-2726-5B77-26728775A45E}"/>
              </a:ext>
            </a:extLst>
          </p:cNvPr>
          <p:cNvSpPr>
            <a:spLocks noGrp="1"/>
          </p:cNvSpPr>
          <p:nvPr>
            <p:ph type="pic" sz="quarter" idx="12" hasCustomPrompt="1"/>
          </p:nvPr>
        </p:nvSpPr>
        <p:spPr>
          <a:xfrm>
            <a:off x="0" y="0"/>
            <a:ext cx="3049200" cy="6858000"/>
          </a:xfrm>
          <a:prstGeom prst="rect">
            <a:avLst/>
          </a:prstGeom>
          <a:noFill/>
        </p:spPr>
        <p:txBody>
          <a:bodyPr vert="horz" lIns="288000" tIns="1188000" rIns="288000" bIns="0" rtlCol="0" anchor="ctr" anchorCtr="0">
            <a:noAutofit/>
          </a:bodyPr>
          <a:lstStyle>
            <a:lvl1pPr>
              <a:defRPr lang="en-GB" sz="1200" dirty="0">
                <a:solidFill>
                  <a:srgbClr val="E1E0DE"/>
                </a:solidFill>
              </a:defRPr>
            </a:lvl1pPr>
          </a:lstStyle>
          <a:p>
            <a:pPr lvl="0" algn="ctr"/>
            <a:r>
              <a:rPr lang="en-GB"/>
              <a:t>Click on icon if you wish to insert a picture in this section.</a:t>
            </a:r>
          </a:p>
        </p:txBody>
      </p:sp>
      <p:sp>
        <p:nvSpPr>
          <p:cNvPr id="13" name="Logo">
            <a:extLst>
              <a:ext uri="{FF2B5EF4-FFF2-40B4-BE49-F238E27FC236}">
                <a16:creationId xmlns:a16="http://schemas.microsoft.com/office/drawing/2014/main" id="{7EF8C207-A698-1BAB-38FB-92CFA8D84B1C}"/>
              </a:ext>
            </a:extLst>
          </p:cNvPr>
          <p:cNvSpPr>
            <a:spLocks noGrp="1" noRot="1" noChangeAspect="1" noMove="1" noResize="1" noEditPoints="1" noAdjustHandles="1" noChangeArrowheads="1" noChangeShapeType="1"/>
          </p:cNvSpPr>
          <p:nvPr>
            <p:custDataLst>
              <p:tags r:id="rId1"/>
            </p:custDataLst>
          </p:nvPr>
        </p:nvSpPr>
        <p:spPr bwMode="auto">
          <a:xfrm>
            <a:off x="3899939" y="2553825"/>
            <a:ext cx="489119" cy="216000"/>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18327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1923">
          <p15:clr>
            <a:srgbClr val="FFFFFF"/>
          </p15:clr>
        </p15:guide>
        <p15:guide id="4" orient="horz" pos="1071">
          <p15:clr>
            <a:srgbClr val="FFFF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C2">
    <p:bg>
      <p:bgPr>
        <a:solidFill>
          <a:srgbClr val="1F2023"/>
        </a:solidFill>
        <a:effectLst/>
      </p:bgPr>
    </p:bg>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12192000" cy="6858000"/>
          </a:xfrm>
          <a:prstGeom prst="rect">
            <a:avLst/>
          </a:prstGeom>
          <a:solidFill>
            <a:srgbClr val="3037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5" name="Colour block_Left">
            <a:extLst>
              <a:ext uri="{FF2B5EF4-FFF2-40B4-BE49-F238E27FC236}">
                <a16:creationId xmlns:a16="http://schemas.microsoft.com/office/drawing/2014/main" id="{83E18B63-ADB0-7292-3540-8E1581C5DAD3}"/>
              </a:ext>
            </a:extLst>
          </p:cNvPr>
          <p:cNvSpPr txBox="1">
            <a:spLocks noGrp="1" noRot="1" noMove="1" noResize="1" noEditPoints="1" noAdjustHandles="1" noChangeArrowheads="1" noChangeShapeType="1"/>
          </p:cNvSpPr>
          <p:nvPr/>
        </p:nvSpPr>
        <p:spPr>
          <a:xfrm>
            <a:off x="0" y="0"/>
            <a:ext cx="3049200" cy="6858000"/>
          </a:xfrm>
          <a:prstGeom prst="rect">
            <a:avLst/>
          </a:prstGeom>
          <a:solidFill>
            <a:srgbClr val="454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7" name="Colour block_Top">
            <a:extLst>
              <a:ext uri="{FF2B5EF4-FFF2-40B4-BE49-F238E27FC236}">
                <a16:creationId xmlns:a16="http://schemas.microsoft.com/office/drawing/2014/main" id="{F8DA1E39-CE4C-8DBA-06AF-83D8F2C4C6B3}"/>
              </a:ext>
            </a:extLst>
          </p:cNvPr>
          <p:cNvSpPr txBox="1">
            <a:spLocks noGrp="1" noRot="1" noMove="1" noResize="1" noEditPoints="1" noAdjustHandles="1" noChangeArrowheads="1" noChangeShapeType="1"/>
          </p:cNvSpPr>
          <p:nvPr/>
        </p:nvSpPr>
        <p:spPr>
          <a:xfrm>
            <a:off x="3048000" y="0"/>
            <a:ext cx="9144000" cy="1700213"/>
          </a:xfrm>
          <a:prstGeom prst="rect">
            <a:avLst/>
          </a:prstGeom>
          <a:solidFill>
            <a:srgbClr val="3B4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3863762" y="3185000"/>
            <a:ext cx="7488000" cy="1404000"/>
          </a:xfrm>
          <a:prstGeom prst="rect">
            <a:avLst/>
          </a:prstGeom>
        </p:spPr>
        <p:txBody>
          <a:bodyPr anchor="t"/>
          <a:lstStyle>
            <a:lvl1pPr algn="l">
              <a:lnSpc>
                <a:spcPct val="90000"/>
              </a:lnSpc>
              <a:defRPr sz="4400">
                <a:solidFill>
                  <a:schemeClr val="bg1"/>
                </a:solidFill>
                <a:latin typeface="Palatino Linotype" panose="02040502050505030304" pitchFamily="18" charset="0"/>
              </a:defRPr>
            </a:lvl1pPr>
          </a:lstStyle>
          <a:p>
            <a:r>
              <a:rPr lang="en-GB"/>
              <a:t>Click to insert (max two rows) presentation title.  </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3863762" y="4696318"/>
            <a:ext cx="7488000" cy="936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9" name="Date or author">
            <a:extLst>
              <a:ext uri="{FF2B5EF4-FFF2-40B4-BE49-F238E27FC236}">
                <a16:creationId xmlns:a16="http://schemas.microsoft.com/office/drawing/2014/main" id="{D2E8728A-6E4F-B803-102D-0CDB1E33EAA7}"/>
              </a:ext>
            </a:extLst>
          </p:cNvPr>
          <p:cNvSpPr>
            <a:spLocks noGrp="1"/>
          </p:cNvSpPr>
          <p:nvPr>
            <p:ph type="body" sz="quarter" idx="13" hasCustomPrompt="1"/>
          </p:nvPr>
        </p:nvSpPr>
        <p:spPr>
          <a:xfrm>
            <a:off x="5933177" y="6129238"/>
            <a:ext cx="5418585" cy="216000"/>
          </a:xfrm>
          <a:prstGeom prst="rect">
            <a:avLst/>
          </a:prstGeom>
        </p:spPr>
        <p:txBody>
          <a:bodyPr anchor="b"/>
          <a:lstStyle>
            <a:lvl1pPr>
              <a:lnSpc>
                <a:spcPct val="100000"/>
              </a:lnSpc>
              <a:spcAft>
                <a:spcPts val="0"/>
              </a:spcAf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23" name="Implement Consulting Group">
            <a:extLst>
              <a:ext uri="{FF2B5EF4-FFF2-40B4-BE49-F238E27FC236}">
                <a16:creationId xmlns:a16="http://schemas.microsoft.com/office/drawing/2014/main" id="{88744247-9195-84E0-CAB0-3CFFD023B463}"/>
              </a:ext>
            </a:extLst>
          </p:cNvPr>
          <p:cNvSpPr txBox="1">
            <a:spLocks noGrp="1" noRot="1" noMove="1" noResize="1" noEditPoints="1" noAdjustHandles="1" noChangeArrowheads="1" noChangeShapeType="1"/>
          </p:cNvSpPr>
          <p:nvPr/>
        </p:nvSpPr>
        <p:spPr>
          <a:xfrm>
            <a:off x="3863293" y="6129238"/>
            <a:ext cx="2069885" cy="216000"/>
          </a:xfrm>
          <a:prstGeom prst="rect">
            <a:avLst/>
          </a:prstGeom>
        </p:spPr>
        <p:txBody>
          <a:bodyPr vert="horz" lIns="0" tIns="0" rIns="0" bIns="0" rtlCol="0" anchor="b">
            <a:noAutofit/>
          </a:bodyPr>
          <a:lstStyle>
            <a:lvl1pPr lvl="0" indent="0">
              <a:lnSpc>
                <a:spcPct val="100000"/>
              </a:lnSpc>
              <a:spcBef>
                <a:spcPts val="0"/>
              </a:spcBef>
              <a:spcAft>
                <a:spcPts val="600"/>
              </a:spcAft>
              <a:buFont typeface="Arial" panose="020B0604020202020204" pitchFamily="34" charset="0"/>
              <a:buChar char="​"/>
              <a:defRPr sz="1200">
                <a:solidFill>
                  <a:schemeClr val="bg1"/>
                </a:solidFill>
              </a:defRPr>
            </a:lvl1pPr>
            <a:lvl2pPr marL="179388" indent="-179388">
              <a:lnSpc>
                <a:spcPct val="100000"/>
              </a:lnSpc>
              <a:spcBef>
                <a:spcPts val="0"/>
              </a:spcBef>
              <a:spcAft>
                <a:spcPts val="600"/>
              </a:spcAft>
              <a:buFont typeface="Arial" panose="020B0604020202020204" pitchFamily="34" charset="0"/>
              <a:buChar char="•"/>
              <a:defRPr sz="1200">
                <a:solidFill>
                  <a:schemeClr val="bg1"/>
                </a:solidFill>
              </a:defRPr>
            </a:lvl2pPr>
            <a:lvl3pPr marL="358775" indent="-179388">
              <a:lnSpc>
                <a:spcPct val="100000"/>
              </a:lnSpc>
              <a:spcBef>
                <a:spcPts val="0"/>
              </a:spcBef>
              <a:spcAft>
                <a:spcPts val="600"/>
              </a:spcAft>
              <a:buFont typeface="Calibri" panose="020F0502020204030204" pitchFamily="34" charset="0"/>
              <a:buChar char="–"/>
              <a:defRPr sz="1200">
                <a:solidFill>
                  <a:schemeClr val="bg1"/>
                </a:solidFill>
              </a:defRPr>
            </a:lvl3pPr>
            <a:lvl4pPr marL="179388" indent="-179388">
              <a:lnSpc>
                <a:spcPct val="100000"/>
              </a:lnSpc>
              <a:spcBef>
                <a:spcPts val="0"/>
              </a:spcBef>
              <a:spcAft>
                <a:spcPts val="600"/>
              </a:spcAft>
              <a:buFont typeface="+mj-lt"/>
              <a:buAutoNum type="arabicPeriod"/>
              <a:defRPr sz="1200">
                <a:solidFill>
                  <a:schemeClr val="bg1"/>
                </a:solidFill>
              </a:defRPr>
            </a:lvl4pPr>
            <a:lvl5pPr marL="358775" indent="-180975">
              <a:lnSpc>
                <a:spcPct val="100000"/>
              </a:lnSpc>
              <a:spcBef>
                <a:spcPts val="0"/>
              </a:spcBef>
              <a:spcAft>
                <a:spcPts val="600"/>
              </a:spcAft>
              <a:buFont typeface="+mj-lt"/>
              <a:buAutoNum type="alphaLcParenR"/>
              <a:tabLst/>
              <a:defRPr sz="1200">
                <a:solidFill>
                  <a:schemeClr val="bg1"/>
                </a:solidFill>
              </a:defRPr>
            </a:lvl5pPr>
            <a:lvl6pPr marL="0" indent="0">
              <a:lnSpc>
                <a:spcPct val="100000"/>
              </a:lnSpc>
              <a:spcBef>
                <a:spcPts val="0"/>
              </a:spcBef>
              <a:buFont typeface="Arial" panose="020B0604020202020204" pitchFamily="34" charset="0"/>
              <a:buChar char="​"/>
              <a:defRPr sz="3600"/>
            </a:lvl6pPr>
            <a:lvl7pPr marL="0" indent="0">
              <a:lnSpc>
                <a:spcPct val="100000"/>
              </a:lnSpc>
              <a:spcBef>
                <a:spcPts val="0"/>
              </a:spcBef>
              <a:buFont typeface="Arial" panose="020B0604020202020204" pitchFamily="34" charset="0"/>
              <a:buChar char="​"/>
              <a:defRPr sz="1200"/>
            </a:lvl7pPr>
            <a:lvl8pPr marL="179388" indent="-179388">
              <a:lnSpc>
                <a:spcPct val="100000"/>
              </a:lnSpc>
              <a:spcBef>
                <a:spcPts val="0"/>
              </a:spcBef>
              <a:buFont typeface="Arial" panose="020B0604020202020204" pitchFamily="34" charset="0"/>
              <a:buChar char="•"/>
              <a:defRPr sz="1200"/>
            </a:lvl8pPr>
            <a:lvl9pPr marL="0" indent="0">
              <a:lnSpc>
                <a:spcPct val="100000"/>
              </a:lnSpc>
              <a:spcBef>
                <a:spcPts val="600"/>
              </a:spcBef>
              <a:spcAft>
                <a:spcPts val="1200"/>
              </a:spcAft>
              <a:buFont typeface="Arial" panose="020B0604020202020204" pitchFamily="34" charset="0"/>
              <a:buChar char="​"/>
              <a:defRPr sz="800" i="0"/>
            </a:lvl9pPr>
          </a:lstStyle>
          <a:p>
            <a:pPr lvl="0">
              <a:lnSpc>
                <a:spcPct val="100000"/>
              </a:lnSpc>
              <a:spcAft>
                <a:spcPts val="0"/>
              </a:spcAft>
            </a:pPr>
            <a:r>
              <a:rPr lang="en-GB" noProof="0"/>
              <a:t>Implement Consulting Group •</a:t>
            </a:r>
          </a:p>
        </p:txBody>
      </p:sp>
      <p:sp>
        <p:nvSpPr>
          <p:cNvPr id="10" name="Picture Placeholder_Left">
            <a:extLst>
              <a:ext uri="{FF2B5EF4-FFF2-40B4-BE49-F238E27FC236}">
                <a16:creationId xmlns:a16="http://schemas.microsoft.com/office/drawing/2014/main" id="{CEB64B33-913C-2726-5B77-26728775A45E}"/>
              </a:ext>
            </a:extLst>
          </p:cNvPr>
          <p:cNvSpPr>
            <a:spLocks noGrp="1"/>
          </p:cNvSpPr>
          <p:nvPr>
            <p:ph type="pic" sz="quarter" idx="12" hasCustomPrompt="1"/>
          </p:nvPr>
        </p:nvSpPr>
        <p:spPr>
          <a:xfrm>
            <a:off x="0" y="0"/>
            <a:ext cx="3049200" cy="6858000"/>
          </a:xfrm>
          <a:prstGeom prst="rect">
            <a:avLst/>
          </a:prstGeom>
          <a:noFill/>
        </p:spPr>
        <p:txBody>
          <a:bodyPr vert="horz" lIns="288000" tIns="1188000" rIns="288000" bIns="0" rtlCol="0" anchor="ctr" anchorCtr="0">
            <a:noAutofit/>
          </a:bodyPr>
          <a:lstStyle>
            <a:lvl1pPr>
              <a:defRPr lang="en-GB" sz="1200" dirty="0">
                <a:solidFill>
                  <a:srgbClr val="E1E0DE"/>
                </a:solidFill>
              </a:defRPr>
            </a:lvl1pPr>
          </a:lstStyle>
          <a:p>
            <a:pPr lvl="0" algn="ctr"/>
            <a:r>
              <a:rPr lang="en-GB"/>
              <a:t>Click on icon if you wish to insert a picture in this section.</a:t>
            </a:r>
          </a:p>
        </p:txBody>
      </p:sp>
      <p:sp>
        <p:nvSpPr>
          <p:cNvPr id="13" name="Logo">
            <a:extLst>
              <a:ext uri="{FF2B5EF4-FFF2-40B4-BE49-F238E27FC236}">
                <a16:creationId xmlns:a16="http://schemas.microsoft.com/office/drawing/2014/main" id="{7EF8C207-A698-1BAB-38FB-92CFA8D84B1C}"/>
              </a:ext>
            </a:extLst>
          </p:cNvPr>
          <p:cNvSpPr>
            <a:spLocks noGrp="1" noRot="1" noChangeAspect="1" noMove="1" noResize="1" noEditPoints="1" noAdjustHandles="1" noChangeArrowheads="1" noChangeShapeType="1"/>
          </p:cNvSpPr>
          <p:nvPr>
            <p:custDataLst>
              <p:tags r:id="rId1"/>
            </p:custDataLst>
          </p:nvPr>
        </p:nvSpPr>
        <p:spPr bwMode="auto">
          <a:xfrm>
            <a:off x="3899939" y="2553825"/>
            <a:ext cx="489119" cy="216000"/>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419365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1923">
          <p15:clr>
            <a:srgbClr val="FFFFFF"/>
          </p15:clr>
        </p15:guide>
        <p15:guide id="4" orient="horz" pos="1071">
          <p15:clr>
            <a:srgbClr val="FFFF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 C3">
    <p:bg>
      <p:bgPr>
        <a:solidFill>
          <a:srgbClr val="1F2023"/>
        </a:solidFill>
        <a:effectLst/>
      </p:bgPr>
    </p:bg>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12192000" cy="6858000"/>
          </a:xfrm>
          <a:prstGeom prst="rect">
            <a:avLst/>
          </a:prstGeom>
          <a:solidFill>
            <a:srgbClr val="678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5" name="Colour block_Left">
            <a:extLst>
              <a:ext uri="{FF2B5EF4-FFF2-40B4-BE49-F238E27FC236}">
                <a16:creationId xmlns:a16="http://schemas.microsoft.com/office/drawing/2014/main" id="{83E18B63-ADB0-7292-3540-8E1581C5DAD3}"/>
              </a:ext>
            </a:extLst>
          </p:cNvPr>
          <p:cNvSpPr txBox="1">
            <a:spLocks noGrp="1" noRot="1" noMove="1" noResize="1" noEditPoints="1" noAdjustHandles="1" noChangeArrowheads="1" noChangeShapeType="1"/>
          </p:cNvSpPr>
          <p:nvPr/>
        </p:nvSpPr>
        <p:spPr>
          <a:xfrm>
            <a:off x="0" y="0"/>
            <a:ext cx="3049200" cy="6858000"/>
          </a:xfrm>
          <a:prstGeom prst="rect">
            <a:avLst/>
          </a:prstGeom>
          <a:solidFill>
            <a:srgbClr val="768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7" name="Colour block_Top">
            <a:extLst>
              <a:ext uri="{FF2B5EF4-FFF2-40B4-BE49-F238E27FC236}">
                <a16:creationId xmlns:a16="http://schemas.microsoft.com/office/drawing/2014/main" id="{F8DA1E39-CE4C-8DBA-06AF-83D8F2C4C6B3}"/>
              </a:ext>
            </a:extLst>
          </p:cNvPr>
          <p:cNvSpPr txBox="1">
            <a:spLocks noGrp="1" noRot="1" noMove="1" noResize="1" noEditPoints="1" noAdjustHandles="1" noChangeArrowheads="1" noChangeShapeType="1"/>
          </p:cNvSpPr>
          <p:nvPr/>
        </p:nvSpPr>
        <p:spPr>
          <a:xfrm>
            <a:off x="3048000" y="0"/>
            <a:ext cx="9144000" cy="1700213"/>
          </a:xfrm>
          <a:prstGeom prst="rect">
            <a:avLst/>
          </a:prstGeom>
          <a:solidFill>
            <a:srgbClr val="6F8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3863762" y="3185000"/>
            <a:ext cx="7488000" cy="1404000"/>
          </a:xfrm>
          <a:prstGeom prst="rect">
            <a:avLst/>
          </a:prstGeom>
        </p:spPr>
        <p:txBody>
          <a:bodyPr anchor="t"/>
          <a:lstStyle>
            <a:lvl1pPr algn="l">
              <a:lnSpc>
                <a:spcPct val="90000"/>
              </a:lnSpc>
              <a:defRPr sz="4400">
                <a:solidFill>
                  <a:schemeClr val="bg1"/>
                </a:solidFill>
                <a:latin typeface="Palatino Linotype" panose="02040502050505030304" pitchFamily="18" charset="0"/>
              </a:defRPr>
            </a:lvl1pPr>
          </a:lstStyle>
          <a:p>
            <a:r>
              <a:rPr lang="en-GB"/>
              <a:t>Click to insert (max two rows) presentation title.  </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3863762" y="4696318"/>
            <a:ext cx="7488000" cy="936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9" name="Date or author">
            <a:extLst>
              <a:ext uri="{FF2B5EF4-FFF2-40B4-BE49-F238E27FC236}">
                <a16:creationId xmlns:a16="http://schemas.microsoft.com/office/drawing/2014/main" id="{D2E8728A-6E4F-B803-102D-0CDB1E33EAA7}"/>
              </a:ext>
            </a:extLst>
          </p:cNvPr>
          <p:cNvSpPr>
            <a:spLocks noGrp="1"/>
          </p:cNvSpPr>
          <p:nvPr>
            <p:ph type="body" sz="quarter" idx="13" hasCustomPrompt="1"/>
          </p:nvPr>
        </p:nvSpPr>
        <p:spPr>
          <a:xfrm>
            <a:off x="5933177" y="6129238"/>
            <a:ext cx="5418585" cy="216000"/>
          </a:xfrm>
          <a:prstGeom prst="rect">
            <a:avLst/>
          </a:prstGeom>
        </p:spPr>
        <p:txBody>
          <a:bodyPr anchor="b"/>
          <a:lstStyle>
            <a:lvl1pPr>
              <a:lnSpc>
                <a:spcPct val="100000"/>
              </a:lnSpc>
              <a:spcAft>
                <a:spcPts val="0"/>
              </a:spcAf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23" name="Implement Consulting Group">
            <a:extLst>
              <a:ext uri="{FF2B5EF4-FFF2-40B4-BE49-F238E27FC236}">
                <a16:creationId xmlns:a16="http://schemas.microsoft.com/office/drawing/2014/main" id="{88744247-9195-84E0-CAB0-3CFFD023B463}"/>
              </a:ext>
            </a:extLst>
          </p:cNvPr>
          <p:cNvSpPr txBox="1">
            <a:spLocks noGrp="1" noRot="1" noMove="1" noResize="1" noEditPoints="1" noAdjustHandles="1" noChangeArrowheads="1" noChangeShapeType="1"/>
          </p:cNvSpPr>
          <p:nvPr/>
        </p:nvSpPr>
        <p:spPr>
          <a:xfrm>
            <a:off x="3863293" y="6129238"/>
            <a:ext cx="2069885" cy="216000"/>
          </a:xfrm>
          <a:prstGeom prst="rect">
            <a:avLst/>
          </a:prstGeom>
        </p:spPr>
        <p:txBody>
          <a:bodyPr vert="horz" lIns="0" tIns="0" rIns="0" bIns="0" rtlCol="0" anchor="b">
            <a:noAutofit/>
          </a:bodyPr>
          <a:lstStyle>
            <a:lvl1pPr lvl="0" indent="0">
              <a:lnSpc>
                <a:spcPct val="100000"/>
              </a:lnSpc>
              <a:spcBef>
                <a:spcPts val="0"/>
              </a:spcBef>
              <a:spcAft>
                <a:spcPts val="600"/>
              </a:spcAft>
              <a:buFont typeface="Arial" panose="020B0604020202020204" pitchFamily="34" charset="0"/>
              <a:buChar char="​"/>
              <a:defRPr sz="1200">
                <a:solidFill>
                  <a:schemeClr val="bg1"/>
                </a:solidFill>
              </a:defRPr>
            </a:lvl1pPr>
            <a:lvl2pPr marL="179388" indent="-179388">
              <a:lnSpc>
                <a:spcPct val="100000"/>
              </a:lnSpc>
              <a:spcBef>
                <a:spcPts val="0"/>
              </a:spcBef>
              <a:spcAft>
                <a:spcPts val="600"/>
              </a:spcAft>
              <a:buFont typeface="Arial" panose="020B0604020202020204" pitchFamily="34" charset="0"/>
              <a:buChar char="•"/>
              <a:defRPr sz="1200">
                <a:solidFill>
                  <a:schemeClr val="bg1"/>
                </a:solidFill>
              </a:defRPr>
            </a:lvl2pPr>
            <a:lvl3pPr marL="358775" indent="-179388">
              <a:lnSpc>
                <a:spcPct val="100000"/>
              </a:lnSpc>
              <a:spcBef>
                <a:spcPts val="0"/>
              </a:spcBef>
              <a:spcAft>
                <a:spcPts val="600"/>
              </a:spcAft>
              <a:buFont typeface="Calibri" panose="020F0502020204030204" pitchFamily="34" charset="0"/>
              <a:buChar char="–"/>
              <a:defRPr sz="1200">
                <a:solidFill>
                  <a:schemeClr val="bg1"/>
                </a:solidFill>
              </a:defRPr>
            </a:lvl3pPr>
            <a:lvl4pPr marL="179388" indent="-179388">
              <a:lnSpc>
                <a:spcPct val="100000"/>
              </a:lnSpc>
              <a:spcBef>
                <a:spcPts val="0"/>
              </a:spcBef>
              <a:spcAft>
                <a:spcPts val="600"/>
              </a:spcAft>
              <a:buFont typeface="+mj-lt"/>
              <a:buAutoNum type="arabicPeriod"/>
              <a:defRPr sz="1200">
                <a:solidFill>
                  <a:schemeClr val="bg1"/>
                </a:solidFill>
              </a:defRPr>
            </a:lvl4pPr>
            <a:lvl5pPr marL="358775" indent="-180975">
              <a:lnSpc>
                <a:spcPct val="100000"/>
              </a:lnSpc>
              <a:spcBef>
                <a:spcPts val="0"/>
              </a:spcBef>
              <a:spcAft>
                <a:spcPts val="600"/>
              </a:spcAft>
              <a:buFont typeface="+mj-lt"/>
              <a:buAutoNum type="alphaLcParenR"/>
              <a:tabLst/>
              <a:defRPr sz="1200">
                <a:solidFill>
                  <a:schemeClr val="bg1"/>
                </a:solidFill>
              </a:defRPr>
            </a:lvl5pPr>
            <a:lvl6pPr marL="0" indent="0">
              <a:lnSpc>
                <a:spcPct val="100000"/>
              </a:lnSpc>
              <a:spcBef>
                <a:spcPts val="0"/>
              </a:spcBef>
              <a:buFont typeface="Arial" panose="020B0604020202020204" pitchFamily="34" charset="0"/>
              <a:buChar char="​"/>
              <a:defRPr sz="3600"/>
            </a:lvl6pPr>
            <a:lvl7pPr marL="0" indent="0">
              <a:lnSpc>
                <a:spcPct val="100000"/>
              </a:lnSpc>
              <a:spcBef>
                <a:spcPts val="0"/>
              </a:spcBef>
              <a:buFont typeface="Arial" panose="020B0604020202020204" pitchFamily="34" charset="0"/>
              <a:buChar char="​"/>
              <a:defRPr sz="1200"/>
            </a:lvl7pPr>
            <a:lvl8pPr marL="179388" indent="-179388">
              <a:lnSpc>
                <a:spcPct val="100000"/>
              </a:lnSpc>
              <a:spcBef>
                <a:spcPts val="0"/>
              </a:spcBef>
              <a:buFont typeface="Arial" panose="020B0604020202020204" pitchFamily="34" charset="0"/>
              <a:buChar char="•"/>
              <a:defRPr sz="1200"/>
            </a:lvl8pPr>
            <a:lvl9pPr marL="0" indent="0">
              <a:lnSpc>
                <a:spcPct val="100000"/>
              </a:lnSpc>
              <a:spcBef>
                <a:spcPts val="600"/>
              </a:spcBef>
              <a:spcAft>
                <a:spcPts val="1200"/>
              </a:spcAft>
              <a:buFont typeface="Arial" panose="020B0604020202020204" pitchFamily="34" charset="0"/>
              <a:buChar char="​"/>
              <a:defRPr sz="800" i="0"/>
            </a:lvl9pPr>
          </a:lstStyle>
          <a:p>
            <a:pPr lvl="0">
              <a:lnSpc>
                <a:spcPct val="100000"/>
              </a:lnSpc>
              <a:spcAft>
                <a:spcPts val="0"/>
              </a:spcAft>
            </a:pPr>
            <a:r>
              <a:rPr lang="en-GB" noProof="0"/>
              <a:t>Implement Consulting Group •</a:t>
            </a:r>
          </a:p>
        </p:txBody>
      </p:sp>
      <p:sp>
        <p:nvSpPr>
          <p:cNvPr id="10" name="Picture Placeholder_Left">
            <a:extLst>
              <a:ext uri="{FF2B5EF4-FFF2-40B4-BE49-F238E27FC236}">
                <a16:creationId xmlns:a16="http://schemas.microsoft.com/office/drawing/2014/main" id="{CEB64B33-913C-2726-5B77-26728775A45E}"/>
              </a:ext>
            </a:extLst>
          </p:cNvPr>
          <p:cNvSpPr>
            <a:spLocks noGrp="1"/>
          </p:cNvSpPr>
          <p:nvPr>
            <p:ph type="pic" sz="quarter" idx="12" hasCustomPrompt="1"/>
          </p:nvPr>
        </p:nvSpPr>
        <p:spPr>
          <a:xfrm>
            <a:off x="0" y="0"/>
            <a:ext cx="3049200" cy="6858000"/>
          </a:xfrm>
          <a:prstGeom prst="rect">
            <a:avLst/>
          </a:prstGeom>
          <a:noFill/>
        </p:spPr>
        <p:txBody>
          <a:bodyPr vert="horz" lIns="288000" tIns="1188000" rIns="288000" bIns="0" rtlCol="0" anchor="ctr" anchorCtr="0">
            <a:noAutofit/>
          </a:bodyPr>
          <a:lstStyle>
            <a:lvl1pPr>
              <a:defRPr lang="en-GB" sz="1200" dirty="0">
                <a:solidFill>
                  <a:srgbClr val="E1E0DE"/>
                </a:solidFill>
              </a:defRPr>
            </a:lvl1pPr>
          </a:lstStyle>
          <a:p>
            <a:pPr lvl="0" algn="ctr"/>
            <a:r>
              <a:rPr lang="en-GB"/>
              <a:t>Click on icon if you wish to insert a picture in this section.</a:t>
            </a:r>
          </a:p>
        </p:txBody>
      </p:sp>
      <p:sp>
        <p:nvSpPr>
          <p:cNvPr id="13" name="Logo">
            <a:extLst>
              <a:ext uri="{FF2B5EF4-FFF2-40B4-BE49-F238E27FC236}">
                <a16:creationId xmlns:a16="http://schemas.microsoft.com/office/drawing/2014/main" id="{7EF8C207-A698-1BAB-38FB-92CFA8D84B1C}"/>
              </a:ext>
            </a:extLst>
          </p:cNvPr>
          <p:cNvSpPr>
            <a:spLocks noGrp="1" noRot="1" noChangeAspect="1" noMove="1" noResize="1" noEditPoints="1" noAdjustHandles="1" noChangeArrowheads="1" noChangeShapeType="1"/>
          </p:cNvSpPr>
          <p:nvPr>
            <p:custDataLst>
              <p:tags r:id="rId1"/>
            </p:custDataLst>
          </p:nvPr>
        </p:nvSpPr>
        <p:spPr bwMode="auto">
          <a:xfrm>
            <a:off x="3899939" y="2553825"/>
            <a:ext cx="489119" cy="216000"/>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58864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1923">
          <p15:clr>
            <a:srgbClr val="FFFFFF"/>
          </p15:clr>
        </p15:guide>
        <p15:guide id="4" orient="horz" pos="1071">
          <p15:clr>
            <a:srgbClr val="FFFF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Divider A">
    <p:bg>
      <p:bgPr>
        <a:solidFill>
          <a:srgbClr val="F8F4E7"/>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00AED8E4-E277-69DD-FCA1-50DED621FD14}"/>
              </a:ext>
            </a:extLst>
          </p:cNvPr>
          <p:cNvSpPr>
            <a:spLocks noGrp="1"/>
          </p:cNvSpPr>
          <p:nvPr>
            <p:ph type="pic" sz="quarter" idx="13" hasCustomPrompt="1"/>
          </p:nvPr>
        </p:nvSpPr>
        <p:spPr>
          <a:xfrm>
            <a:off x="0" y="0"/>
            <a:ext cx="12192000" cy="3429000"/>
          </a:xfrm>
          <a:solidFill>
            <a:srgbClr val="E1E0DE"/>
          </a:solidFill>
        </p:spPr>
        <p:txBody>
          <a:bodyPr anchor="ctr"/>
          <a:lstStyle>
            <a:lvl1pPr algn="ctr">
              <a:defRPr/>
            </a:lvl1pPr>
          </a:lstStyle>
          <a:p>
            <a:r>
              <a:rPr lang="en-GB"/>
              <a:t>Click on icon to insert picture</a:t>
            </a:r>
          </a:p>
        </p:txBody>
      </p:sp>
      <p:sp>
        <p:nvSpPr>
          <p:cNvPr id="16" name="Title">
            <a:extLst>
              <a:ext uri="{FF2B5EF4-FFF2-40B4-BE49-F238E27FC236}">
                <a16:creationId xmlns:a16="http://schemas.microsoft.com/office/drawing/2014/main" id="{18AFD493-97DC-C29A-7FB7-12EEC5BA57DC}"/>
              </a:ext>
            </a:extLst>
          </p:cNvPr>
          <p:cNvSpPr>
            <a:spLocks noGrp="1"/>
          </p:cNvSpPr>
          <p:nvPr>
            <p:ph type="ctrTitle" hasCustomPrompt="1"/>
          </p:nvPr>
        </p:nvSpPr>
        <p:spPr>
          <a:xfrm>
            <a:off x="540822" y="3689176"/>
            <a:ext cx="5564529" cy="2772000"/>
          </a:xfrm>
          <a:prstGeom prst="rect">
            <a:avLst/>
          </a:prstGeom>
        </p:spPr>
        <p:txBody>
          <a:bodyPr anchor="b"/>
          <a:lstStyle>
            <a:lvl1pPr algn="l">
              <a:lnSpc>
                <a:spcPct val="85000"/>
              </a:lnSpc>
              <a:spcAft>
                <a:spcPts val="0"/>
              </a:spcAft>
              <a:defRPr sz="4400">
                <a:solidFill>
                  <a:srgbClr val="30373B"/>
                </a:solidFill>
                <a:latin typeface="Palatino Linotype" panose="02040502050505030304" pitchFamily="18" charset="0"/>
              </a:defRPr>
            </a:lvl1pPr>
          </a:lstStyle>
          <a:p>
            <a:r>
              <a:rPr lang="en-GB"/>
              <a:t>Click to insert title</a:t>
            </a:r>
          </a:p>
        </p:txBody>
      </p:sp>
      <p:sp>
        <p:nvSpPr>
          <p:cNvPr id="12" name="Text Placeholder">
            <a:extLst>
              <a:ext uri="{FF2B5EF4-FFF2-40B4-BE49-F238E27FC236}">
                <a16:creationId xmlns:a16="http://schemas.microsoft.com/office/drawing/2014/main" id="{0EFE4D51-1DCE-1E0C-914A-6CF4A40016A1}"/>
              </a:ext>
            </a:extLst>
          </p:cNvPr>
          <p:cNvSpPr>
            <a:spLocks noGrp="1"/>
          </p:cNvSpPr>
          <p:nvPr>
            <p:ph type="body" sz="quarter" idx="12"/>
          </p:nvPr>
        </p:nvSpPr>
        <p:spPr>
          <a:xfrm>
            <a:off x="9291911" y="3689177"/>
            <a:ext cx="2628000" cy="1440000"/>
          </a:xfrm>
        </p:spPr>
        <p:txBody>
          <a:bodyPr/>
          <a:lstStyle>
            <a:lvl1pPr algn="r">
              <a:defRPr sz="1000">
                <a:solidFill>
                  <a:srgbClr val="A8A5A1"/>
                </a:solidFill>
              </a:defRPr>
            </a:lvl1pPr>
            <a:lvl2pPr algn="r">
              <a:defRPr sz="1000">
                <a:solidFill>
                  <a:srgbClr val="A8A5A1"/>
                </a:solidFill>
              </a:defRPr>
            </a:lvl2pPr>
            <a:lvl3pPr algn="r">
              <a:defRPr sz="1000">
                <a:solidFill>
                  <a:srgbClr val="A8A5A1"/>
                </a:solidFill>
              </a:defRPr>
            </a:lvl3pPr>
            <a:lvl4pPr algn="r">
              <a:defRPr sz="1000">
                <a:solidFill>
                  <a:srgbClr val="A8A5A1"/>
                </a:solidFill>
              </a:defRPr>
            </a:lvl4pPr>
            <a:lvl5pPr algn="r">
              <a:defRPr sz="1000">
                <a:solidFill>
                  <a:srgbClr val="A8A5A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ogo">
            <a:extLst>
              <a:ext uri="{FF2B5EF4-FFF2-40B4-BE49-F238E27FC236}">
                <a16:creationId xmlns:a16="http://schemas.microsoft.com/office/drawing/2014/main" id="{AF5C9235-EB63-5F46-88AE-BFCECE2A3A0E}"/>
              </a:ext>
            </a:extLst>
          </p:cNvPr>
          <p:cNvSpPr>
            <a:spLocks noGrp="1" noRot="1" noChangeAspect="1" noMove="1" noResize="1" noEditPoints="1" noAdjustHandles="1" noChangeArrowheads="1" noChangeShapeType="1"/>
          </p:cNvSpPr>
          <p:nvPr>
            <p:ph type="body" sz="quarter" idx="16" hasCustomPrompt="1"/>
          </p:nvPr>
        </p:nvSpPr>
        <p:spPr>
          <a:xfrm>
            <a:off x="11773250" y="273384"/>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105954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Divider B">
    <p:bg>
      <p:bgPr>
        <a:solidFill>
          <a:srgbClr val="30373B"/>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00AED8E4-E277-69DD-FCA1-50DED621FD14}"/>
              </a:ext>
            </a:extLst>
          </p:cNvPr>
          <p:cNvSpPr>
            <a:spLocks noGrp="1"/>
          </p:cNvSpPr>
          <p:nvPr>
            <p:ph type="pic" sz="quarter" idx="13" hasCustomPrompt="1"/>
          </p:nvPr>
        </p:nvSpPr>
        <p:spPr>
          <a:xfrm>
            <a:off x="0" y="0"/>
            <a:ext cx="12192000" cy="3429000"/>
          </a:xfrm>
          <a:solidFill>
            <a:srgbClr val="1F2023"/>
          </a:solidFill>
        </p:spPr>
        <p:txBody>
          <a:bodyPr anchor="ctr"/>
          <a:lstStyle>
            <a:lvl1pPr algn="ctr">
              <a:defRPr>
                <a:solidFill>
                  <a:schemeClr val="bg1"/>
                </a:solidFill>
              </a:defRPr>
            </a:lvl1pPr>
          </a:lstStyle>
          <a:p>
            <a:r>
              <a:rPr lang="en-GB"/>
              <a:t>Click on icon to insert picture</a:t>
            </a:r>
          </a:p>
        </p:txBody>
      </p:sp>
      <p:sp>
        <p:nvSpPr>
          <p:cNvPr id="8" name="Title">
            <a:extLst>
              <a:ext uri="{FF2B5EF4-FFF2-40B4-BE49-F238E27FC236}">
                <a16:creationId xmlns:a16="http://schemas.microsoft.com/office/drawing/2014/main" id="{167B4970-362E-65C6-0D31-93F97DB8E7E4}"/>
              </a:ext>
            </a:extLst>
          </p:cNvPr>
          <p:cNvSpPr>
            <a:spLocks noGrp="1"/>
          </p:cNvSpPr>
          <p:nvPr>
            <p:ph type="ctrTitle" hasCustomPrompt="1"/>
          </p:nvPr>
        </p:nvSpPr>
        <p:spPr>
          <a:xfrm>
            <a:off x="540822" y="3689176"/>
            <a:ext cx="5564529" cy="2772000"/>
          </a:xfrm>
          <a:prstGeom prst="rect">
            <a:avLst/>
          </a:prstGeom>
        </p:spPr>
        <p:txBody>
          <a:bodyPr anchor="b"/>
          <a:lstStyle>
            <a:lvl1pPr algn="l">
              <a:lnSpc>
                <a:spcPct val="85000"/>
              </a:lnSpc>
              <a:spcAft>
                <a:spcPts val="0"/>
              </a:spcAft>
              <a:defRPr sz="4400">
                <a:solidFill>
                  <a:schemeClr val="bg1"/>
                </a:solidFill>
                <a:latin typeface="Palatino Linotype" panose="02040502050505030304" pitchFamily="18" charset="0"/>
              </a:defRPr>
            </a:lvl1pPr>
          </a:lstStyle>
          <a:p>
            <a:r>
              <a:rPr lang="en-GB"/>
              <a:t>Click to insert title</a:t>
            </a:r>
          </a:p>
        </p:txBody>
      </p:sp>
      <p:sp>
        <p:nvSpPr>
          <p:cNvPr id="9" name="Text Placeholder">
            <a:extLst>
              <a:ext uri="{FF2B5EF4-FFF2-40B4-BE49-F238E27FC236}">
                <a16:creationId xmlns:a16="http://schemas.microsoft.com/office/drawing/2014/main" id="{36929254-A66A-00A4-A951-D85A959970DF}"/>
              </a:ext>
            </a:extLst>
          </p:cNvPr>
          <p:cNvSpPr>
            <a:spLocks noGrp="1"/>
          </p:cNvSpPr>
          <p:nvPr>
            <p:ph type="body" sz="quarter" idx="12"/>
          </p:nvPr>
        </p:nvSpPr>
        <p:spPr>
          <a:xfrm>
            <a:off x="9291911" y="3689177"/>
            <a:ext cx="2628000" cy="1440000"/>
          </a:xfrm>
        </p:spPr>
        <p:txBody>
          <a:bodyPr/>
          <a:lstStyle>
            <a:lvl1pPr algn="r">
              <a:defRPr sz="1000">
                <a:solidFill>
                  <a:srgbClr val="A8A5A1"/>
                </a:solidFill>
              </a:defRPr>
            </a:lvl1pPr>
            <a:lvl2pPr algn="r">
              <a:defRPr sz="1000">
                <a:solidFill>
                  <a:srgbClr val="A8A5A1"/>
                </a:solidFill>
              </a:defRPr>
            </a:lvl2pPr>
            <a:lvl3pPr algn="r">
              <a:defRPr sz="1000">
                <a:solidFill>
                  <a:srgbClr val="A8A5A1"/>
                </a:solidFill>
              </a:defRPr>
            </a:lvl3pPr>
            <a:lvl4pPr algn="r">
              <a:defRPr sz="1000">
                <a:solidFill>
                  <a:srgbClr val="A8A5A1"/>
                </a:solidFill>
              </a:defRPr>
            </a:lvl4pPr>
            <a:lvl5pPr algn="r">
              <a:defRPr sz="1000">
                <a:solidFill>
                  <a:srgbClr val="A8A5A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Logo">
            <a:extLst>
              <a:ext uri="{FF2B5EF4-FFF2-40B4-BE49-F238E27FC236}">
                <a16:creationId xmlns:a16="http://schemas.microsoft.com/office/drawing/2014/main" id="{12777B9B-5689-1952-8006-26C88C1048A3}"/>
              </a:ext>
            </a:extLst>
          </p:cNvPr>
          <p:cNvSpPr>
            <a:spLocks noGrp="1" noRot="1" noChangeAspect="1" noMove="1" noResize="1" noEditPoints="1" noAdjustHandles="1" noChangeArrowheads="1" noChangeShapeType="1"/>
          </p:cNvSpPr>
          <p:nvPr>
            <p:ph type="body" sz="quarter" idx="16" hasCustomPrompt="1"/>
          </p:nvPr>
        </p:nvSpPr>
        <p:spPr>
          <a:xfrm>
            <a:off x="11773250" y="273384"/>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373181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B0751AEF-1843-451A-9418-F0E0C3DC69E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0248BF5A-3EA4-44A2-85A9-D816B038DD0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35761726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ext and Number">
    <p:bg>
      <p:bgPr>
        <a:solidFill>
          <a:srgbClr val="E1C1B5"/>
        </a:solidFill>
        <a:effectLst/>
      </p:bgPr>
    </p:bg>
    <p:spTree>
      <p:nvGrpSpPr>
        <p:cNvPr id="1" name=""/>
        <p:cNvGrpSpPr/>
        <p:nvPr/>
      </p:nvGrpSpPr>
      <p:grpSpPr>
        <a:xfrm>
          <a:off x="0" y="0"/>
          <a:ext cx="0" cy="0"/>
          <a:chOff x="0" y="0"/>
          <a:chExt cx="0" cy="0"/>
        </a:xfrm>
      </p:grpSpPr>
      <p:sp>
        <p:nvSpPr>
          <p:cNvPr id="8" name="Text Palatino">
            <a:extLst>
              <a:ext uri="{FF2B5EF4-FFF2-40B4-BE49-F238E27FC236}">
                <a16:creationId xmlns:a16="http://schemas.microsoft.com/office/drawing/2014/main" id="{4DF46CF1-D4A6-F44B-DB1B-5E8718107711}"/>
              </a:ext>
            </a:extLst>
          </p:cNvPr>
          <p:cNvSpPr>
            <a:spLocks noGrp="1"/>
          </p:cNvSpPr>
          <p:nvPr>
            <p:ph type="body" sz="quarter" idx="12" hasCustomPrompt="1"/>
          </p:nvPr>
        </p:nvSpPr>
        <p:spPr>
          <a:xfrm>
            <a:off x="6096000" y="3556698"/>
            <a:ext cx="6096000" cy="3301301"/>
          </a:xfrm>
        </p:spPr>
        <p:txBody>
          <a:bodyPr lIns="0" tIns="324000" rIns="144000" anchor="ctr"/>
          <a:lstStyle>
            <a:lvl1pPr algn="r">
              <a:defRPr sz="30000">
                <a:solidFill>
                  <a:schemeClr val="bg1"/>
                </a:solidFill>
                <a:latin typeface="Palatino Linotype" panose="02040502050505030304" pitchFamily="18" charset="0"/>
              </a:defRPr>
            </a:lvl1pPr>
            <a:lvl2pPr algn="r">
              <a:defRPr sz="30000">
                <a:solidFill>
                  <a:schemeClr val="bg1"/>
                </a:solidFill>
                <a:latin typeface="Palatino Linotype" panose="02040502050505030304" pitchFamily="18" charset="0"/>
              </a:defRPr>
            </a:lvl2pPr>
            <a:lvl3pPr algn="r">
              <a:defRPr sz="30000">
                <a:solidFill>
                  <a:schemeClr val="bg1"/>
                </a:solidFill>
                <a:latin typeface="Palatino Linotype" panose="02040502050505030304" pitchFamily="18" charset="0"/>
              </a:defRPr>
            </a:lvl3pPr>
            <a:lvl4pPr algn="r">
              <a:defRPr sz="30000">
                <a:solidFill>
                  <a:schemeClr val="bg1"/>
                </a:solidFill>
                <a:latin typeface="Palatino Linotype" panose="02040502050505030304" pitchFamily="18" charset="0"/>
              </a:defRPr>
            </a:lvl4pPr>
            <a:lvl5pPr algn="r">
              <a:defRPr sz="30000">
                <a:solidFill>
                  <a:schemeClr val="bg1"/>
                </a:solidFill>
                <a:latin typeface="Palatino Linotype" panose="02040502050505030304" pitchFamily="18" charset="0"/>
              </a:defRPr>
            </a:lvl5pPr>
          </a:lstStyle>
          <a:p>
            <a:pPr lvl="0"/>
            <a:r>
              <a:rPr lang="en-GB"/>
              <a:t>##</a:t>
            </a:r>
          </a:p>
        </p:txBody>
      </p:sp>
      <p:sp>
        <p:nvSpPr>
          <p:cNvPr id="10" name="Text Arial">
            <a:extLst>
              <a:ext uri="{FF2B5EF4-FFF2-40B4-BE49-F238E27FC236}">
                <a16:creationId xmlns:a16="http://schemas.microsoft.com/office/drawing/2014/main" id="{27A8D54D-63F4-0E16-D668-DCFFFAED3879}"/>
              </a:ext>
            </a:extLst>
          </p:cNvPr>
          <p:cNvSpPr>
            <a:spLocks noGrp="1"/>
          </p:cNvSpPr>
          <p:nvPr>
            <p:ph type="body" sz="quarter" idx="13" hasCustomPrompt="1"/>
          </p:nvPr>
        </p:nvSpPr>
        <p:spPr>
          <a:xfrm>
            <a:off x="286155" y="289330"/>
            <a:ext cx="5809845" cy="3139669"/>
          </a:xfrm>
        </p:spPr>
        <p:txBody>
          <a:bodyPr/>
          <a:lstStyle>
            <a:lvl1pPr>
              <a:defRPr sz="2800"/>
            </a:lvl1pPr>
            <a:lvl2pPr>
              <a:defRPr sz="2800"/>
            </a:lvl2pPr>
            <a:lvl3pPr>
              <a:defRPr sz="2800"/>
            </a:lvl3pPr>
            <a:lvl4pPr>
              <a:defRPr sz="2800"/>
            </a:lvl4pPr>
            <a:lvl5pPr>
              <a:defRPr sz="2800"/>
            </a:lvl5pPr>
          </a:lstStyle>
          <a:p>
            <a:pPr lvl="0"/>
            <a:r>
              <a:rPr lang="en-GB"/>
              <a:t>Click to edit text</a:t>
            </a:r>
          </a:p>
        </p:txBody>
      </p:sp>
      <p:sp>
        <p:nvSpPr>
          <p:cNvPr id="15" name="Logo">
            <a:extLst>
              <a:ext uri="{FF2B5EF4-FFF2-40B4-BE49-F238E27FC236}">
                <a16:creationId xmlns:a16="http://schemas.microsoft.com/office/drawing/2014/main" id="{ABF9A0D3-0C05-8DD8-0311-FFD7CD2063B5}"/>
              </a:ext>
            </a:extLst>
          </p:cNvPr>
          <p:cNvSpPr>
            <a:spLocks noGrp="1" noRot="1" noChangeAspect="1" noMove="1" noResize="1" noEditPoints="1" noAdjustHandles="1" noChangeArrowheads="1" noChangeShapeType="1"/>
          </p:cNvSpPr>
          <p:nvPr>
            <p:ph type="body" sz="quarter" idx="16" hasCustomPrompt="1"/>
          </p:nvPr>
        </p:nvSpPr>
        <p:spPr>
          <a:xfrm>
            <a:off x="11773250" y="273384"/>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2013302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D6D48FE-FAA1-410E-B865-7C0F0038A9BC}"/>
              </a:ext>
            </a:extLst>
          </p:cNvPr>
          <p:cNvSpPr>
            <a:spLocks noGrp="1"/>
          </p:cNvSpPr>
          <p:nvPr>
            <p:ph type="title"/>
          </p:nvPr>
        </p:nvSpPr>
        <p:spPr/>
        <p:txBody>
          <a:bodyPr/>
          <a:lstStyle>
            <a:lvl1pPr>
              <a:defRPr sz="2400"/>
            </a:lvl1pPr>
          </a:lstStyle>
          <a:p>
            <a:r>
              <a:rPr lang="en-US"/>
              <a:t>Click to edit Master title style</a:t>
            </a:r>
            <a:endParaRPr lang="en-GB"/>
          </a:p>
        </p:txBody>
      </p:sp>
      <p:sp>
        <p:nvSpPr>
          <p:cNvPr id="5" name="Notes">
            <a:extLst>
              <a:ext uri="{FF2B5EF4-FFF2-40B4-BE49-F238E27FC236}">
                <a16:creationId xmlns:a16="http://schemas.microsoft.com/office/drawing/2014/main" id="{A53CCC3D-CBE4-4DE4-A559-A6D59E75C0BC}"/>
              </a:ext>
            </a:extLst>
          </p:cNvPr>
          <p:cNvSpPr>
            <a:spLocks noGrp="1"/>
          </p:cNvSpPr>
          <p:nvPr>
            <p:ph type="body" sz="quarter" idx="13" hasCustomPrompt="1"/>
          </p:nvPr>
        </p:nvSpPr>
        <p:spPr>
          <a:xfrm>
            <a:off x="269999" y="6501600"/>
            <a:ext cx="8352000"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
        <p:nvSpPr>
          <p:cNvPr id="4" name="Tracker" hidden="1">
            <a:extLst>
              <a:ext uri="{FF2B5EF4-FFF2-40B4-BE49-F238E27FC236}">
                <a16:creationId xmlns:a16="http://schemas.microsoft.com/office/drawing/2014/main" id="{5F854CA0-6C2B-3D8C-6EF5-30080F6B73DE}"/>
              </a:ext>
            </a:extLst>
          </p:cNvPr>
          <p:cNvSpPr>
            <a:spLocks noGrp="1"/>
          </p:cNvSpPr>
          <p:nvPr>
            <p:ph type="body" sz="quarter" idx="15" hasCustomPrompt="1"/>
          </p:nvPr>
        </p:nvSpPr>
        <p:spPr>
          <a:xfrm>
            <a:off x="8873087" y="6501600"/>
            <a:ext cx="2435522" cy="106116"/>
          </a:xfrm>
        </p:spPr>
        <p:txBody>
          <a:bodyPr rIns="0" anchor="b" anchorCtr="0"/>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67957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A1E6136-F9A7-4947-97C0-902F4001D0EB}"/>
              </a:ext>
            </a:extLst>
          </p:cNvPr>
          <p:cNvSpPr>
            <a:spLocks noGrp="1"/>
          </p:cNvSpPr>
          <p:nvPr>
            <p:ph type="title"/>
          </p:nvPr>
        </p:nvSpPr>
        <p:spPr/>
        <p:txBody>
          <a:bodyPr/>
          <a:lstStyle>
            <a:lvl1pPr>
              <a:defRPr sz="2400"/>
            </a:lvl1pPr>
          </a:lstStyle>
          <a:p>
            <a:r>
              <a:rPr lang="en-US"/>
              <a:t>Click to edit Master title style</a:t>
            </a:r>
            <a:endParaRPr lang="en-GB"/>
          </a:p>
        </p:txBody>
      </p:sp>
      <p:sp>
        <p:nvSpPr>
          <p:cNvPr id="5" name="Content Placeholder">
            <a:extLst>
              <a:ext uri="{FF2B5EF4-FFF2-40B4-BE49-F238E27FC236}">
                <a16:creationId xmlns:a16="http://schemas.microsoft.com/office/drawing/2014/main" id="{12FCCE46-8C35-87EB-74C8-6F400C0A8C45}"/>
              </a:ext>
            </a:extLst>
          </p:cNvPr>
          <p:cNvSpPr>
            <a:spLocks noGrp="1"/>
          </p:cNvSpPr>
          <p:nvPr>
            <p:ph sz="quarter" idx="15"/>
          </p:nvPr>
        </p:nvSpPr>
        <p:spPr>
          <a:xfrm>
            <a:off x="269875" y="1627188"/>
            <a:ext cx="11649075" cy="4689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Notes">
            <a:extLst>
              <a:ext uri="{FF2B5EF4-FFF2-40B4-BE49-F238E27FC236}">
                <a16:creationId xmlns:a16="http://schemas.microsoft.com/office/drawing/2014/main" id="{DA03DEA2-B734-4E1A-989A-B985B71743C5}"/>
              </a:ext>
            </a:extLst>
          </p:cNvPr>
          <p:cNvSpPr>
            <a:spLocks noGrp="1" noRot="1" noMove="1" noResize="1" noEditPoints="1" noAdjustHandles="1" noChangeArrowheads="1" noChangeShapeType="1"/>
          </p:cNvSpPr>
          <p:nvPr>
            <p:ph type="body" sz="quarter" idx="13" hasCustomPrompt="1"/>
          </p:nvPr>
        </p:nvSpPr>
        <p:spPr>
          <a:xfrm>
            <a:off x="269999" y="6501600"/>
            <a:ext cx="8362597"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Tree>
    <p:extLst>
      <p:ext uri="{BB962C8B-B14F-4D97-AF65-F5344CB8AC3E}">
        <p14:creationId xmlns:p14="http://schemas.microsoft.com/office/powerpoint/2010/main" val="195884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Offwhite">
    <p:bg>
      <p:bgPr>
        <a:solidFill>
          <a:srgbClr val="F9F7EC"/>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A1E6136-F9A7-4947-97C0-902F4001D0EB}"/>
              </a:ext>
            </a:extLst>
          </p:cNvPr>
          <p:cNvSpPr>
            <a:spLocks noGrp="1"/>
          </p:cNvSpPr>
          <p:nvPr>
            <p:ph type="title"/>
          </p:nvPr>
        </p:nvSpPr>
        <p:spPr/>
        <p:txBody>
          <a:bodyPr/>
          <a:lstStyle>
            <a:lvl1pPr>
              <a:defRPr sz="2400"/>
            </a:lvl1pPr>
          </a:lstStyle>
          <a:p>
            <a:r>
              <a:rPr lang="en-US"/>
              <a:t>Click to edit Master title style</a:t>
            </a:r>
            <a:endParaRPr lang="en-GB"/>
          </a:p>
        </p:txBody>
      </p:sp>
      <p:sp>
        <p:nvSpPr>
          <p:cNvPr id="4" name="Content Placeholder">
            <a:extLst>
              <a:ext uri="{FF2B5EF4-FFF2-40B4-BE49-F238E27FC236}">
                <a16:creationId xmlns:a16="http://schemas.microsoft.com/office/drawing/2014/main" id="{0C2EE1C3-7695-4AF2-3D54-A460B4B28A54}"/>
              </a:ext>
            </a:extLst>
          </p:cNvPr>
          <p:cNvSpPr>
            <a:spLocks noGrp="1"/>
          </p:cNvSpPr>
          <p:nvPr>
            <p:ph sz="quarter" idx="15"/>
          </p:nvPr>
        </p:nvSpPr>
        <p:spPr>
          <a:xfrm>
            <a:off x="269875" y="1627188"/>
            <a:ext cx="11649075" cy="4689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Notes">
            <a:extLst>
              <a:ext uri="{FF2B5EF4-FFF2-40B4-BE49-F238E27FC236}">
                <a16:creationId xmlns:a16="http://schemas.microsoft.com/office/drawing/2014/main" id="{7486F436-B05F-4146-AD9A-F93743801C46}"/>
              </a:ext>
            </a:extLst>
          </p:cNvPr>
          <p:cNvSpPr>
            <a:spLocks noGrp="1"/>
          </p:cNvSpPr>
          <p:nvPr>
            <p:ph type="body" sz="quarter" idx="13" hasCustomPrompt="1"/>
          </p:nvPr>
        </p:nvSpPr>
        <p:spPr>
          <a:xfrm>
            <a:off x="269999" y="6501600"/>
            <a:ext cx="8362597"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Tree>
    <p:extLst>
      <p:ext uri="{BB962C8B-B14F-4D97-AF65-F5344CB8AC3E}">
        <p14:creationId xmlns:p14="http://schemas.microsoft.com/office/powerpoint/2010/main" val="2084829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 Light">
    <p:bg>
      <p:bgPr>
        <a:solidFill>
          <a:srgbClr val="E1E0DE"/>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A1E6136-F9A7-4947-97C0-902F4001D0EB}"/>
              </a:ext>
            </a:extLst>
          </p:cNvPr>
          <p:cNvSpPr>
            <a:spLocks noGrp="1"/>
          </p:cNvSpPr>
          <p:nvPr>
            <p:ph type="title"/>
          </p:nvPr>
        </p:nvSpPr>
        <p:spPr/>
        <p:txBody>
          <a:bodyPr/>
          <a:lstStyle>
            <a:lvl1pPr>
              <a:defRPr sz="2400"/>
            </a:lvl1pPr>
          </a:lstStyle>
          <a:p>
            <a:r>
              <a:rPr lang="en-US"/>
              <a:t>Click to edit Master title style</a:t>
            </a:r>
            <a:endParaRPr lang="en-GB"/>
          </a:p>
        </p:txBody>
      </p:sp>
      <p:sp>
        <p:nvSpPr>
          <p:cNvPr id="4" name="Content Placeholder">
            <a:extLst>
              <a:ext uri="{FF2B5EF4-FFF2-40B4-BE49-F238E27FC236}">
                <a16:creationId xmlns:a16="http://schemas.microsoft.com/office/drawing/2014/main" id="{0C2EE1C3-7695-4AF2-3D54-A460B4B28A54}"/>
              </a:ext>
            </a:extLst>
          </p:cNvPr>
          <p:cNvSpPr>
            <a:spLocks noGrp="1"/>
          </p:cNvSpPr>
          <p:nvPr>
            <p:ph sz="quarter" idx="15"/>
          </p:nvPr>
        </p:nvSpPr>
        <p:spPr>
          <a:xfrm>
            <a:off x="269875" y="1627188"/>
            <a:ext cx="11649075" cy="4689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Notes">
            <a:extLst>
              <a:ext uri="{FF2B5EF4-FFF2-40B4-BE49-F238E27FC236}">
                <a16:creationId xmlns:a16="http://schemas.microsoft.com/office/drawing/2014/main" id="{7486F436-B05F-4146-AD9A-F93743801C46}"/>
              </a:ext>
            </a:extLst>
          </p:cNvPr>
          <p:cNvSpPr>
            <a:spLocks noGrp="1"/>
          </p:cNvSpPr>
          <p:nvPr>
            <p:ph type="body" sz="quarter" idx="13" hasCustomPrompt="1"/>
          </p:nvPr>
        </p:nvSpPr>
        <p:spPr>
          <a:xfrm>
            <a:off x="269999" y="6501600"/>
            <a:ext cx="8362597"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
        <p:nvSpPr>
          <p:cNvPr id="5" name="Tracker" hidden="1">
            <a:extLst>
              <a:ext uri="{FF2B5EF4-FFF2-40B4-BE49-F238E27FC236}">
                <a16:creationId xmlns:a16="http://schemas.microsoft.com/office/drawing/2014/main" id="{1E84003D-D978-30A3-35FB-387A9868EDC4}"/>
              </a:ext>
            </a:extLst>
          </p:cNvPr>
          <p:cNvSpPr>
            <a:spLocks noGrp="1"/>
          </p:cNvSpPr>
          <p:nvPr>
            <p:ph type="body" sz="quarter" idx="14" hasCustomPrompt="1"/>
          </p:nvPr>
        </p:nvSpPr>
        <p:spPr>
          <a:xfrm>
            <a:off x="8873087" y="6501600"/>
            <a:ext cx="2435522" cy="106116"/>
          </a:xfrm>
        </p:spPr>
        <p:txBody>
          <a:bodyPr rIns="0" anchor="b" anchorCtr="0"/>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67385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and Content Dark">
    <p:bg>
      <p:bgPr>
        <a:solidFill>
          <a:srgbClr val="30373B"/>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FA116340-6D16-AB6E-B1A3-7A85A33F339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Content Placeholder">
            <a:extLst>
              <a:ext uri="{FF2B5EF4-FFF2-40B4-BE49-F238E27FC236}">
                <a16:creationId xmlns:a16="http://schemas.microsoft.com/office/drawing/2014/main" id="{41CF5236-E3C9-75A5-82C7-9A3E628C1214}"/>
              </a:ext>
            </a:extLst>
          </p:cNvPr>
          <p:cNvSpPr>
            <a:spLocks noGrp="1"/>
          </p:cNvSpPr>
          <p:nvPr>
            <p:ph sz="quarter" idx="15"/>
          </p:nvPr>
        </p:nvSpPr>
        <p:spPr>
          <a:xfrm>
            <a:off x="269875" y="1627188"/>
            <a:ext cx="11648646" cy="46894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Notes">
            <a:extLst>
              <a:ext uri="{FF2B5EF4-FFF2-40B4-BE49-F238E27FC236}">
                <a16:creationId xmlns:a16="http://schemas.microsoft.com/office/drawing/2014/main" id="{B6F92577-3CFC-4FC2-9764-55A1719CA561}"/>
              </a:ext>
            </a:extLst>
          </p:cNvPr>
          <p:cNvSpPr>
            <a:spLocks noGrp="1"/>
          </p:cNvSpPr>
          <p:nvPr>
            <p:ph type="body" sz="quarter" idx="13" hasCustomPrompt="1"/>
          </p:nvPr>
        </p:nvSpPr>
        <p:spPr>
          <a:xfrm>
            <a:off x="269999" y="6501600"/>
            <a:ext cx="8362597"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chemeClr val="bg1"/>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F8F5E7"/>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F8F5E7"/>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
        <p:nvSpPr>
          <p:cNvPr id="5" name="Slide Number">
            <a:extLst>
              <a:ext uri="{FF2B5EF4-FFF2-40B4-BE49-F238E27FC236}">
                <a16:creationId xmlns:a16="http://schemas.microsoft.com/office/drawing/2014/main" id="{540227A9-CA71-6458-1E3A-021E13DC9A61}"/>
              </a:ext>
            </a:extLst>
          </p:cNvPr>
          <p:cNvSpPr txBox="1">
            <a:spLocks noGrp="1" noRot="1" noMove="1" noResize="1" noEditPoints="1" noAdjustHandles="1" noChangeArrowheads="1" noChangeShapeType="1"/>
          </p:cNvSpPr>
          <p:nvPr/>
        </p:nvSpPr>
        <p:spPr>
          <a:xfrm>
            <a:off x="11640474" y="6499716"/>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chemeClr val="bg1"/>
                </a:solidFill>
              </a:rPr>
              <a:pPr/>
              <a:t>‹#›</a:t>
            </a:fld>
            <a:endParaRPr lang="en-GB" sz="650">
              <a:solidFill>
                <a:schemeClr val="bg1"/>
              </a:solidFill>
            </a:endParaRPr>
          </a:p>
        </p:txBody>
      </p:sp>
      <p:sp>
        <p:nvSpPr>
          <p:cNvPr id="6" name="Tracker" hidden="1">
            <a:extLst>
              <a:ext uri="{FF2B5EF4-FFF2-40B4-BE49-F238E27FC236}">
                <a16:creationId xmlns:a16="http://schemas.microsoft.com/office/drawing/2014/main" id="{BF4D6916-8745-9F10-7D98-EF7F56F5E05A}"/>
              </a:ext>
            </a:extLst>
          </p:cNvPr>
          <p:cNvSpPr>
            <a:spLocks noGrp="1"/>
          </p:cNvSpPr>
          <p:nvPr>
            <p:ph type="body" sz="quarter" idx="14" hasCustomPrompt="1"/>
          </p:nvPr>
        </p:nvSpPr>
        <p:spPr>
          <a:xfrm>
            <a:off x="8873087" y="6501600"/>
            <a:ext cx="2435522" cy="106116"/>
          </a:xfrm>
        </p:spPr>
        <p:txBody>
          <a:bodyPr rIns="0" anchor="b" anchorCtr="0"/>
          <a:lstStyle>
            <a:lvl1pPr algn="r">
              <a:lnSpc>
                <a:spcPct val="90000"/>
              </a:lnSpc>
              <a:spcAft>
                <a:spcPts val="0"/>
              </a:spcAft>
              <a:defRPr sz="650">
                <a:solidFill>
                  <a:schemeClr val="bg1"/>
                </a:solidFill>
              </a:defRPr>
            </a:lvl1pPr>
            <a:lvl2pPr>
              <a:defRPr sz="650"/>
            </a:lvl2pPr>
            <a:lvl3pPr>
              <a:defRPr sz="650"/>
            </a:lvl3pPr>
            <a:lvl4pPr>
              <a:defRPr sz="650"/>
            </a:lvl4pPr>
            <a:lvl5pPr>
              <a:defRPr sz="650"/>
            </a:lvl5pPr>
          </a:lstStyle>
          <a:p>
            <a:pPr lvl="0"/>
            <a:r>
              <a:rPr lang="en-GB"/>
              <a:t>Tracker</a:t>
            </a:r>
          </a:p>
        </p:txBody>
      </p:sp>
      <p:sp>
        <p:nvSpPr>
          <p:cNvPr id="14" name="Logo">
            <a:extLst>
              <a:ext uri="{FF2B5EF4-FFF2-40B4-BE49-F238E27FC236}">
                <a16:creationId xmlns:a16="http://schemas.microsoft.com/office/drawing/2014/main" id="{65633CBD-5FDB-4978-A3FA-2D0AFDDD1E29}"/>
              </a:ext>
            </a:extLst>
          </p:cNvPr>
          <p:cNvSpPr>
            <a:spLocks noGrp="1" noRot="1" noMove="1" noResize="1" noEditPoints="1" noAdjustHandles="1" noChangeArrowheads="1" noChangeShapeType="1"/>
          </p:cNvSpPr>
          <p:nvPr>
            <p:custDataLst>
              <p:tags r:id="rId1"/>
            </p:custDataLst>
          </p:nvPr>
        </p:nvSpPr>
        <p:spPr bwMode="auto">
          <a:xfrm rot="5400000">
            <a:off x="11676071" y="367641"/>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194845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84E964F-1FAD-4821-B174-6B4298F2DD8C}"/>
              </a:ext>
            </a:extLst>
          </p:cNvPr>
          <p:cNvSpPr>
            <a:spLocks noGrp="1"/>
          </p:cNvSpPr>
          <p:nvPr>
            <p:ph type="title"/>
          </p:nvPr>
        </p:nvSpPr>
        <p:spPr/>
        <p:txBody>
          <a:bodyPr/>
          <a:lstStyle>
            <a:lvl1pPr>
              <a:defRPr sz="2400"/>
            </a:lvl1pPr>
          </a:lstStyle>
          <a:p>
            <a:r>
              <a:rPr lang="en-US"/>
              <a:t>Click to edit Master title style</a:t>
            </a:r>
            <a:endParaRPr lang="en-GB"/>
          </a:p>
        </p:txBody>
      </p:sp>
      <p:sp>
        <p:nvSpPr>
          <p:cNvPr id="4" name="Content Placeholder 1">
            <a:extLst>
              <a:ext uri="{FF2B5EF4-FFF2-40B4-BE49-F238E27FC236}">
                <a16:creationId xmlns:a16="http://schemas.microsoft.com/office/drawing/2014/main" id="{452BC6F2-A35B-5944-E246-85A00CADA99C}"/>
              </a:ext>
            </a:extLst>
          </p:cNvPr>
          <p:cNvSpPr>
            <a:spLocks noGrp="1"/>
          </p:cNvSpPr>
          <p:nvPr>
            <p:ph sz="quarter" idx="14"/>
          </p:nvPr>
        </p:nvSpPr>
        <p:spPr>
          <a:xfrm>
            <a:off x="269875" y="1627188"/>
            <a:ext cx="5695950" cy="4689475"/>
          </a:xfrm>
        </p:spPr>
        <p:txBody>
          <a:bodyPr rIns="36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A0B051D7-78A7-2C94-46F0-448F205DE23C}"/>
              </a:ext>
            </a:extLst>
          </p:cNvPr>
          <p:cNvSpPr>
            <a:spLocks noGrp="1"/>
          </p:cNvSpPr>
          <p:nvPr>
            <p:ph sz="quarter" idx="15"/>
          </p:nvPr>
        </p:nvSpPr>
        <p:spPr>
          <a:xfrm>
            <a:off x="6226176" y="1627188"/>
            <a:ext cx="5702299" cy="4689475"/>
          </a:xfrm>
        </p:spPr>
        <p:txBody>
          <a:bodyPr rIns="36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Notes">
            <a:extLst>
              <a:ext uri="{FF2B5EF4-FFF2-40B4-BE49-F238E27FC236}">
                <a16:creationId xmlns:a16="http://schemas.microsoft.com/office/drawing/2014/main" id="{27FC4138-9B15-483F-B43C-3B97031C3ED4}"/>
              </a:ext>
            </a:extLst>
          </p:cNvPr>
          <p:cNvSpPr>
            <a:spLocks noGrp="1"/>
          </p:cNvSpPr>
          <p:nvPr>
            <p:ph type="body" sz="quarter" idx="13" hasCustomPrompt="1"/>
          </p:nvPr>
        </p:nvSpPr>
        <p:spPr>
          <a:xfrm>
            <a:off x="269999" y="6501600"/>
            <a:ext cx="8352000"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
        <p:nvSpPr>
          <p:cNvPr id="5" name="Tracker" hidden="1">
            <a:extLst>
              <a:ext uri="{FF2B5EF4-FFF2-40B4-BE49-F238E27FC236}">
                <a16:creationId xmlns:a16="http://schemas.microsoft.com/office/drawing/2014/main" id="{BA06275A-62CA-D233-1B81-E05DB453D474}"/>
              </a:ext>
            </a:extLst>
          </p:cNvPr>
          <p:cNvSpPr>
            <a:spLocks noGrp="1"/>
          </p:cNvSpPr>
          <p:nvPr>
            <p:ph type="body" sz="quarter" idx="17" hasCustomPrompt="1"/>
          </p:nvPr>
        </p:nvSpPr>
        <p:spPr>
          <a:xfrm>
            <a:off x="8873087" y="6501600"/>
            <a:ext cx="2435522" cy="106116"/>
          </a:xfrm>
        </p:spPr>
        <p:txBody>
          <a:bodyPr rIns="0" anchor="b" anchorCtr="0"/>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85036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3758">
          <p15:clr>
            <a:srgbClr val="FBAE40"/>
          </p15:clr>
        </p15:guide>
        <p15:guide id="6" pos="391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CA45F60-A847-0270-4FC9-76883F38B25D}"/>
              </a:ext>
            </a:extLst>
          </p:cNvPr>
          <p:cNvSpPr>
            <a:spLocks noGrp="1"/>
          </p:cNvSpPr>
          <p:nvPr>
            <p:ph type="title"/>
          </p:nvPr>
        </p:nvSpPr>
        <p:spPr/>
        <p:txBody>
          <a:bodyPr/>
          <a:lstStyle/>
          <a:p>
            <a:r>
              <a:rPr lang="en-US"/>
              <a:t>Click to edit Master title style</a:t>
            </a:r>
            <a:endParaRPr lang="en-GB"/>
          </a:p>
        </p:txBody>
      </p:sp>
      <p:sp>
        <p:nvSpPr>
          <p:cNvPr id="4" name="Content 1">
            <a:extLst>
              <a:ext uri="{FF2B5EF4-FFF2-40B4-BE49-F238E27FC236}">
                <a16:creationId xmlns:a16="http://schemas.microsoft.com/office/drawing/2014/main" id="{1CB7C7A3-6BB6-47CB-BC0A-3003668A1427}"/>
              </a:ext>
            </a:extLst>
          </p:cNvPr>
          <p:cNvSpPr>
            <a:spLocks noGrp="1"/>
          </p:cNvSpPr>
          <p:nvPr>
            <p:ph sz="half" idx="2"/>
          </p:nvPr>
        </p:nvSpPr>
        <p:spPr>
          <a:xfrm>
            <a:off x="269873" y="1627188"/>
            <a:ext cx="3690000" cy="4690800"/>
          </a:xfrm>
          <a:prstGeom prst="rect">
            <a:avLst/>
          </a:prstGeom>
        </p:spPr>
        <p:txBody>
          <a:bodyPr tIns="0" rIns="360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2">
            <a:extLst>
              <a:ext uri="{FF2B5EF4-FFF2-40B4-BE49-F238E27FC236}">
                <a16:creationId xmlns:a16="http://schemas.microsoft.com/office/drawing/2014/main" id="{B8215341-282F-D1D3-C74C-C00195847D28}"/>
              </a:ext>
            </a:extLst>
          </p:cNvPr>
          <p:cNvSpPr>
            <a:spLocks noGrp="1"/>
          </p:cNvSpPr>
          <p:nvPr>
            <p:ph sz="half" idx="21"/>
          </p:nvPr>
        </p:nvSpPr>
        <p:spPr>
          <a:xfrm>
            <a:off x="4254089" y="1627188"/>
            <a:ext cx="3690000" cy="4690800"/>
          </a:xfrm>
          <a:prstGeom prst="rect">
            <a:avLst/>
          </a:prstGeom>
        </p:spPr>
        <p:txBody>
          <a:bodyPr tIns="0" rIns="360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3">
            <a:extLst>
              <a:ext uri="{FF2B5EF4-FFF2-40B4-BE49-F238E27FC236}">
                <a16:creationId xmlns:a16="http://schemas.microsoft.com/office/drawing/2014/main" id="{11D72E8C-9380-92CF-0889-628D53A39583}"/>
              </a:ext>
            </a:extLst>
          </p:cNvPr>
          <p:cNvSpPr>
            <a:spLocks noGrp="1"/>
          </p:cNvSpPr>
          <p:nvPr>
            <p:ph sz="half" idx="22"/>
          </p:nvPr>
        </p:nvSpPr>
        <p:spPr>
          <a:xfrm>
            <a:off x="8238305" y="1627188"/>
            <a:ext cx="3690000" cy="4690800"/>
          </a:xfrm>
          <a:prstGeom prst="rect">
            <a:avLst/>
          </a:prstGeom>
        </p:spPr>
        <p:txBody>
          <a:bodyPr tIns="0" rIns="36000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Notes">
            <a:extLst>
              <a:ext uri="{FF2B5EF4-FFF2-40B4-BE49-F238E27FC236}">
                <a16:creationId xmlns:a16="http://schemas.microsoft.com/office/drawing/2014/main" id="{A814E705-77D3-6EDB-ACB3-556BA32EF681}"/>
              </a:ext>
            </a:extLst>
          </p:cNvPr>
          <p:cNvSpPr>
            <a:spLocks noGrp="1"/>
          </p:cNvSpPr>
          <p:nvPr>
            <p:ph type="body" sz="quarter" idx="18" hasCustomPrompt="1"/>
          </p:nvPr>
        </p:nvSpPr>
        <p:spPr>
          <a:xfrm>
            <a:off x="269998" y="6505832"/>
            <a:ext cx="7671002" cy="101884"/>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Tree>
    <p:extLst>
      <p:ext uri="{BB962C8B-B14F-4D97-AF65-F5344CB8AC3E}">
        <p14:creationId xmlns:p14="http://schemas.microsoft.com/office/powerpoint/2010/main" val="22521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2584CD50-E89B-CF86-58AB-643BF1E103A8}"/>
              </a:ext>
            </a:extLst>
          </p:cNvPr>
          <p:cNvSpPr>
            <a:spLocks noGrp="1"/>
          </p:cNvSpPr>
          <p:nvPr>
            <p:ph type="title"/>
          </p:nvPr>
        </p:nvSpPr>
        <p:spPr/>
        <p:txBody>
          <a:bodyPr/>
          <a:lstStyle/>
          <a:p>
            <a:r>
              <a:rPr lang="en-US"/>
              <a:t>Click to edit Master title style</a:t>
            </a:r>
            <a:endParaRPr lang="en-GB"/>
          </a:p>
        </p:txBody>
      </p:sp>
      <p:sp>
        <p:nvSpPr>
          <p:cNvPr id="2" name="Content 1">
            <a:extLst>
              <a:ext uri="{FF2B5EF4-FFF2-40B4-BE49-F238E27FC236}">
                <a16:creationId xmlns:a16="http://schemas.microsoft.com/office/drawing/2014/main" id="{4C0C5F0F-A2F1-FD85-BB1C-8F1F6E76F7DB}"/>
              </a:ext>
            </a:extLst>
          </p:cNvPr>
          <p:cNvSpPr>
            <a:spLocks noGrp="1"/>
          </p:cNvSpPr>
          <p:nvPr>
            <p:ph sz="half" idx="2"/>
          </p:nvPr>
        </p:nvSpPr>
        <p:spPr>
          <a:xfrm>
            <a:off x="269873" y="1627188"/>
            <a:ext cx="2730502" cy="4690800"/>
          </a:xfrm>
          <a:prstGeom prst="rect">
            <a:avLst/>
          </a:prstGeom>
        </p:spPr>
        <p:txBody>
          <a:bodyPr tIns="0" rIns="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2">
            <a:extLst>
              <a:ext uri="{FF2B5EF4-FFF2-40B4-BE49-F238E27FC236}">
                <a16:creationId xmlns:a16="http://schemas.microsoft.com/office/drawing/2014/main" id="{D933B0D8-D854-B052-8A23-6C887427FFE4}"/>
              </a:ext>
            </a:extLst>
          </p:cNvPr>
          <p:cNvSpPr>
            <a:spLocks noGrp="1"/>
          </p:cNvSpPr>
          <p:nvPr>
            <p:ph sz="half" idx="21"/>
          </p:nvPr>
        </p:nvSpPr>
        <p:spPr>
          <a:xfrm>
            <a:off x="3245948" y="1627188"/>
            <a:ext cx="2730502" cy="4690800"/>
          </a:xfrm>
          <a:prstGeom prst="rect">
            <a:avLst/>
          </a:prstGeom>
        </p:spPr>
        <p:txBody>
          <a:bodyPr tIns="0" rIns="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3">
            <a:extLst>
              <a:ext uri="{FF2B5EF4-FFF2-40B4-BE49-F238E27FC236}">
                <a16:creationId xmlns:a16="http://schemas.microsoft.com/office/drawing/2014/main" id="{17D538E0-3E88-6BE4-91FE-3082D5170E49}"/>
              </a:ext>
            </a:extLst>
          </p:cNvPr>
          <p:cNvSpPr>
            <a:spLocks noGrp="1"/>
          </p:cNvSpPr>
          <p:nvPr>
            <p:ph sz="half" idx="22"/>
          </p:nvPr>
        </p:nvSpPr>
        <p:spPr>
          <a:xfrm>
            <a:off x="6222023" y="1627188"/>
            <a:ext cx="2730502" cy="4690800"/>
          </a:xfrm>
          <a:prstGeom prst="rect">
            <a:avLst/>
          </a:prstGeom>
        </p:spPr>
        <p:txBody>
          <a:bodyPr tIns="0" rIns="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4">
            <a:extLst>
              <a:ext uri="{FF2B5EF4-FFF2-40B4-BE49-F238E27FC236}">
                <a16:creationId xmlns:a16="http://schemas.microsoft.com/office/drawing/2014/main" id="{C112E82A-17E9-3012-71F9-D08EB7573FA8}"/>
              </a:ext>
            </a:extLst>
          </p:cNvPr>
          <p:cNvSpPr>
            <a:spLocks noGrp="1"/>
          </p:cNvSpPr>
          <p:nvPr>
            <p:ph sz="half" idx="23"/>
          </p:nvPr>
        </p:nvSpPr>
        <p:spPr>
          <a:xfrm>
            <a:off x="9198099" y="1627188"/>
            <a:ext cx="2730502" cy="4690800"/>
          </a:xfrm>
          <a:prstGeom prst="rect">
            <a:avLst/>
          </a:prstGeom>
        </p:spPr>
        <p:txBody>
          <a:bodyPr tIns="0" rIns="0"/>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Notes">
            <a:extLst>
              <a:ext uri="{FF2B5EF4-FFF2-40B4-BE49-F238E27FC236}">
                <a16:creationId xmlns:a16="http://schemas.microsoft.com/office/drawing/2014/main" id="{D896F2AD-833D-879C-BBAD-CCA50E48D29D}"/>
              </a:ext>
            </a:extLst>
          </p:cNvPr>
          <p:cNvSpPr>
            <a:spLocks noGrp="1"/>
          </p:cNvSpPr>
          <p:nvPr>
            <p:ph type="body" sz="quarter" idx="17" hasCustomPrompt="1"/>
          </p:nvPr>
        </p:nvSpPr>
        <p:spPr>
          <a:xfrm>
            <a:off x="269998" y="6501600"/>
            <a:ext cx="8676000"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Tree>
    <p:extLst>
      <p:ext uri="{BB962C8B-B14F-4D97-AF65-F5344CB8AC3E}">
        <p14:creationId xmlns:p14="http://schemas.microsoft.com/office/powerpoint/2010/main" val="479675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clusion Box Horizontal">
    <p:spTree>
      <p:nvGrpSpPr>
        <p:cNvPr id="1" name=""/>
        <p:cNvGrpSpPr/>
        <p:nvPr/>
      </p:nvGrpSpPr>
      <p:grpSpPr>
        <a:xfrm>
          <a:off x="0" y="0"/>
          <a:ext cx="0" cy="0"/>
          <a:chOff x="0" y="0"/>
          <a:chExt cx="0" cy="0"/>
        </a:xfrm>
      </p:grpSpPr>
      <p:sp>
        <p:nvSpPr>
          <p:cNvPr id="9" name="Colour block">
            <a:extLst>
              <a:ext uri="{FF2B5EF4-FFF2-40B4-BE49-F238E27FC236}">
                <a16:creationId xmlns:a16="http://schemas.microsoft.com/office/drawing/2014/main" id="{2ACBD665-89CE-19B7-AEDF-E37A97C90AE4}"/>
              </a:ext>
            </a:extLst>
          </p:cNvPr>
          <p:cNvSpPr>
            <a:spLocks noGrp="1"/>
          </p:cNvSpPr>
          <p:nvPr>
            <p:ph type="body" sz="quarter" idx="19" hasCustomPrompt="1"/>
          </p:nvPr>
        </p:nvSpPr>
        <p:spPr>
          <a:xfrm>
            <a:off x="0" y="5113016"/>
            <a:ext cx="12192000" cy="1744984"/>
          </a:xfrm>
          <a:solidFill>
            <a:srgbClr val="E1E0DE"/>
          </a:solidFill>
        </p:spPr>
        <p:txBody>
          <a:bodyPr/>
          <a:lstStyle>
            <a:lvl1pPr>
              <a:defRPr sz="100"/>
            </a:lvl1pPr>
          </a:lstStyle>
          <a:p>
            <a:pPr lvl="0"/>
            <a:r>
              <a:rPr lang="en-GB"/>
              <a:t> </a:t>
            </a:r>
          </a:p>
        </p:txBody>
      </p:sp>
      <p:sp>
        <p:nvSpPr>
          <p:cNvPr id="8" name="Title">
            <a:extLst>
              <a:ext uri="{FF2B5EF4-FFF2-40B4-BE49-F238E27FC236}">
                <a16:creationId xmlns:a16="http://schemas.microsoft.com/office/drawing/2014/main" id="{79F46167-B31F-EBFE-B493-7313EE0186A5}"/>
              </a:ext>
            </a:extLst>
          </p:cNvPr>
          <p:cNvSpPr>
            <a:spLocks noGrp="1"/>
          </p:cNvSpPr>
          <p:nvPr>
            <p:ph type="title"/>
          </p:nvPr>
        </p:nvSpPr>
        <p:spPr/>
        <p:txBody>
          <a:bodyPr/>
          <a:lstStyle>
            <a:lvl1pPr>
              <a:defRPr sz="2100"/>
            </a:lvl1pPr>
          </a:lstStyle>
          <a:p>
            <a:r>
              <a:rPr lang="en-US"/>
              <a:t>Click to edit Master title style</a:t>
            </a:r>
            <a:endParaRPr lang="en-GB"/>
          </a:p>
        </p:txBody>
      </p:sp>
      <p:sp>
        <p:nvSpPr>
          <p:cNvPr id="12" name="Content Placeholder 1">
            <a:extLst>
              <a:ext uri="{FF2B5EF4-FFF2-40B4-BE49-F238E27FC236}">
                <a16:creationId xmlns:a16="http://schemas.microsoft.com/office/drawing/2014/main" id="{4960BC8B-2CF2-72B4-DF62-06AAD5665202}"/>
              </a:ext>
            </a:extLst>
          </p:cNvPr>
          <p:cNvSpPr>
            <a:spLocks noGrp="1"/>
          </p:cNvSpPr>
          <p:nvPr>
            <p:ph sz="quarter" idx="17"/>
          </p:nvPr>
        </p:nvSpPr>
        <p:spPr>
          <a:xfrm>
            <a:off x="269875" y="1627187"/>
            <a:ext cx="5573713" cy="3235545"/>
          </a:xfrm>
        </p:spPr>
        <p:txBody>
          <a:bodyPr rIns="36000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clusion 1">
            <a:extLst>
              <a:ext uri="{FF2B5EF4-FFF2-40B4-BE49-F238E27FC236}">
                <a16:creationId xmlns:a16="http://schemas.microsoft.com/office/drawing/2014/main" id="{70307FA8-343A-49F8-8A05-FF81EEFEA35E}"/>
              </a:ext>
            </a:extLst>
          </p:cNvPr>
          <p:cNvSpPr>
            <a:spLocks noGrp="1"/>
          </p:cNvSpPr>
          <p:nvPr>
            <p:ph type="body" sz="quarter" idx="15"/>
          </p:nvPr>
        </p:nvSpPr>
        <p:spPr>
          <a:xfrm>
            <a:off x="269875" y="5383017"/>
            <a:ext cx="5573713" cy="936000"/>
          </a:xfrm>
        </p:spPr>
        <p:txBody>
          <a:bodyPr rIns="360000"/>
          <a:lstStyle>
            <a:lvl1pPr>
              <a:defRPr sz="1200"/>
            </a:lvl1pPr>
            <a:lvl2pPr>
              <a:defRPr sz="1200"/>
            </a:lvl2pPr>
            <a:lvl3pPr>
              <a:defRPr sz="1200"/>
            </a:lvl3pPr>
            <a:lvl4pPr>
              <a:defRPr sz="12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20" name="Content Placeholder 2">
            <a:extLst>
              <a:ext uri="{FF2B5EF4-FFF2-40B4-BE49-F238E27FC236}">
                <a16:creationId xmlns:a16="http://schemas.microsoft.com/office/drawing/2014/main" id="{45DA0C38-4238-E28A-4ABA-D2852B08D4CC}"/>
              </a:ext>
            </a:extLst>
          </p:cNvPr>
          <p:cNvSpPr>
            <a:spLocks noGrp="1"/>
          </p:cNvSpPr>
          <p:nvPr>
            <p:ph sz="quarter" idx="18"/>
          </p:nvPr>
        </p:nvSpPr>
        <p:spPr>
          <a:xfrm>
            <a:off x="6348413" y="1627187"/>
            <a:ext cx="5570537" cy="3235545"/>
          </a:xfrm>
        </p:spPr>
        <p:txBody>
          <a:bodyPr rIns="36000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clusion 2">
            <a:extLst>
              <a:ext uri="{FF2B5EF4-FFF2-40B4-BE49-F238E27FC236}">
                <a16:creationId xmlns:a16="http://schemas.microsoft.com/office/drawing/2014/main" id="{FCCEAA0A-BD2E-414E-B8BD-A9A06D2A59CC}"/>
              </a:ext>
            </a:extLst>
          </p:cNvPr>
          <p:cNvSpPr>
            <a:spLocks noGrp="1"/>
          </p:cNvSpPr>
          <p:nvPr>
            <p:ph type="body" sz="quarter" idx="16"/>
          </p:nvPr>
        </p:nvSpPr>
        <p:spPr>
          <a:xfrm>
            <a:off x="6348412" y="5383017"/>
            <a:ext cx="5572800" cy="936000"/>
          </a:xfrm>
        </p:spPr>
        <p:txBody>
          <a:bodyPr rIns="360000"/>
          <a:lstStyle>
            <a:lvl1pPr>
              <a:defRPr sz="1200"/>
            </a:lvl1pPr>
            <a:lvl2pPr>
              <a:defRPr sz="1200"/>
            </a:lvl2pPr>
            <a:lvl3pPr>
              <a:defRPr sz="1200"/>
            </a:lvl3pPr>
            <a:lvl4pPr>
              <a:defRPr sz="12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1" name="Notes">
            <a:extLst>
              <a:ext uri="{FF2B5EF4-FFF2-40B4-BE49-F238E27FC236}">
                <a16:creationId xmlns:a16="http://schemas.microsoft.com/office/drawing/2014/main" id="{62DB7D03-BC3A-4613-A6FA-61AA28A58404}"/>
              </a:ext>
            </a:extLst>
          </p:cNvPr>
          <p:cNvSpPr>
            <a:spLocks noGrp="1"/>
          </p:cNvSpPr>
          <p:nvPr>
            <p:ph type="body" sz="quarter" idx="13" hasCustomPrompt="1"/>
          </p:nvPr>
        </p:nvSpPr>
        <p:spPr>
          <a:xfrm>
            <a:off x="269999" y="6501600"/>
            <a:ext cx="8362597"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
        <p:nvSpPr>
          <p:cNvPr id="10" name="Slide Number Placeholder">
            <a:extLst>
              <a:ext uri="{FF2B5EF4-FFF2-40B4-BE49-F238E27FC236}">
                <a16:creationId xmlns:a16="http://schemas.microsoft.com/office/drawing/2014/main" id="{F5938F32-49C7-D985-FE71-EA331DB7FB27}"/>
              </a:ext>
            </a:extLst>
          </p:cNvPr>
          <p:cNvSpPr>
            <a:spLocks noGrp="1" noRot="1" noMove="1" noResize="1" noEditPoints="1" noAdjustHandles="1" noChangeArrowheads="1" noChangeShapeType="1"/>
          </p:cNvSpPr>
          <p:nvPr>
            <p:ph type="sldNum" sz="quarter" idx="4"/>
          </p:nvPr>
        </p:nvSpPr>
        <p:spPr>
          <a:xfrm>
            <a:off x="11642876" y="6499716"/>
            <a:ext cx="288000" cy="108000"/>
          </a:xfrm>
          <a:prstGeom prst="rect">
            <a:avLst/>
          </a:prstGeom>
        </p:spPr>
        <p:txBody>
          <a:bodyPr vert="horz" lIns="0" tIns="0" rIns="0" bIns="0" rtlCol="0" anchor="b" anchorCtr="0"/>
          <a:lstStyle>
            <a:lvl1pPr>
              <a:defRPr lang="en-GB" sz="650" spc="0" baseline="0" smtClean="0">
                <a:solidFill>
                  <a:schemeClr val="tx1"/>
                </a:solidFill>
              </a:defRPr>
            </a:lvl1pPr>
          </a:lstStyle>
          <a:p>
            <a:pPr algn="r" defTabSz="914400"/>
            <a:fld id="{B95011C1-D4CA-414C-97DD-45D89C990525}" type="slidenum">
              <a:rPr lang="en-GB" smtClean="0"/>
              <a:pPr algn="r" defTabSz="914400"/>
              <a:t>‹#›</a:t>
            </a:fld>
            <a:endParaRPr lang="en-GB"/>
          </a:p>
        </p:txBody>
      </p:sp>
    </p:spTree>
    <p:extLst>
      <p:ext uri="{BB962C8B-B14F-4D97-AF65-F5344CB8AC3E}">
        <p14:creationId xmlns:p14="http://schemas.microsoft.com/office/powerpoint/2010/main" val="189375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9" pos="3681">
          <p15:clr>
            <a:srgbClr val="FBAE40"/>
          </p15:clr>
        </p15:guide>
        <p15:guide id="10" pos="3999">
          <p15:clr>
            <a:srgbClr val="FBAE40"/>
          </p15:clr>
        </p15:guide>
        <p15:guide id="11" orient="horz" pos="3385">
          <p15:clr>
            <a:srgbClr val="FBAE40"/>
          </p15:clr>
        </p15:guide>
        <p15:guide id="12" orient="horz" pos="306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05658C06-E668-41FD-BC8E-10BED683B81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D2F70ACF-A56D-4728-A5F0-F1701EF89A04}"/>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480016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clusion Box Vertical">
    <p:spTree>
      <p:nvGrpSpPr>
        <p:cNvPr id="1" name=""/>
        <p:cNvGrpSpPr/>
        <p:nvPr/>
      </p:nvGrpSpPr>
      <p:grpSpPr>
        <a:xfrm>
          <a:off x="0" y="0"/>
          <a:ext cx="0" cy="0"/>
          <a:chOff x="0" y="0"/>
          <a:chExt cx="0" cy="0"/>
        </a:xfrm>
      </p:grpSpPr>
      <p:sp>
        <p:nvSpPr>
          <p:cNvPr id="6" name="Colour block">
            <a:extLst>
              <a:ext uri="{FF2B5EF4-FFF2-40B4-BE49-F238E27FC236}">
                <a16:creationId xmlns:a16="http://schemas.microsoft.com/office/drawing/2014/main" id="{BB0AC3A3-DDD7-D3B8-50A5-BA3DC3AB8CD8}"/>
              </a:ext>
            </a:extLst>
          </p:cNvPr>
          <p:cNvSpPr>
            <a:spLocks noGrp="1"/>
          </p:cNvSpPr>
          <p:nvPr>
            <p:ph type="body" sz="quarter" idx="16" hasCustomPrompt="1"/>
          </p:nvPr>
        </p:nvSpPr>
        <p:spPr>
          <a:xfrm>
            <a:off x="8796338" y="1627188"/>
            <a:ext cx="3395662" cy="5230812"/>
          </a:xfrm>
          <a:solidFill>
            <a:srgbClr val="E3E9E7"/>
          </a:solidFill>
        </p:spPr>
        <p:txBody>
          <a:bodyPr/>
          <a:lstStyle>
            <a:lvl1pPr>
              <a:defRPr sz="100"/>
            </a:lvl1pPr>
          </a:lstStyle>
          <a:p>
            <a:pPr lvl="0"/>
            <a:r>
              <a:rPr lang="en-GB"/>
              <a:t> </a:t>
            </a:r>
          </a:p>
        </p:txBody>
      </p:sp>
      <p:sp>
        <p:nvSpPr>
          <p:cNvPr id="2" name="Title">
            <a:extLst>
              <a:ext uri="{FF2B5EF4-FFF2-40B4-BE49-F238E27FC236}">
                <a16:creationId xmlns:a16="http://schemas.microsoft.com/office/drawing/2014/main" id="{A3C02EE7-3C07-2279-7857-59267D68254D}"/>
              </a:ext>
            </a:extLst>
          </p:cNvPr>
          <p:cNvSpPr>
            <a:spLocks noGrp="1"/>
          </p:cNvSpPr>
          <p:nvPr>
            <p:ph type="title"/>
          </p:nvPr>
        </p:nvSpPr>
        <p:spPr/>
        <p:txBody>
          <a:bodyPr/>
          <a:lstStyle/>
          <a:p>
            <a:r>
              <a:rPr lang="en-US"/>
              <a:t>Click to edit Master title style</a:t>
            </a:r>
            <a:endParaRPr lang="en-GB"/>
          </a:p>
        </p:txBody>
      </p:sp>
      <p:sp>
        <p:nvSpPr>
          <p:cNvPr id="12" name="Content Placeholder 1">
            <a:extLst>
              <a:ext uri="{FF2B5EF4-FFF2-40B4-BE49-F238E27FC236}">
                <a16:creationId xmlns:a16="http://schemas.microsoft.com/office/drawing/2014/main" id="{CAC211BC-28E0-DF82-AECE-B3444845B1A7}"/>
              </a:ext>
            </a:extLst>
          </p:cNvPr>
          <p:cNvSpPr>
            <a:spLocks noGrp="1"/>
          </p:cNvSpPr>
          <p:nvPr>
            <p:ph sz="quarter" idx="17"/>
          </p:nvPr>
        </p:nvSpPr>
        <p:spPr>
          <a:xfrm>
            <a:off x="269875" y="1627188"/>
            <a:ext cx="8239125" cy="4689475"/>
          </a:xfrm>
        </p:spPr>
        <p:txBody>
          <a:bodyPr rIns="36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0191184A-EA12-4A43-A548-EF516D82ECDE}"/>
              </a:ext>
            </a:extLst>
          </p:cNvPr>
          <p:cNvSpPr>
            <a:spLocks noGrp="1"/>
          </p:cNvSpPr>
          <p:nvPr>
            <p:ph type="body" sz="quarter" idx="15"/>
          </p:nvPr>
        </p:nvSpPr>
        <p:spPr>
          <a:xfrm>
            <a:off x="9071137" y="1894375"/>
            <a:ext cx="2844000" cy="4422288"/>
          </a:xfrm>
        </p:spPr>
        <p:txBody>
          <a:bodyPr/>
          <a:lstStyle>
            <a:lvl1pPr>
              <a:lnSpc>
                <a:spcPct val="93000"/>
              </a:lnSpc>
              <a:spcAft>
                <a:spcPts val="1000"/>
              </a:spcAft>
              <a:defRPr sz="1400"/>
            </a:lvl1pPr>
            <a:lvl2pPr>
              <a:lnSpc>
                <a:spcPct val="93000"/>
              </a:lnSpc>
              <a:spcAft>
                <a:spcPts val="1000"/>
              </a:spcAft>
              <a:defRPr sz="1400"/>
            </a:lvl2pPr>
            <a:lvl3pPr>
              <a:lnSpc>
                <a:spcPct val="93000"/>
              </a:lnSpc>
              <a:spcAft>
                <a:spcPts val="1000"/>
              </a:spcAft>
              <a:defRPr sz="1400"/>
            </a:lvl3pPr>
            <a:lvl4pPr>
              <a:lnSpc>
                <a:spcPct val="93000"/>
              </a:lnSpc>
              <a:spcAft>
                <a:spcPts val="1000"/>
              </a:spcAft>
              <a:defRPr sz="1400"/>
            </a:lvl4pPr>
            <a:lvl5pPr>
              <a:lnSpc>
                <a:spcPct val="93000"/>
              </a:lnSpc>
              <a:spcAft>
                <a:spcPts val="100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Notes">
            <a:extLst>
              <a:ext uri="{FF2B5EF4-FFF2-40B4-BE49-F238E27FC236}">
                <a16:creationId xmlns:a16="http://schemas.microsoft.com/office/drawing/2014/main" id="{38219A32-1088-4461-BE0E-54D878298A44}"/>
              </a:ext>
            </a:extLst>
          </p:cNvPr>
          <p:cNvSpPr>
            <a:spLocks noGrp="1"/>
          </p:cNvSpPr>
          <p:nvPr>
            <p:ph type="body" sz="quarter" idx="13" hasCustomPrompt="1"/>
          </p:nvPr>
        </p:nvSpPr>
        <p:spPr>
          <a:xfrm>
            <a:off x="270000" y="6501600"/>
            <a:ext cx="8239000"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
        <p:nvSpPr>
          <p:cNvPr id="11" name="Slide Number Placeholder">
            <a:extLst>
              <a:ext uri="{FF2B5EF4-FFF2-40B4-BE49-F238E27FC236}">
                <a16:creationId xmlns:a16="http://schemas.microsoft.com/office/drawing/2014/main" id="{D4F4243A-F405-6DAF-2B17-5AE68FF43970}"/>
              </a:ext>
            </a:extLst>
          </p:cNvPr>
          <p:cNvSpPr>
            <a:spLocks noGrp="1" noRot="1" noMove="1" noResize="1" noEditPoints="1" noAdjustHandles="1" noChangeArrowheads="1" noChangeShapeType="1"/>
          </p:cNvSpPr>
          <p:nvPr>
            <p:ph type="sldNum" sz="quarter" idx="4"/>
          </p:nvPr>
        </p:nvSpPr>
        <p:spPr>
          <a:xfrm>
            <a:off x="11642876" y="6499716"/>
            <a:ext cx="288000" cy="108000"/>
          </a:xfrm>
          <a:prstGeom prst="rect">
            <a:avLst/>
          </a:prstGeom>
        </p:spPr>
        <p:txBody>
          <a:bodyPr vert="horz" lIns="0" tIns="0" rIns="0" bIns="0" rtlCol="0" anchor="b" anchorCtr="0"/>
          <a:lstStyle>
            <a:lvl1pPr>
              <a:defRPr lang="en-GB" sz="650" spc="0" baseline="0" smtClean="0">
                <a:solidFill>
                  <a:schemeClr val="tx1"/>
                </a:solidFill>
              </a:defRPr>
            </a:lvl1pPr>
          </a:lstStyle>
          <a:p>
            <a:pPr algn="r" defTabSz="914400"/>
            <a:fld id="{B95011C1-D4CA-414C-97DD-45D89C990525}" type="slidenum">
              <a:rPr lang="en-GB" smtClean="0"/>
              <a:pPr algn="r" defTabSz="914400"/>
              <a:t>‹#›</a:t>
            </a:fld>
            <a:endParaRPr lang="en-GB"/>
          </a:p>
        </p:txBody>
      </p:sp>
      <p:sp>
        <p:nvSpPr>
          <p:cNvPr id="7" name="Tracker" hidden="1">
            <a:extLst>
              <a:ext uri="{FF2B5EF4-FFF2-40B4-BE49-F238E27FC236}">
                <a16:creationId xmlns:a16="http://schemas.microsoft.com/office/drawing/2014/main" id="{02969232-0E2A-55ED-958D-3C11146A02EB}"/>
              </a:ext>
            </a:extLst>
          </p:cNvPr>
          <p:cNvSpPr>
            <a:spLocks noGrp="1"/>
          </p:cNvSpPr>
          <p:nvPr>
            <p:ph type="body" sz="quarter" idx="14" hasCustomPrompt="1"/>
          </p:nvPr>
        </p:nvSpPr>
        <p:spPr>
          <a:xfrm>
            <a:off x="8873087" y="6501600"/>
            <a:ext cx="2435522" cy="106116"/>
          </a:xfrm>
        </p:spPr>
        <p:txBody>
          <a:bodyPr rIns="0" anchor="b" anchorCtr="0"/>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172027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60">
          <p15:clr>
            <a:srgbClr val="FBAE40"/>
          </p15:clr>
        </p15:guide>
        <p15:guide id="6" pos="554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ured background A">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3EB4CC3-992A-4DCA-F08B-DC95C3144638}"/>
              </a:ext>
            </a:extLst>
          </p:cNvPr>
          <p:cNvSpPr>
            <a:spLocks noGrp="1"/>
          </p:cNvSpPr>
          <p:nvPr>
            <p:ph type="title"/>
          </p:nvPr>
        </p:nvSpPr>
        <p:spPr>
          <a:xfrm>
            <a:off x="263525" y="272416"/>
            <a:ext cx="5478349" cy="689796"/>
          </a:xfrm>
        </p:spPr>
        <p:txBody>
          <a:bodyPr/>
          <a:lstStyle/>
          <a:p>
            <a:r>
              <a:rPr lang="en-US"/>
              <a:t>Click to edit Master title style</a:t>
            </a:r>
            <a:endParaRPr lang="en-GB"/>
          </a:p>
        </p:txBody>
      </p:sp>
      <p:sp>
        <p:nvSpPr>
          <p:cNvPr id="6" name="Colourblock">
            <a:extLst>
              <a:ext uri="{FF2B5EF4-FFF2-40B4-BE49-F238E27FC236}">
                <a16:creationId xmlns:a16="http://schemas.microsoft.com/office/drawing/2014/main" id="{9C9A4DEF-A75D-9878-1F55-73811C449527}"/>
              </a:ext>
            </a:extLst>
          </p:cNvPr>
          <p:cNvSpPr>
            <a:spLocks noGrp="1"/>
          </p:cNvSpPr>
          <p:nvPr>
            <p:ph type="body" sz="quarter" idx="18" hasCustomPrompt="1"/>
          </p:nvPr>
        </p:nvSpPr>
        <p:spPr>
          <a:xfrm>
            <a:off x="6096000" y="0"/>
            <a:ext cx="6096000" cy="6858000"/>
          </a:xfrm>
          <a:solidFill>
            <a:srgbClr val="E3E9E7"/>
          </a:solidFill>
        </p:spPr>
        <p:txBody>
          <a:bodyPr rIns="0"/>
          <a:lstStyle>
            <a:lvl1pPr>
              <a:defRPr sz="100"/>
            </a:lvl1pPr>
          </a:lstStyle>
          <a:p>
            <a:pPr lvl="0"/>
            <a:r>
              <a:rPr lang="en-GB"/>
              <a:t> </a:t>
            </a:r>
          </a:p>
        </p:txBody>
      </p:sp>
      <p:sp>
        <p:nvSpPr>
          <p:cNvPr id="3" name="Content 1">
            <a:extLst>
              <a:ext uri="{FF2B5EF4-FFF2-40B4-BE49-F238E27FC236}">
                <a16:creationId xmlns:a16="http://schemas.microsoft.com/office/drawing/2014/main" id="{0F518974-D11A-4CB5-BFEC-93CD9C16E7AD}"/>
              </a:ext>
            </a:extLst>
          </p:cNvPr>
          <p:cNvSpPr>
            <a:spLocks noGrp="1"/>
          </p:cNvSpPr>
          <p:nvPr>
            <p:ph sz="half" idx="1"/>
          </p:nvPr>
        </p:nvSpPr>
        <p:spPr>
          <a:xfrm>
            <a:off x="269875" y="1627188"/>
            <a:ext cx="5471999" cy="4690800"/>
          </a:xfrm>
          <a:prstGeom prst="rect">
            <a:avLst/>
          </a:prstGeo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2">
            <a:extLst>
              <a:ext uri="{FF2B5EF4-FFF2-40B4-BE49-F238E27FC236}">
                <a16:creationId xmlns:a16="http://schemas.microsoft.com/office/drawing/2014/main" id="{540F2E39-82DB-4D96-9CAF-CC81BDA59F34}"/>
              </a:ext>
            </a:extLst>
          </p:cNvPr>
          <p:cNvSpPr>
            <a:spLocks noGrp="1"/>
          </p:cNvSpPr>
          <p:nvPr>
            <p:ph sz="half" idx="2"/>
          </p:nvPr>
        </p:nvSpPr>
        <p:spPr>
          <a:xfrm>
            <a:off x="6455686" y="1627188"/>
            <a:ext cx="5472000" cy="4690800"/>
          </a:xfrm>
          <a:prstGeom prst="rect">
            <a:avLst/>
          </a:prstGeo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Notes">
            <a:extLst>
              <a:ext uri="{FF2B5EF4-FFF2-40B4-BE49-F238E27FC236}">
                <a16:creationId xmlns:a16="http://schemas.microsoft.com/office/drawing/2014/main" id="{5470541A-A0AD-D3D2-EE59-1B1FC8A617C3}"/>
              </a:ext>
            </a:extLst>
          </p:cNvPr>
          <p:cNvSpPr>
            <a:spLocks noGrp="1"/>
          </p:cNvSpPr>
          <p:nvPr>
            <p:ph type="body" sz="quarter" idx="17" hasCustomPrompt="1"/>
          </p:nvPr>
        </p:nvSpPr>
        <p:spPr>
          <a:xfrm>
            <a:off x="269998" y="6501600"/>
            <a:ext cx="5472000"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9" name="Slide Number Placeholder">
            <a:extLst>
              <a:ext uri="{FF2B5EF4-FFF2-40B4-BE49-F238E27FC236}">
                <a16:creationId xmlns:a16="http://schemas.microsoft.com/office/drawing/2014/main" id="{A48CC04A-EA45-0AB2-E497-CC63AF8629D3}"/>
              </a:ext>
            </a:extLst>
          </p:cNvPr>
          <p:cNvSpPr>
            <a:spLocks noGrp="1" noRot="1" noMove="1" noResize="1" noEditPoints="1" noAdjustHandles="1" noChangeArrowheads="1" noChangeShapeType="1"/>
          </p:cNvSpPr>
          <p:nvPr>
            <p:ph type="sldNum" sz="quarter" idx="4"/>
          </p:nvPr>
        </p:nvSpPr>
        <p:spPr>
          <a:xfrm>
            <a:off x="11640050" y="6499716"/>
            <a:ext cx="288000" cy="108000"/>
          </a:xfrm>
          <a:prstGeom prst="rect">
            <a:avLst/>
          </a:prstGeom>
        </p:spPr>
        <p:txBody>
          <a:bodyPr vert="horz" lIns="0" tIns="0" rIns="0" bIns="0" rtlCol="0" anchor="b" anchorCtr="0"/>
          <a:lstStyle>
            <a:lvl1pPr>
              <a:defRPr lang="en-GB" sz="650" spc="0" baseline="0" smtClean="0">
                <a:solidFill>
                  <a:schemeClr val="tx1"/>
                </a:solidFill>
              </a:defRPr>
            </a:lvl1pPr>
          </a:lstStyle>
          <a:p>
            <a:pPr algn="r" defTabSz="914400"/>
            <a:fld id="{B95011C1-D4CA-414C-97DD-45D89C990525}" type="slidenum">
              <a:rPr lang="en-GB" smtClean="0"/>
              <a:pPr algn="r" defTabSz="914400"/>
              <a:t>‹#›</a:t>
            </a:fld>
            <a:endParaRPr lang="en-GB"/>
          </a:p>
        </p:txBody>
      </p:sp>
      <p:sp>
        <p:nvSpPr>
          <p:cNvPr id="16" name="Logo">
            <a:extLst>
              <a:ext uri="{FF2B5EF4-FFF2-40B4-BE49-F238E27FC236}">
                <a16:creationId xmlns:a16="http://schemas.microsoft.com/office/drawing/2014/main" id="{3E69CAA9-4F4C-A315-C7F3-3D36060368FA}"/>
              </a:ext>
            </a:extLst>
          </p:cNvPr>
          <p:cNvSpPr>
            <a:spLocks noGrp="1" noRot="1" noChangeAspect="1" noMove="1" noResize="1" noEditPoints="1" noAdjustHandles="1" noChangeArrowheads="1" noChangeShapeType="1"/>
          </p:cNvSpPr>
          <p:nvPr>
            <p:ph type="body" sz="quarter" idx="16" hasCustomPrompt="1"/>
          </p:nvPr>
        </p:nvSpPr>
        <p:spPr>
          <a:xfrm>
            <a:off x="11773250" y="273384"/>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15943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840">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ured background B">
    <p:spTree>
      <p:nvGrpSpPr>
        <p:cNvPr id="1" name=""/>
        <p:cNvGrpSpPr/>
        <p:nvPr/>
      </p:nvGrpSpPr>
      <p:grpSpPr>
        <a:xfrm>
          <a:off x="0" y="0"/>
          <a:ext cx="0" cy="0"/>
          <a:chOff x="0" y="0"/>
          <a:chExt cx="0" cy="0"/>
        </a:xfrm>
      </p:grpSpPr>
      <p:sp>
        <p:nvSpPr>
          <p:cNvPr id="6" name="Colour block">
            <a:extLst>
              <a:ext uri="{FF2B5EF4-FFF2-40B4-BE49-F238E27FC236}">
                <a16:creationId xmlns:a16="http://schemas.microsoft.com/office/drawing/2014/main" id="{FA06B9E3-7FB0-5CF5-8A64-40E53BEA9B50}"/>
              </a:ext>
            </a:extLst>
          </p:cNvPr>
          <p:cNvSpPr>
            <a:spLocks noGrp="1"/>
          </p:cNvSpPr>
          <p:nvPr>
            <p:ph type="body" sz="quarter" idx="18" hasCustomPrompt="1"/>
          </p:nvPr>
        </p:nvSpPr>
        <p:spPr>
          <a:xfrm>
            <a:off x="0" y="0"/>
            <a:ext cx="6096000" cy="6858000"/>
          </a:xfrm>
          <a:solidFill>
            <a:srgbClr val="E3E9E7"/>
          </a:solidFill>
        </p:spPr>
        <p:txBody>
          <a:bodyPr rIns="0"/>
          <a:lstStyle>
            <a:lvl1pPr>
              <a:defRPr sz="100"/>
            </a:lvl1pPr>
          </a:lstStyle>
          <a:p>
            <a:pPr lvl="0"/>
            <a:r>
              <a:rPr lang="en-GB"/>
              <a:t> </a:t>
            </a:r>
          </a:p>
        </p:txBody>
      </p:sp>
      <p:sp>
        <p:nvSpPr>
          <p:cNvPr id="2" name="Title">
            <a:extLst>
              <a:ext uri="{FF2B5EF4-FFF2-40B4-BE49-F238E27FC236}">
                <a16:creationId xmlns:a16="http://schemas.microsoft.com/office/drawing/2014/main" id="{0FC3C887-4EBB-2E04-C72E-689D0012CF99}"/>
              </a:ext>
            </a:extLst>
          </p:cNvPr>
          <p:cNvSpPr>
            <a:spLocks noGrp="1"/>
          </p:cNvSpPr>
          <p:nvPr>
            <p:ph type="title"/>
          </p:nvPr>
        </p:nvSpPr>
        <p:spPr>
          <a:xfrm>
            <a:off x="263526" y="272416"/>
            <a:ext cx="5472000" cy="689796"/>
          </a:xfrm>
        </p:spPr>
        <p:txBody>
          <a:bodyPr/>
          <a:lstStyle/>
          <a:p>
            <a:r>
              <a:rPr lang="en-US"/>
              <a:t>Click to edit Master title style</a:t>
            </a:r>
            <a:endParaRPr lang="en-GB"/>
          </a:p>
        </p:txBody>
      </p:sp>
      <p:sp>
        <p:nvSpPr>
          <p:cNvPr id="3" name="Content 1">
            <a:extLst>
              <a:ext uri="{FF2B5EF4-FFF2-40B4-BE49-F238E27FC236}">
                <a16:creationId xmlns:a16="http://schemas.microsoft.com/office/drawing/2014/main" id="{0F518974-D11A-4CB5-BFEC-93CD9C16E7AD}"/>
              </a:ext>
            </a:extLst>
          </p:cNvPr>
          <p:cNvSpPr>
            <a:spLocks noGrp="1"/>
          </p:cNvSpPr>
          <p:nvPr>
            <p:ph sz="half" idx="1"/>
          </p:nvPr>
        </p:nvSpPr>
        <p:spPr>
          <a:xfrm>
            <a:off x="269876" y="1627187"/>
            <a:ext cx="5471999" cy="46894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2">
            <a:extLst>
              <a:ext uri="{FF2B5EF4-FFF2-40B4-BE49-F238E27FC236}">
                <a16:creationId xmlns:a16="http://schemas.microsoft.com/office/drawing/2014/main" id="{540F2E39-82DB-4D96-9CAF-CC81BDA59F34}"/>
              </a:ext>
            </a:extLst>
          </p:cNvPr>
          <p:cNvSpPr>
            <a:spLocks noGrp="1"/>
          </p:cNvSpPr>
          <p:nvPr>
            <p:ph sz="half" idx="2"/>
          </p:nvPr>
        </p:nvSpPr>
        <p:spPr>
          <a:xfrm>
            <a:off x="6455686" y="1627188"/>
            <a:ext cx="5472000" cy="468947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Notes">
            <a:extLst>
              <a:ext uri="{FF2B5EF4-FFF2-40B4-BE49-F238E27FC236}">
                <a16:creationId xmlns:a16="http://schemas.microsoft.com/office/drawing/2014/main" id="{4B0961AC-39A9-4564-B9ED-F2F7A5F84173}"/>
              </a:ext>
            </a:extLst>
          </p:cNvPr>
          <p:cNvSpPr>
            <a:spLocks noGrp="1"/>
          </p:cNvSpPr>
          <p:nvPr>
            <p:ph type="body" sz="quarter" idx="17" hasCustomPrompt="1"/>
          </p:nvPr>
        </p:nvSpPr>
        <p:spPr>
          <a:xfrm>
            <a:off x="269999" y="6501600"/>
            <a:ext cx="5472000"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Tree>
    <p:extLst>
      <p:ext uri="{BB962C8B-B14F-4D97-AF65-F5344CB8AC3E}">
        <p14:creationId xmlns:p14="http://schemas.microsoft.com/office/powerpoint/2010/main" val="289106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840">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01BAAED4-CB2D-E0A4-AA48-FA18C255EC4B}"/>
              </a:ext>
            </a:extLst>
          </p:cNvPr>
          <p:cNvSpPr>
            <a:spLocks noGrp="1"/>
          </p:cNvSpPr>
          <p:nvPr>
            <p:ph type="title"/>
          </p:nvPr>
        </p:nvSpPr>
        <p:spPr>
          <a:xfrm>
            <a:off x="263525" y="272416"/>
            <a:ext cx="5472001" cy="689796"/>
          </a:xfrm>
        </p:spPr>
        <p:txBody>
          <a:bodyPr/>
          <a:lstStyle/>
          <a:p>
            <a:r>
              <a:rPr lang="en-US"/>
              <a:t>Click to edit Master title style</a:t>
            </a:r>
            <a:endParaRPr lang="en-GB"/>
          </a:p>
        </p:txBody>
      </p:sp>
      <p:sp>
        <p:nvSpPr>
          <p:cNvPr id="7" name="Content Placeholder">
            <a:extLst>
              <a:ext uri="{FF2B5EF4-FFF2-40B4-BE49-F238E27FC236}">
                <a16:creationId xmlns:a16="http://schemas.microsoft.com/office/drawing/2014/main" id="{5E8BAC1C-8776-E319-1E80-0B448CD93B8C}"/>
              </a:ext>
            </a:extLst>
          </p:cNvPr>
          <p:cNvSpPr>
            <a:spLocks noGrp="1"/>
          </p:cNvSpPr>
          <p:nvPr>
            <p:ph sz="quarter" idx="16"/>
          </p:nvPr>
        </p:nvSpPr>
        <p:spPr>
          <a:xfrm>
            <a:off x="269875" y="1627188"/>
            <a:ext cx="5472000" cy="4689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a:extLst>
              <a:ext uri="{FF2B5EF4-FFF2-40B4-BE49-F238E27FC236}">
                <a16:creationId xmlns:a16="http://schemas.microsoft.com/office/drawing/2014/main" id="{96EDC17A-116C-4E16-A3DE-2E5F4B894B8C}"/>
              </a:ext>
            </a:extLst>
          </p:cNvPr>
          <p:cNvSpPr>
            <a:spLocks noGrp="1"/>
          </p:cNvSpPr>
          <p:nvPr>
            <p:ph type="pic" sz="quarter" idx="15"/>
          </p:nvPr>
        </p:nvSpPr>
        <p:spPr>
          <a:xfrm>
            <a:off x="6096000" y="0"/>
            <a:ext cx="6096000" cy="6857999"/>
          </a:xfrm>
          <a:solidFill>
            <a:srgbClr val="F8F5E7"/>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9" name="Notes">
            <a:extLst>
              <a:ext uri="{FF2B5EF4-FFF2-40B4-BE49-F238E27FC236}">
                <a16:creationId xmlns:a16="http://schemas.microsoft.com/office/drawing/2014/main" id="{873F78FC-BB64-4840-92D4-4A7001066474}"/>
              </a:ext>
            </a:extLst>
          </p:cNvPr>
          <p:cNvSpPr>
            <a:spLocks noGrp="1"/>
          </p:cNvSpPr>
          <p:nvPr>
            <p:ph type="body" sz="quarter" idx="13" hasCustomPrompt="1"/>
          </p:nvPr>
        </p:nvSpPr>
        <p:spPr>
          <a:xfrm>
            <a:off x="269999" y="6501600"/>
            <a:ext cx="5472000"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
        <p:nvSpPr>
          <p:cNvPr id="4" name="Slide Number Placeholder">
            <a:extLst>
              <a:ext uri="{FF2B5EF4-FFF2-40B4-BE49-F238E27FC236}">
                <a16:creationId xmlns:a16="http://schemas.microsoft.com/office/drawing/2014/main" id="{A0C80EE1-F12B-55C7-23AD-ADB2A067A399}"/>
              </a:ext>
            </a:extLst>
          </p:cNvPr>
          <p:cNvSpPr>
            <a:spLocks noGrp="1" noRot="1" noMove="1" noResize="1" noEditPoints="1" noAdjustHandles="1" noChangeArrowheads="1" noChangeShapeType="1"/>
          </p:cNvSpPr>
          <p:nvPr>
            <p:ph type="sldNum" sz="quarter" idx="4"/>
          </p:nvPr>
        </p:nvSpPr>
        <p:spPr>
          <a:xfrm>
            <a:off x="11640050" y="6499716"/>
            <a:ext cx="288000" cy="108000"/>
          </a:xfrm>
          <a:prstGeom prst="rect">
            <a:avLst/>
          </a:prstGeom>
        </p:spPr>
        <p:txBody>
          <a:bodyPr vert="horz" lIns="0" tIns="0" rIns="0" bIns="0" rtlCol="0" anchor="b" anchorCtr="0"/>
          <a:lstStyle>
            <a:lvl1pPr>
              <a:defRPr lang="en-GB" sz="650" spc="0" baseline="0" smtClean="0">
                <a:solidFill>
                  <a:schemeClr val="tx1"/>
                </a:solidFill>
              </a:defRPr>
            </a:lvl1pPr>
          </a:lstStyle>
          <a:p>
            <a:pPr algn="r" defTabSz="914400"/>
            <a:fld id="{B95011C1-D4CA-414C-97DD-45D89C990525}" type="slidenum">
              <a:rPr lang="en-GB" smtClean="0"/>
              <a:pPr algn="r" defTabSz="914400"/>
              <a:t>‹#›</a:t>
            </a:fld>
            <a:endParaRPr lang="en-GB"/>
          </a:p>
        </p:txBody>
      </p:sp>
      <p:sp>
        <p:nvSpPr>
          <p:cNvPr id="15" name="Logo">
            <a:extLst>
              <a:ext uri="{FF2B5EF4-FFF2-40B4-BE49-F238E27FC236}">
                <a16:creationId xmlns:a16="http://schemas.microsoft.com/office/drawing/2014/main" id="{160FD480-814D-7D52-A673-48EEED0B44DE}"/>
              </a:ext>
            </a:extLst>
          </p:cNvPr>
          <p:cNvSpPr>
            <a:spLocks noGrp="1" noRot="1" noChangeAspect="1" noMove="1" noResize="1" noEditPoints="1" noAdjustHandles="1" noChangeArrowheads="1" noChangeShapeType="1"/>
          </p:cNvSpPr>
          <p:nvPr>
            <p:ph type="body" sz="quarter" idx="18" hasCustomPrompt="1"/>
          </p:nvPr>
        </p:nvSpPr>
        <p:spPr>
          <a:xfrm>
            <a:off x="11773250" y="273384"/>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217548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3613">
          <p15:clr>
            <a:srgbClr val="FBAE40"/>
          </p15:clr>
        </p15:guide>
        <p15:guide id="6" pos="3840">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and Sidebar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7AE4974-A0AD-C649-C664-626067E90639}"/>
              </a:ext>
            </a:extLst>
          </p:cNvPr>
          <p:cNvSpPr>
            <a:spLocks noGrp="1"/>
          </p:cNvSpPr>
          <p:nvPr>
            <p:ph type="title"/>
          </p:nvPr>
        </p:nvSpPr>
        <p:spPr>
          <a:xfrm>
            <a:off x="263525" y="272416"/>
            <a:ext cx="7345363" cy="689796"/>
          </a:xfrm>
        </p:spPr>
        <p:txBody>
          <a:bodyPr/>
          <a:lstStyle/>
          <a:p>
            <a:r>
              <a:rPr lang="en-US"/>
              <a:t>Click to edit Master title style</a:t>
            </a:r>
            <a:endParaRPr lang="en-GB"/>
          </a:p>
        </p:txBody>
      </p:sp>
      <p:sp>
        <p:nvSpPr>
          <p:cNvPr id="5" name="Colour block">
            <a:extLst>
              <a:ext uri="{FF2B5EF4-FFF2-40B4-BE49-F238E27FC236}">
                <a16:creationId xmlns:a16="http://schemas.microsoft.com/office/drawing/2014/main" id="{F95F3598-B466-5D55-F028-99080AC74E73}"/>
              </a:ext>
            </a:extLst>
          </p:cNvPr>
          <p:cNvSpPr>
            <a:spLocks noGrp="1"/>
          </p:cNvSpPr>
          <p:nvPr>
            <p:ph type="body" sz="quarter" idx="18" hasCustomPrompt="1"/>
          </p:nvPr>
        </p:nvSpPr>
        <p:spPr>
          <a:xfrm>
            <a:off x="8148638" y="0"/>
            <a:ext cx="4043362" cy="6858000"/>
          </a:xfrm>
          <a:solidFill>
            <a:srgbClr val="451F23"/>
          </a:solidFill>
        </p:spPr>
        <p:txBody>
          <a:bodyPr rIns="0"/>
          <a:lstStyle>
            <a:lvl1pPr>
              <a:defRPr sz="100"/>
            </a:lvl1pPr>
          </a:lstStyle>
          <a:p>
            <a:pPr lvl="0"/>
            <a:r>
              <a:rPr lang="en-GB"/>
              <a:t> </a:t>
            </a:r>
          </a:p>
        </p:txBody>
      </p:sp>
      <p:sp>
        <p:nvSpPr>
          <p:cNvPr id="3" name="Content 1">
            <a:extLst>
              <a:ext uri="{FF2B5EF4-FFF2-40B4-BE49-F238E27FC236}">
                <a16:creationId xmlns:a16="http://schemas.microsoft.com/office/drawing/2014/main" id="{2DDA1D60-5A69-41EF-9CF7-893D572065C8}"/>
              </a:ext>
            </a:extLst>
          </p:cNvPr>
          <p:cNvSpPr>
            <a:spLocks noGrp="1"/>
          </p:cNvSpPr>
          <p:nvPr>
            <p:ph idx="1"/>
          </p:nvPr>
        </p:nvSpPr>
        <p:spPr>
          <a:xfrm>
            <a:off x="263527" y="1627188"/>
            <a:ext cx="3456000" cy="468947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2">
            <a:extLst>
              <a:ext uri="{FF2B5EF4-FFF2-40B4-BE49-F238E27FC236}">
                <a16:creationId xmlns:a16="http://schemas.microsoft.com/office/drawing/2014/main" id="{699E0E26-D5ED-BC1B-2A66-4DD4E394501A}"/>
              </a:ext>
            </a:extLst>
          </p:cNvPr>
          <p:cNvSpPr>
            <a:spLocks noGrp="1"/>
          </p:cNvSpPr>
          <p:nvPr>
            <p:ph idx="17"/>
          </p:nvPr>
        </p:nvSpPr>
        <p:spPr>
          <a:xfrm>
            <a:off x="4157875" y="1627188"/>
            <a:ext cx="3456000" cy="468947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3">
            <a:extLst>
              <a:ext uri="{FF2B5EF4-FFF2-40B4-BE49-F238E27FC236}">
                <a16:creationId xmlns:a16="http://schemas.microsoft.com/office/drawing/2014/main" id="{D92C2456-6D86-A3E5-0926-947A68054E7B}"/>
              </a:ext>
            </a:extLst>
          </p:cNvPr>
          <p:cNvSpPr>
            <a:spLocks noGrp="1"/>
          </p:cNvSpPr>
          <p:nvPr>
            <p:ph idx="26"/>
          </p:nvPr>
        </p:nvSpPr>
        <p:spPr>
          <a:xfrm>
            <a:off x="8694319" y="1627188"/>
            <a:ext cx="2952000" cy="1440000"/>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4">
            <a:extLst>
              <a:ext uri="{FF2B5EF4-FFF2-40B4-BE49-F238E27FC236}">
                <a16:creationId xmlns:a16="http://schemas.microsoft.com/office/drawing/2014/main" id="{FFAFC75F-E030-883E-23A7-63F9C0CD0B67}"/>
              </a:ext>
            </a:extLst>
          </p:cNvPr>
          <p:cNvSpPr>
            <a:spLocks noGrp="1"/>
          </p:cNvSpPr>
          <p:nvPr>
            <p:ph idx="20"/>
          </p:nvPr>
        </p:nvSpPr>
        <p:spPr>
          <a:xfrm>
            <a:off x="8694319" y="3251926"/>
            <a:ext cx="2952000" cy="1440000"/>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5">
            <a:extLst>
              <a:ext uri="{FF2B5EF4-FFF2-40B4-BE49-F238E27FC236}">
                <a16:creationId xmlns:a16="http://schemas.microsoft.com/office/drawing/2014/main" id="{CFE2D76C-9AF3-1D5C-E0E1-2F721FBCF4A7}"/>
              </a:ext>
            </a:extLst>
          </p:cNvPr>
          <p:cNvSpPr>
            <a:spLocks noGrp="1"/>
          </p:cNvSpPr>
          <p:nvPr>
            <p:ph idx="21"/>
          </p:nvPr>
        </p:nvSpPr>
        <p:spPr>
          <a:xfrm>
            <a:off x="8694319" y="4876663"/>
            <a:ext cx="2952000" cy="1440000"/>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Notes">
            <a:extLst>
              <a:ext uri="{FF2B5EF4-FFF2-40B4-BE49-F238E27FC236}">
                <a16:creationId xmlns:a16="http://schemas.microsoft.com/office/drawing/2014/main" id="{41141538-7C53-78AA-F975-852B950C9EA3}"/>
              </a:ext>
            </a:extLst>
          </p:cNvPr>
          <p:cNvSpPr>
            <a:spLocks noGrp="1"/>
          </p:cNvSpPr>
          <p:nvPr>
            <p:ph type="body" sz="quarter" idx="23" hasCustomPrompt="1"/>
          </p:nvPr>
        </p:nvSpPr>
        <p:spPr>
          <a:xfrm>
            <a:off x="269875" y="6499716"/>
            <a:ext cx="7344000" cy="108000"/>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
        <p:nvSpPr>
          <p:cNvPr id="7" name="Slide Number Placeholder">
            <a:extLst>
              <a:ext uri="{FF2B5EF4-FFF2-40B4-BE49-F238E27FC236}">
                <a16:creationId xmlns:a16="http://schemas.microsoft.com/office/drawing/2014/main" id="{A184C8F4-6788-F2F5-AAE6-65BFBF877E5A}"/>
              </a:ext>
            </a:extLst>
          </p:cNvPr>
          <p:cNvSpPr>
            <a:spLocks noGrp="1" noRot="1" noMove="1" noResize="1" noEditPoints="1" noAdjustHandles="1" noChangeArrowheads="1" noChangeShapeType="1"/>
          </p:cNvSpPr>
          <p:nvPr>
            <p:ph type="sldNum" sz="quarter" idx="4"/>
          </p:nvPr>
        </p:nvSpPr>
        <p:spPr>
          <a:xfrm>
            <a:off x="11639054" y="6499716"/>
            <a:ext cx="288000" cy="108000"/>
          </a:xfrm>
          <a:prstGeom prst="rect">
            <a:avLst/>
          </a:prstGeom>
        </p:spPr>
        <p:txBody>
          <a:bodyPr vert="horz" lIns="0" tIns="0" rIns="0" bIns="0" rtlCol="0" anchor="b" anchorCtr="0"/>
          <a:lstStyle>
            <a:lvl1pPr>
              <a:defRPr lang="en-GB" sz="650" spc="0" baseline="0" smtClean="0">
                <a:solidFill>
                  <a:schemeClr val="bg1"/>
                </a:solidFill>
              </a:defRPr>
            </a:lvl1pPr>
          </a:lstStyle>
          <a:p>
            <a:pPr algn="r" defTabSz="914400"/>
            <a:fld id="{B95011C1-D4CA-414C-97DD-45D89C990525}" type="slidenum">
              <a:rPr lang="en-GB" smtClean="0"/>
              <a:pPr algn="r" defTabSz="914400"/>
              <a:t>‹#›</a:t>
            </a:fld>
            <a:endParaRPr lang="en-GB"/>
          </a:p>
        </p:txBody>
      </p:sp>
      <p:sp>
        <p:nvSpPr>
          <p:cNvPr id="17" name="Logo">
            <a:extLst>
              <a:ext uri="{FF2B5EF4-FFF2-40B4-BE49-F238E27FC236}">
                <a16:creationId xmlns:a16="http://schemas.microsoft.com/office/drawing/2014/main" id="{BF4CB7BC-BE65-FBF0-7821-33DF9743B847}"/>
              </a:ext>
            </a:extLst>
          </p:cNvPr>
          <p:cNvSpPr>
            <a:spLocks noGrp="1" noRot="1" noChangeAspect="1" noMove="1" noResize="1" noEditPoints="1" noAdjustHandles="1" noChangeArrowheads="1" noChangeShapeType="1"/>
          </p:cNvSpPr>
          <p:nvPr>
            <p:ph type="body" sz="quarter" idx="16" hasCustomPrompt="1"/>
          </p:nvPr>
        </p:nvSpPr>
        <p:spPr>
          <a:xfrm>
            <a:off x="11772254" y="273384"/>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55005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4793">
          <p15:clr>
            <a:srgbClr val="A4A3A4"/>
          </p15:clr>
        </p15:guide>
        <p15:guide id="6" pos="5133">
          <p15:clr>
            <a:srgbClr val="A4A3A4"/>
          </p15:clr>
        </p15:guide>
        <p15:guide id="7" pos="7333">
          <p15:clr>
            <a:srgbClr val="A4A3A4"/>
          </p15:clr>
        </p15:guide>
        <p15:guide id="8" pos="547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ntent and Sidebar Left">
    <p:spTree>
      <p:nvGrpSpPr>
        <p:cNvPr id="1" name=""/>
        <p:cNvGrpSpPr/>
        <p:nvPr/>
      </p:nvGrpSpPr>
      <p:grpSpPr>
        <a:xfrm>
          <a:off x="0" y="0"/>
          <a:ext cx="0" cy="0"/>
          <a:chOff x="0" y="0"/>
          <a:chExt cx="0" cy="0"/>
        </a:xfrm>
      </p:grpSpPr>
      <p:sp>
        <p:nvSpPr>
          <p:cNvPr id="7" name="Colour block">
            <a:extLst>
              <a:ext uri="{FF2B5EF4-FFF2-40B4-BE49-F238E27FC236}">
                <a16:creationId xmlns:a16="http://schemas.microsoft.com/office/drawing/2014/main" id="{57058AE1-D690-E0B9-EC09-16CC597C551E}"/>
              </a:ext>
            </a:extLst>
          </p:cNvPr>
          <p:cNvSpPr>
            <a:spLocks noGrp="1"/>
          </p:cNvSpPr>
          <p:nvPr>
            <p:ph type="body" sz="quarter" idx="18" hasCustomPrompt="1"/>
          </p:nvPr>
        </p:nvSpPr>
        <p:spPr>
          <a:xfrm>
            <a:off x="0" y="0"/>
            <a:ext cx="4043363" cy="6858000"/>
          </a:xfrm>
          <a:solidFill>
            <a:srgbClr val="451F23"/>
          </a:solidFill>
        </p:spPr>
        <p:txBody>
          <a:bodyPr rIns="0"/>
          <a:lstStyle>
            <a:lvl1pPr>
              <a:defRPr sz="100"/>
            </a:lvl1pPr>
          </a:lstStyle>
          <a:p>
            <a:pPr lvl="0"/>
            <a:r>
              <a:rPr lang="en-GB"/>
              <a:t> </a:t>
            </a:r>
          </a:p>
        </p:txBody>
      </p:sp>
      <p:sp>
        <p:nvSpPr>
          <p:cNvPr id="6" name="Title">
            <a:extLst>
              <a:ext uri="{FF2B5EF4-FFF2-40B4-BE49-F238E27FC236}">
                <a16:creationId xmlns:a16="http://schemas.microsoft.com/office/drawing/2014/main" id="{A85962EB-148D-AB90-B232-2700A5C85510}"/>
              </a:ext>
            </a:extLst>
          </p:cNvPr>
          <p:cNvSpPr>
            <a:spLocks noGrp="1"/>
          </p:cNvSpPr>
          <p:nvPr>
            <p:ph type="title"/>
          </p:nvPr>
        </p:nvSpPr>
        <p:spPr>
          <a:xfrm>
            <a:off x="4588575" y="556007"/>
            <a:ext cx="6337299" cy="692336"/>
          </a:xfrm>
        </p:spPr>
        <p:txBody>
          <a:bodyPr anchor="b"/>
          <a:lstStyle/>
          <a:p>
            <a:r>
              <a:rPr lang="en-US"/>
              <a:t>Click to edit Master title style</a:t>
            </a:r>
            <a:endParaRPr lang="en-GB"/>
          </a:p>
        </p:txBody>
      </p:sp>
      <p:sp>
        <p:nvSpPr>
          <p:cNvPr id="3" name="Content 1">
            <a:extLst>
              <a:ext uri="{FF2B5EF4-FFF2-40B4-BE49-F238E27FC236}">
                <a16:creationId xmlns:a16="http://schemas.microsoft.com/office/drawing/2014/main" id="{2DDA1D60-5A69-41EF-9CF7-893D572065C8}"/>
              </a:ext>
            </a:extLst>
          </p:cNvPr>
          <p:cNvSpPr>
            <a:spLocks noGrp="1"/>
          </p:cNvSpPr>
          <p:nvPr>
            <p:ph idx="1"/>
          </p:nvPr>
        </p:nvSpPr>
        <p:spPr>
          <a:xfrm>
            <a:off x="4585337" y="1627188"/>
            <a:ext cx="3024000" cy="468947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2">
            <a:extLst>
              <a:ext uri="{FF2B5EF4-FFF2-40B4-BE49-F238E27FC236}">
                <a16:creationId xmlns:a16="http://schemas.microsoft.com/office/drawing/2014/main" id="{699E0E26-D5ED-BC1B-2A66-4DD4E394501A}"/>
              </a:ext>
            </a:extLst>
          </p:cNvPr>
          <p:cNvSpPr>
            <a:spLocks noGrp="1"/>
          </p:cNvSpPr>
          <p:nvPr>
            <p:ph idx="17"/>
          </p:nvPr>
        </p:nvSpPr>
        <p:spPr>
          <a:xfrm>
            <a:off x="7901874" y="1627188"/>
            <a:ext cx="3024000" cy="468947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3">
            <a:extLst>
              <a:ext uri="{FF2B5EF4-FFF2-40B4-BE49-F238E27FC236}">
                <a16:creationId xmlns:a16="http://schemas.microsoft.com/office/drawing/2014/main" id="{17702F75-D9DE-2A73-3EFA-D5EA847ADEAB}"/>
              </a:ext>
            </a:extLst>
          </p:cNvPr>
          <p:cNvSpPr>
            <a:spLocks noGrp="1"/>
          </p:cNvSpPr>
          <p:nvPr>
            <p:ph idx="19"/>
          </p:nvPr>
        </p:nvSpPr>
        <p:spPr>
          <a:xfrm>
            <a:off x="536641" y="543651"/>
            <a:ext cx="2970081" cy="1764000"/>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4">
            <a:extLst>
              <a:ext uri="{FF2B5EF4-FFF2-40B4-BE49-F238E27FC236}">
                <a16:creationId xmlns:a16="http://schemas.microsoft.com/office/drawing/2014/main" id="{7A165B55-5AFB-19C2-2E00-ADF077912411}"/>
              </a:ext>
            </a:extLst>
          </p:cNvPr>
          <p:cNvSpPr>
            <a:spLocks noGrp="1"/>
          </p:cNvSpPr>
          <p:nvPr>
            <p:ph idx="20"/>
          </p:nvPr>
        </p:nvSpPr>
        <p:spPr>
          <a:xfrm>
            <a:off x="536641" y="2548157"/>
            <a:ext cx="2970081" cy="1764000"/>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5">
            <a:extLst>
              <a:ext uri="{FF2B5EF4-FFF2-40B4-BE49-F238E27FC236}">
                <a16:creationId xmlns:a16="http://schemas.microsoft.com/office/drawing/2014/main" id="{2AF2281D-76CE-21D6-2937-2A19DE65A2CA}"/>
              </a:ext>
            </a:extLst>
          </p:cNvPr>
          <p:cNvSpPr>
            <a:spLocks noGrp="1"/>
          </p:cNvSpPr>
          <p:nvPr>
            <p:ph idx="21"/>
          </p:nvPr>
        </p:nvSpPr>
        <p:spPr>
          <a:xfrm>
            <a:off x="536641" y="4552663"/>
            <a:ext cx="2970081" cy="1764000"/>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tes">
            <a:extLst>
              <a:ext uri="{FF2B5EF4-FFF2-40B4-BE49-F238E27FC236}">
                <a16:creationId xmlns:a16="http://schemas.microsoft.com/office/drawing/2014/main" id="{9F0658F1-06C9-CB7E-4BFB-4E7C9020955C}"/>
              </a:ext>
            </a:extLst>
          </p:cNvPr>
          <p:cNvSpPr>
            <a:spLocks noGrp="1"/>
          </p:cNvSpPr>
          <p:nvPr>
            <p:ph type="body" sz="quarter" idx="22" hasCustomPrompt="1"/>
          </p:nvPr>
        </p:nvSpPr>
        <p:spPr>
          <a:xfrm>
            <a:off x="4583113" y="6499654"/>
            <a:ext cx="6337300" cy="108062"/>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Tree>
    <p:extLst>
      <p:ext uri="{BB962C8B-B14F-4D97-AF65-F5344CB8AC3E}">
        <p14:creationId xmlns:p14="http://schemas.microsoft.com/office/powerpoint/2010/main" val="343849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2547">
          <p15:clr>
            <a:srgbClr val="A4A3A4"/>
          </p15:clr>
        </p15:guide>
        <p15:guide id="7" pos="2887">
          <p15:clr>
            <a:srgbClr val="A4A3A4"/>
          </p15:clr>
        </p15:guide>
        <p15:guide id="8" pos="6879">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at and How">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5C6922D-C241-7794-CCFF-C0757343FBEC}"/>
              </a:ext>
            </a:extLst>
          </p:cNvPr>
          <p:cNvSpPr>
            <a:spLocks noGrp="1"/>
          </p:cNvSpPr>
          <p:nvPr>
            <p:ph type="title"/>
          </p:nvPr>
        </p:nvSpPr>
        <p:spPr/>
        <p:txBody>
          <a:bodyPr/>
          <a:lstStyle/>
          <a:p>
            <a:r>
              <a:rPr lang="en-US"/>
              <a:t>Click to edit Master title style</a:t>
            </a:r>
            <a:endParaRPr lang="en-GB"/>
          </a:p>
        </p:txBody>
      </p:sp>
      <p:sp>
        <p:nvSpPr>
          <p:cNvPr id="37" name="Colour block">
            <a:extLst>
              <a:ext uri="{FF2B5EF4-FFF2-40B4-BE49-F238E27FC236}">
                <a16:creationId xmlns:a16="http://schemas.microsoft.com/office/drawing/2014/main" id="{649FD880-33A5-450C-85F9-EE4073361C47}"/>
              </a:ext>
            </a:extLst>
          </p:cNvPr>
          <p:cNvSpPr>
            <a:spLocks/>
          </p:cNvSpPr>
          <p:nvPr/>
        </p:nvSpPr>
        <p:spPr>
          <a:xfrm>
            <a:off x="269875" y="2250460"/>
            <a:ext cx="8676000" cy="4068000"/>
          </a:xfrm>
          <a:prstGeom prst="rect">
            <a:avLst/>
          </a:prstGeom>
          <a:solidFill>
            <a:srgbClr val="F2F2F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93000"/>
              </a:lnSpc>
            </a:pPr>
            <a:endParaRPr lang="en-GB" sz="1100" noProof="0">
              <a:solidFill>
                <a:srgbClr val="2F363B"/>
              </a:solidFill>
            </a:endParaRPr>
          </a:p>
        </p:txBody>
      </p:sp>
      <p:sp>
        <p:nvSpPr>
          <p:cNvPr id="40" name="&quot;What&quot; content">
            <a:extLst>
              <a:ext uri="{FF2B5EF4-FFF2-40B4-BE49-F238E27FC236}">
                <a16:creationId xmlns:a16="http://schemas.microsoft.com/office/drawing/2014/main" id="{31A2C943-05A0-D300-CE8A-D1DE9E3F26DD}"/>
              </a:ext>
            </a:extLst>
          </p:cNvPr>
          <p:cNvSpPr>
            <a:spLocks noGrp="1"/>
          </p:cNvSpPr>
          <p:nvPr>
            <p:ph type="body" sz="quarter" idx="31"/>
          </p:nvPr>
        </p:nvSpPr>
        <p:spPr>
          <a:xfrm>
            <a:off x="269875" y="1407051"/>
            <a:ext cx="11649075" cy="664976"/>
          </a:xfrm>
          <a:solidFill>
            <a:srgbClr val="F2F2F1"/>
          </a:solidFill>
        </p:spPr>
        <p:txBody>
          <a:bodyPr lIns="1080000" tIns="72000" rIns="360000" bIns="72000" anchor="ctr" anchorCtr="0"/>
          <a:lstStyle>
            <a:lvl1pPr>
              <a:defRPr sz="1000"/>
            </a:lvl1pPr>
            <a:lvl2pPr>
              <a:defRPr sz="1000"/>
            </a:lvl2pPr>
            <a:lvl3pPr marL="144004" indent="0">
              <a:buNone/>
              <a:defRPr sz="1000"/>
            </a:lvl3pPr>
            <a:lvl4pPr>
              <a:defRPr sz="1000"/>
            </a:lvl4pPr>
            <a:lvl5pPr>
              <a:defRPr sz="1000"/>
            </a:lvl5pPr>
          </a:lstStyle>
          <a:p>
            <a:pPr lvl="0"/>
            <a:r>
              <a:rPr lang="en-US"/>
              <a:t>Click to edit Master text styles</a:t>
            </a:r>
          </a:p>
          <a:p>
            <a:pPr lvl="1"/>
            <a:r>
              <a:rPr lang="en-US"/>
              <a:t>Second level</a:t>
            </a:r>
          </a:p>
        </p:txBody>
      </p:sp>
      <p:sp>
        <p:nvSpPr>
          <p:cNvPr id="23" name="What">
            <a:extLst>
              <a:ext uri="{FF2B5EF4-FFF2-40B4-BE49-F238E27FC236}">
                <a16:creationId xmlns:a16="http://schemas.microsoft.com/office/drawing/2014/main" id="{FBB53F38-9FB3-3D67-A503-23EE3F44132F}"/>
              </a:ext>
            </a:extLst>
          </p:cNvPr>
          <p:cNvSpPr>
            <a:spLocks noGrp="1"/>
          </p:cNvSpPr>
          <p:nvPr>
            <p:ph type="body" sz="quarter" idx="34" hasCustomPrompt="1"/>
          </p:nvPr>
        </p:nvSpPr>
        <p:spPr>
          <a:xfrm>
            <a:off x="269875" y="1407051"/>
            <a:ext cx="612000" cy="216000"/>
          </a:xfrm>
          <a:blipFill>
            <a:blip r:embed="rId2">
              <a:extLst>
                <a:ext uri="{96DAC541-7B7A-43D3-8B79-37D633B846F1}">
                  <asvg:svgBlip xmlns:asvg="http://schemas.microsoft.com/office/drawing/2016/SVG/main" r:embed="rId3"/>
                </a:ext>
              </a:extLst>
            </a:blip>
            <a:srcRect/>
            <a:stretch>
              <a:fillRect l="-2139" r="-2139"/>
            </a:stretch>
          </a:blipFill>
        </p:spPr>
        <p:txBody>
          <a:bodyPr lIns="0" anchor="ctr" anchorCtr="0"/>
          <a:lstStyle>
            <a:lvl1pPr algn="ctr">
              <a:defRPr sz="1100" cap="all" baseline="0"/>
            </a:lvl1pPr>
            <a:lvl2pPr>
              <a:defRPr sz="1000"/>
            </a:lvl2pPr>
            <a:lvl3pPr marL="144004" indent="0">
              <a:buNone/>
              <a:defRPr sz="1000"/>
            </a:lvl3pPr>
            <a:lvl4pPr>
              <a:defRPr sz="1000"/>
            </a:lvl4pPr>
            <a:lvl5pPr>
              <a:defRPr sz="1000"/>
            </a:lvl5pPr>
          </a:lstStyle>
          <a:p>
            <a:pPr lvl="0"/>
            <a:r>
              <a:rPr lang="en-GB"/>
              <a:t> </a:t>
            </a:r>
          </a:p>
        </p:txBody>
      </p:sp>
      <p:sp>
        <p:nvSpPr>
          <p:cNvPr id="42" name="How">
            <a:extLst>
              <a:ext uri="{FF2B5EF4-FFF2-40B4-BE49-F238E27FC236}">
                <a16:creationId xmlns:a16="http://schemas.microsoft.com/office/drawing/2014/main" id="{6273D327-C9CB-7A09-8256-300FFDC82544}"/>
              </a:ext>
            </a:extLst>
          </p:cNvPr>
          <p:cNvSpPr>
            <a:spLocks noGrp="1"/>
          </p:cNvSpPr>
          <p:nvPr>
            <p:ph type="body" sz="quarter" idx="33" hasCustomPrompt="1"/>
          </p:nvPr>
        </p:nvSpPr>
        <p:spPr>
          <a:xfrm>
            <a:off x="269875" y="2250460"/>
            <a:ext cx="612000" cy="216000"/>
          </a:xfrm>
          <a:blipFill>
            <a:blip r:embed="rId4">
              <a:extLst>
                <a:ext uri="{96DAC541-7B7A-43D3-8B79-37D633B846F1}">
                  <asvg:svgBlip xmlns:asvg="http://schemas.microsoft.com/office/drawing/2016/SVG/main" r:embed="rId5"/>
                </a:ext>
              </a:extLst>
            </a:blip>
            <a:srcRect/>
            <a:stretch>
              <a:fillRect l="-1337" r="-1337"/>
            </a:stretch>
          </a:blipFill>
        </p:spPr>
        <p:txBody>
          <a:bodyPr lIns="0" anchor="ctr" anchorCtr="0"/>
          <a:lstStyle>
            <a:lvl1pPr algn="ctr">
              <a:defRPr sz="1100" cap="all" baseline="0"/>
            </a:lvl1pPr>
            <a:lvl2pPr>
              <a:defRPr sz="1000"/>
            </a:lvl2pPr>
            <a:lvl3pPr marL="144004" indent="0">
              <a:buNone/>
              <a:defRPr sz="1000"/>
            </a:lvl3pPr>
            <a:lvl4pPr>
              <a:defRPr sz="1000"/>
            </a:lvl4pPr>
            <a:lvl5pPr>
              <a:defRPr sz="1000"/>
            </a:lvl5pPr>
          </a:lstStyle>
          <a:p>
            <a:pPr lvl="0"/>
            <a:r>
              <a:rPr lang="en-GB"/>
              <a:t> </a:t>
            </a:r>
          </a:p>
        </p:txBody>
      </p:sp>
      <p:sp>
        <p:nvSpPr>
          <p:cNvPr id="32" name="Heading 1">
            <a:extLst>
              <a:ext uri="{FF2B5EF4-FFF2-40B4-BE49-F238E27FC236}">
                <a16:creationId xmlns:a16="http://schemas.microsoft.com/office/drawing/2014/main" id="{1831D754-7C13-762F-F862-7D25B9C8C3EB}"/>
              </a:ext>
            </a:extLst>
          </p:cNvPr>
          <p:cNvSpPr>
            <a:spLocks noGrp="1"/>
          </p:cNvSpPr>
          <p:nvPr>
            <p:ph type="body" sz="quarter" idx="35"/>
          </p:nvPr>
        </p:nvSpPr>
        <p:spPr>
          <a:xfrm>
            <a:off x="545875" y="2637922"/>
            <a:ext cx="2520000" cy="216000"/>
          </a:xfrm>
          <a:gradFill flip="none" rotWithShape="1">
            <a:gsLst>
              <a:gs pos="2000">
                <a:srgbClr val="1F2023"/>
              </a:gs>
              <a:gs pos="2000">
                <a:schemeClr val="bg1">
                  <a:alpha val="0"/>
                </a:schemeClr>
              </a:gs>
            </a:gsLst>
            <a:lin ang="16200000" scaled="1"/>
            <a:tileRect/>
          </a:gradFill>
        </p:spPr>
        <p:txBody>
          <a:bodyPr bIns="36000" anchor="b"/>
          <a:lstStyle>
            <a:lvl1pPr>
              <a:spcAft>
                <a:spcPts val="0"/>
              </a:spcAft>
              <a:defRPr sz="1000" b="1"/>
            </a:lvl1pPr>
            <a:lvl2pPr marL="0" indent="0">
              <a:spcAft>
                <a:spcPts val="0"/>
              </a:spcAft>
              <a:buNone/>
              <a:defRPr sz="1000"/>
            </a:lvl2pPr>
            <a:lvl3pPr>
              <a:spcAft>
                <a:spcPts val="0"/>
              </a:spcAft>
              <a:defRPr sz="1000"/>
            </a:lvl3pPr>
            <a:lvl4pPr>
              <a:spcAft>
                <a:spcPts val="0"/>
              </a:spcAft>
              <a:defRPr sz="1000"/>
            </a:lvl4pPr>
            <a:lvl5pPr>
              <a:spcAft>
                <a:spcPts val="0"/>
              </a:spcAft>
              <a:defRPr sz="1000"/>
            </a:lvl5pPr>
          </a:lstStyle>
          <a:p>
            <a:pPr lvl="0"/>
            <a:r>
              <a:rPr lang="en-US"/>
              <a:t>Click to edit Master text styles</a:t>
            </a:r>
          </a:p>
        </p:txBody>
      </p:sp>
      <p:sp>
        <p:nvSpPr>
          <p:cNvPr id="3" name="Text 1">
            <a:extLst>
              <a:ext uri="{FF2B5EF4-FFF2-40B4-BE49-F238E27FC236}">
                <a16:creationId xmlns:a16="http://schemas.microsoft.com/office/drawing/2014/main" id="{3B622DA7-C370-CF0B-FCE6-188D12542934}"/>
              </a:ext>
            </a:extLst>
          </p:cNvPr>
          <p:cNvSpPr>
            <a:spLocks noGrp="1"/>
          </p:cNvSpPr>
          <p:nvPr>
            <p:ph type="body" sz="quarter" idx="32"/>
          </p:nvPr>
        </p:nvSpPr>
        <p:spPr>
          <a:xfrm>
            <a:off x="545875" y="2949537"/>
            <a:ext cx="2520000" cy="3204001"/>
          </a:xfrm>
        </p:spPr>
        <p:txBody>
          <a:bodyPr lIns="0" tIns="0" rIns="0" bIns="0"/>
          <a:lstStyle>
            <a:lvl1pPr>
              <a:defRPr sz="1000"/>
            </a:lvl1pPr>
            <a:lvl2pPr>
              <a:defRPr sz="1000"/>
            </a:lvl2pPr>
            <a:lvl3pPr>
              <a:defRPr sz="1000"/>
            </a:lvl3pPr>
            <a:lvl4pPr>
              <a:defRPr sz="1000"/>
            </a:lvl4pPr>
            <a:lvl5pPr>
              <a:defRPr sz="1000"/>
            </a:lvl5pPr>
            <a:lvl6pPr>
              <a:defRPr sz="1000"/>
            </a:lvl6pPr>
            <a:lvl7pPr>
              <a:defRPr sz="1000"/>
            </a:lvl7pPr>
            <a:lvl8pPr>
              <a:buAutoNum type="alphaUcPeriod"/>
              <a:defRPr sz="10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Heading 2">
            <a:extLst>
              <a:ext uri="{FF2B5EF4-FFF2-40B4-BE49-F238E27FC236}">
                <a16:creationId xmlns:a16="http://schemas.microsoft.com/office/drawing/2014/main" id="{A1C7F724-4D48-CF95-7AD5-210311B85BD3}"/>
              </a:ext>
            </a:extLst>
          </p:cNvPr>
          <p:cNvSpPr>
            <a:spLocks noGrp="1"/>
          </p:cNvSpPr>
          <p:nvPr>
            <p:ph type="body" sz="quarter" idx="36"/>
          </p:nvPr>
        </p:nvSpPr>
        <p:spPr>
          <a:xfrm>
            <a:off x="3347875" y="2637922"/>
            <a:ext cx="2520000" cy="216000"/>
          </a:xfrm>
          <a:gradFill flip="none" rotWithShape="1">
            <a:gsLst>
              <a:gs pos="2000">
                <a:srgbClr val="1F2023"/>
              </a:gs>
              <a:gs pos="2000">
                <a:schemeClr val="bg1">
                  <a:alpha val="0"/>
                </a:schemeClr>
              </a:gs>
            </a:gsLst>
            <a:lin ang="16200000" scaled="1"/>
            <a:tileRect/>
          </a:gradFill>
        </p:spPr>
        <p:txBody>
          <a:bodyPr bIns="36000" anchor="b"/>
          <a:lstStyle>
            <a:lvl1pPr>
              <a:spcAft>
                <a:spcPts val="0"/>
              </a:spcAft>
              <a:defRPr sz="1000" b="1"/>
            </a:lvl1pPr>
            <a:lvl2pPr marL="0" indent="0">
              <a:spcAft>
                <a:spcPts val="0"/>
              </a:spcAft>
              <a:buNone/>
              <a:defRPr sz="1000"/>
            </a:lvl2pPr>
            <a:lvl3pPr>
              <a:spcAft>
                <a:spcPts val="0"/>
              </a:spcAft>
              <a:defRPr sz="1000"/>
            </a:lvl3pPr>
            <a:lvl4pPr>
              <a:spcAft>
                <a:spcPts val="0"/>
              </a:spcAft>
              <a:defRPr sz="1000"/>
            </a:lvl4pPr>
            <a:lvl5pPr>
              <a:spcAft>
                <a:spcPts val="0"/>
              </a:spcAft>
              <a:defRPr sz="1000"/>
            </a:lvl5pPr>
          </a:lstStyle>
          <a:p>
            <a:pPr lvl="0"/>
            <a:r>
              <a:rPr lang="en-US"/>
              <a:t>Click to edit Master text styles</a:t>
            </a:r>
          </a:p>
        </p:txBody>
      </p:sp>
      <p:sp>
        <p:nvSpPr>
          <p:cNvPr id="4" name="Text 2">
            <a:extLst>
              <a:ext uri="{FF2B5EF4-FFF2-40B4-BE49-F238E27FC236}">
                <a16:creationId xmlns:a16="http://schemas.microsoft.com/office/drawing/2014/main" id="{FBEA57A3-B715-834A-39CE-CB75151B26C6}"/>
              </a:ext>
            </a:extLst>
          </p:cNvPr>
          <p:cNvSpPr>
            <a:spLocks noGrp="1"/>
          </p:cNvSpPr>
          <p:nvPr>
            <p:ph type="body" sz="quarter" idx="38"/>
          </p:nvPr>
        </p:nvSpPr>
        <p:spPr>
          <a:xfrm>
            <a:off x="3347875" y="2949537"/>
            <a:ext cx="2520000" cy="3204001"/>
          </a:xfrm>
        </p:spPr>
        <p:txBody>
          <a:bodyPr lIns="0" tIns="0" rIns="0" bIns="0"/>
          <a:lstStyle>
            <a:lvl1pPr>
              <a:defRPr sz="1000"/>
            </a:lvl1pPr>
            <a:lvl2pPr>
              <a:defRPr sz="1000"/>
            </a:lvl2pPr>
            <a:lvl3pPr>
              <a:defRPr sz="1000"/>
            </a:lvl3pPr>
            <a:lvl4pPr>
              <a:defRPr sz="1000"/>
            </a:lvl4pPr>
            <a:lvl5pPr>
              <a:defRPr sz="1000"/>
            </a:lvl5pPr>
            <a:lvl6pPr>
              <a:defRPr sz="1000"/>
            </a:lvl6pPr>
            <a:lvl7pPr>
              <a:defRPr sz="1000"/>
            </a:lvl7pPr>
            <a:lvl8pPr>
              <a:buAutoNum type="alphaUcPeriod"/>
              <a:defRPr sz="10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Heading 3">
            <a:extLst>
              <a:ext uri="{FF2B5EF4-FFF2-40B4-BE49-F238E27FC236}">
                <a16:creationId xmlns:a16="http://schemas.microsoft.com/office/drawing/2014/main" id="{15E781C5-9ED6-F1DC-72E6-D005B7456B44}"/>
              </a:ext>
            </a:extLst>
          </p:cNvPr>
          <p:cNvSpPr>
            <a:spLocks noGrp="1"/>
          </p:cNvSpPr>
          <p:nvPr>
            <p:ph type="body" sz="quarter" idx="37"/>
          </p:nvPr>
        </p:nvSpPr>
        <p:spPr>
          <a:xfrm>
            <a:off x="6149875" y="2637922"/>
            <a:ext cx="2520000" cy="216000"/>
          </a:xfrm>
          <a:gradFill flip="none" rotWithShape="1">
            <a:gsLst>
              <a:gs pos="2000">
                <a:srgbClr val="1F2023"/>
              </a:gs>
              <a:gs pos="2000">
                <a:schemeClr val="bg1">
                  <a:alpha val="0"/>
                </a:schemeClr>
              </a:gs>
            </a:gsLst>
            <a:lin ang="16200000" scaled="1"/>
            <a:tileRect/>
          </a:gradFill>
        </p:spPr>
        <p:txBody>
          <a:bodyPr bIns="36000" anchor="b"/>
          <a:lstStyle>
            <a:lvl1pPr>
              <a:spcAft>
                <a:spcPts val="0"/>
              </a:spcAft>
              <a:defRPr sz="1000" b="1"/>
            </a:lvl1pPr>
            <a:lvl2pPr marL="0" indent="0">
              <a:spcAft>
                <a:spcPts val="0"/>
              </a:spcAft>
              <a:buNone/>
              <a:defRPr sz="1000"/>
            </a:lvl2pPr>
            <a:lvl3pPr>
              <a:spcAft>
                <a:spcPts val="0"/>
              </a:spcAft>
              <a:defRPr sz="1000"/>
            </a:lvl3pPr>
            <a:lvl4pPr>
              <a:spcAft>
                <a:spcPts val="0"/>
              </a:spcAft>
              <a:defRPr sz="1000"/>
            </a:lvl4pPr>
            <a:lvl5pPr>
              <a:spcAft>
                <a:spcPts val="0"/>
              </a:spcAft>
              <a:defRPr sz="1000"/>
            </a:lvl5pPr>
          </a:lstStyle>
          <a:p>
            <a:pPr lvl="0"/>
            <a:r>
              <a:rPr lang="en-US"/>
              <a:t>Click to edit Master text styles</a:t>
            </a:r>
          </a:p>
        </p:txBody>
      </p:sp>
      <p:sp>
        <p:nvSpPr>
          <p:cNvPr id="6" name="Text 3">
            <a:extLst>
              <a:ext uri="{FF2B5EF4-FFF2-40B4-BE49-F238E27FC236}">
                <a16:creationId xmlns:a16="http://schemas.microsoft.com/office/drawing/2014/main" id="{634C86E2-47CD-45FB-0BA0-38D186C9D749}"/>
              </a:ext>
            </a:extLst>
          </p:cNvPr>
          <p:cNvSpPr>
            <a:spLocks noGrp="1"/>
          </p:cNvSpPr>
          <p:nvPr>
            <p:ph type="body" sz="quarter" idx="39"/>
          </p:nvPr>
        </p:nvSpPr>
        <p:spPr>
          <a:xfrm>
            <a:off x="6149875" y="2949537"/>
            <a:ext cx="2520000" cy="3204001"/>
          </a:xfrm>
        </p:spPr>
        <p:txBody>
          <a:bodyPr lIns="0" tIns="0" rIns="0" bIns="0"/>
          <a:lstStyle>
            <a:lvl1pPr>
              <a:defRPr sz="1000"/>
            </a:lvl1pPr>
            <a:lvl2pPr>
              <a:defRPr sz="1000"/>
            </a:lvl2pPr>
            <a:lvl3pPr>
              <a:defRPr sz="1000"/>
            </a:lvl3pPr>
            <a:lvl4pPr>
              <a:defRPr sz="1000"/>
            </a:lvl4pPr>
            <a:lvl5pPr>
              <a:defRPr sz="1000"/>
            </a:lvl5pPr>
            <a:lvl6pPr>
              <a:defRPr sz="1000"/>
            </a:lvl6pPr>
            <a:lvl7pPr>
              <a:defRPr sz="1000"/>
            </a:lvl7pPr>
            <a:lvl8pPr>
              <a:buAutoNum type="alphaUcPeriod"/>
              <a:defRPr sz="10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ummary / Conclusion">
            <a:extLst>
              <a:ext uri="{FF2B5EF4-FFF2-40B4-BE49-F238E27FC236}">
                <a16:creationId xmlns:a16="http://schemas.microsoft.com/office/drawing/2014/main" id="{ACFFC637-5E8D-B19A-9C7D-21339513F586}"/>
              </a:ext>
            </a:extLst>
          </p:cNvPr>
          <p:cNvSpPr>
            <a:spLocks noGrp="1"/>
          </p:cNvSpPr>
          <p:nvPr>
            <p:ph sz="quarter" idx="28"/>
          </p:nvPr>
        </p:nvSpPr>
        <p:spPr>
          <a:xfrm>
            <a:off x="9221171" y="2250460"/>
            <a:ext cx="2700337" cy="4066203"/>
          </a:xfrm>
          <a:prstGeom prst="rect">
            <a:avLst/>
          </a:prstGeom>
          <a:solidFill>
            <a:srgbClr val="D5DDDA"/>
          </a:solidFill>
        </p:spPr>
        <p:txBody>
          <a:bodyPr lIns="144000" tIns="144000" rIns="144000" bIns="144000"/>
          <a:lstStyle>
            <a:lvl1pPr>
              <a:defRPr sz="1000">
                <a:solidFill>
                  <a:srgbClr val="1F2023"/>
                </a:solidFill>
              </a:defRPr>
            </a:lvl1pPr>
            <a:lvl2pPr>
              <a:defRPr sz="1000">
                <a:solidFill>
                  <a:srgbClr val="1F2023"/>
                </a:solidFill>
              </a:defRPr>
            </a:lvl2pPr>
            <a:lvl3pPr>
              <a:defRPr sz="1000">
                <a:solidFill>
                  <a:srgbClr val="1F2023"/>
                </a:solidFill>
              </a:defRPr>
            </a:lvl3pPr>
            <a:lvl4pPr>
              <a:defRPr sz="1000">
                <a:solidFill>
                  <a:srgbClr val="1F2023"/>
                </a:solidFill>
              </a:defRPr>
            </a:lvl4pPr>
            <a:lvl5pPr>
              <a:defRPr sz="1000">
                <a:solidFill>
                  <a:srgbClr val="1F2023"/>
                </a:solidFill>
              </a:defRPr>
            </a:lvl5pPr>
            <a:lvl6pPr>
              <a:defRPr sz="1000"/>
            </a:lvl6pPr>
            <a:lvl7pPr>
              <a:defRPr sz="1000"/>
            </a:lvl7pPr>
            <a:lvl8pPr>
              <a:defRPr sz="10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Notes">
            <a:extLst>
              <a:ext uri="{FF2B5EF4-FFF2-40B4-BE49-F238E27FC236}">
                <a16:creationId xmlns:a16="http://schemas.microsoft.com/office/drawing/2014/main" id="{FFDC6C67-3E77-E18C-022E-E7D9670299E7}"/>
              </a:ext>
            </a:extLst>
          </p:cNvPr>
          <p:cNvSpPr>
            <a:spLocks noGrp="1"/>
          </p:cNvSpPr>
          <p:nvPr>
            <p:ph type="body" sz="quarter" idx="17" hasCustomPrompt="1"/>
          </p:nvPr>
        </p:nvSpPr>
        <p:spPr>
          <a:xfrm>
            <a:off x="269998" y="6501600"/>
            <a:ext cx="8388000"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Tree>
    <p:extLst>
      <p:ext uri="{BB962C8B-B14F-4D97-AF65-F5344CB8AC3E}">
        <p14:creationId xmlns:p14="http://schemas.microsoft.com/office/powerpoint/2010/main" val="22804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07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Gri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9C2EE25-2B33-4472-0F39-8D9C1221ECCD}"/>
              </a:ext>
            </a:extLst>
          </p:cNvPr>
          <p:cNvSpPr>
            <a:spLocks noGrp="1"/>
          </p:cNvSpPr>
          <p:nvPr>
            <p:ph type="title"/>
          </p:nvPr>
        </p:nvSpPr>
        <p:spPr/>
        <p:txBody>
          <a:bodyPr/>
          <a:lstStyle/>
          <a:p>
            <a:r>
              <a:rPr lang="en-US"/>
              <a:t>Click to edit Master title style</a:t>
            </a:r>
            <a:endParaRPr lang="en-GB"/>
          </a:p>
        </p:txBody>
      </p:sp>
      <p:sp>
        <p:nvSpPr>
          <p:cNvPr id="5" name="Notes">
            <a:extLst>
              <a:ext uri="{FF2B5EF4-FFF2-40B4-BE49-F238E27FC236}">
                <a16:creationId xmlns:a16="http://schemas.microsoft.com/office/drawing/2014/main" id="{206AC055-7914-73D7-31F8-269B05E7F1AD}"/>
              </a:ext>
            </a:extLst>
          </p:cNvPr>
          <p:cNvSpPr>
            <a:spLocks noGrp="1"/>
          </p:cNvSpPr>
          <p:nvPr>
            <p:ph type="body" sz="quarter" idx="13" hasCustomPrompt="1"/>
          </p:nvPr>
        </p:nvSpPr>
        <p:spPr>
          <a:xfrm>
            <a:off x="269999" y="6501600"/>
            <a:ext cx="8362597"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grpSp>
        <p:nvGrpSpPr>
          <p:cNvPr id="11" name="Grid group">
            <a:extLst>
              <a:ext uri="{FF2B5EF4-FFF2-40B4-BE49-F238E27FC236}">
                <a16:creationId xmlns:a16="http://schemas.microsoft.com/office/drawing/2014/main" id="{E8ECEB68-2AA8-48EF-A6C7-CEE2AAAB77FA}"/>
              </a:ext>
            </a:extLst>
          </p:cNvPr>
          <p:cNvGrpSpPr>
            <a:grpSpLocks noGrp="1" noUngrp="1" noRot="1" noMove="1" noResize="1"/>
          </p:cNvGrpSpPr>
          <p:nvPr/>
        </p:nvGrpSpPr>
        <p:grpSpPr>
          <a:xfrm>
            <a:off x="263737" y="266717"/>
            <a:ext cx="11735187" cy="6327654"/>
            <a:chOff x="270000" y="266717"/>
            <a:chExt cx="11760891" cy="6327654"/>
          </a:xfrm>
        </p:grpSpPr>
        <p:pic>
          <p:nvPicPr>
            <p:cNvPr id="12" name="Grid 1">
              <a:extLst>
                <a:ext uri="{FF2B5EF4-FFF2-40B4-BE49-F238E27FC236}">
                  <a16:creationId xmlns:a16="http://schemas.microsoft.com/office/drawing/2014/main" id="{BAC46BF9-E889-5856-1DBA-9E0C9785F860}"/>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270000" y="266717"/>
              <a:ext cx="9945452" cy="6327654"/>
            </a:xfrm>
            <a:prstGeom prst="rect">
              <a:avLst/>
            </a:prstGeom>
          </p:spPr>
        </p:pic>
        <p:pic>
          <p:nvPicPr>
            <p:cNvPr id="13" name="Grid 2">
              <a:extLst>
                <a:ext uri="{FF2B5EF4-FFF2-40B4-BE49-F238E27FC236}">
                  <a16:creationId xmlns:a16="http://schemas.microsoft.com/office/drawing/2014/main" id="{87AC4E32-FA61-2AEA-ADBC-8D88E884EE9E}"/>
                </a:ext>
              </a:extLst>
            </p:cNvPr>
            <p:cNvPicPr>
              <a:picLocks noGrp="1" noRot="1" noChangeAspect="1" noMove="1" noResize="1" noEditPoints="1" noAdjustHandles="1" noChangeArrowheads="1" noChangeShapeType="1" noCrop="1"/>
            </p:cNvPicPr>
            <p:nvPr/>
          </p:nvPicPr>
          <p:blipFill rotWithShape="1">
            <a:blip r:embed="rId2">
              <a:extLst>
                <a:ext uri="{28A0092B-C50C-407E-A947-70E740481C1C}">
                  <a14:useLocalDpi xmlns:a14="http://schemas.microsoft.com/office/drawing/2010/main" val="0"/>
                </a:ext>
              </a:extLst>
            </a:blip>
            <a:srcRect r="84152"/>
            <a:stretch/>
          </p:blipFill>
          <p:spPr>
            <a:xfrm>
              <a:off x="10454715" y="266717"/>
              <a:ext cx="1576176" cy="6327654"/>
            </a:xfrm>
            <a:prstGeom prst="rect">
              <a:avLst/>
            </a:prstGeom>
          </p:spPr>
        </p:pic>
      </p:grpSp>
    </p:spTree>
    <p:extLst>
      <p:ext uri="{BB962C8B-B14F-4D97-AF65-F5344CB8AC3E}">
        <p14:creationId xmlns:p14="http://schemas.microsoft.com/office/powerpoint/2010/main" val="257586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Image Dark Text and Logo">
    <p:spTree>
      <p:nvGrpSpPr>
        <p:cNvPr id="1" name=""/>
        <p:cNvGrpSpPr/>
        <p:nvPr/>
      </p:nvGrpSpPr>
      <p:grpSpPr>
        <a:xfrm>
          <a:off x="0" y="0"/>
          <a:ext cx="0" cy="0"/>
          <a:chOff x="0" y="0"/>
          <a:chExt cx="0" cy="0"/>
        </a:xfrm>
      </p:grpSpPr>
      <p:sp>
        <p:nvSpPr>
          <p:cNvPr id="16" name="Colour block">
            <a:extLst>
              <a:ext uri="{FF2B5EF4-FFF2-40B4-BE49-F238E27FC236}">
                <a16:creationId xmlns:a16="http://schemas.microsoft.com/office/drawing/2014/main" id="{565654DB-4A86-11D6-655F-A9DF03002CA0}"/>
              </a:ext>
            </a:extLst>
          </p:cNvPr>
          <p:cNvSpPr>
            <a:spLocks noGrp="1"/>
          </p:cNvSpPr>
          <p:nvPr>
            <p:ph type="body" sz="quarter" idx="20" hasCustomPrompt="1"/>
          </p:nvPr>
        </p:nvSpPr>
        <p:spPr>
          <a:xfrm>
            <a:off x="0" y="0"/>
            <a:ext cx="3940175" cy="6858000"/>
          </a:xfrm>
          <a:solidFill>
            <a:srgbClr val="E1C1B5"/>
          </a:solidFill>
        </p:spPr>
        <p:txBody>
          <a:bodyPr/>
          <a:lstStyle>
            <a:lvl1pPr>
              <a:defRPr sz="100">
                <a:solidFill>
                  <a:srgbClr val="30373B"/>
                </a:solidFill>
              </a:defRPr>
            </a:lvl1pPr>
          </a:lstStyle>
          <a:p>
            <a:pPr lvl="0"/>
            <a:r>
              <a:rPr lang="en-GB"/>
              <a:t> </a:t>
            </a:r>
          </a:p>
        </p:txBody>
      </p:sp>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439770" y="1627188"/>
            <a:ext cx="3060000" cy="4514119"/>
          </a:xfrm>
          <a:noFill/>
        </p:spPr>
        <p:txBody>
          <a:bodyPr vert="horz" lIns="0" tIns="0" rIns="0" anchor="b"/>
          <a:lstStyle>
            <a:lvl1pPr>
              <a:lnSpc>
                <a:spcPct val="85000"/>
              </a:lnSpc>
              <a:spcAft>
                <a:spcPts val="1200"/>
              </a:spcAft>
              <a:defRPr sz="4000" cap="none" normalizeH="0" baseline="0">
                <a:solidFill>
                  <a:srgbClr val="1F2023"/>
                </a:solidFill>
                <a:latin typeface="Palatino Linotype" panose="02040502050505030304" pitchFamily="18" charset="0"/>
              </a:defRPr>
            </a:lvl1pPr>
          </a:lstStyle>
          <a:p>
            <a:r>
              <a:rPr lang="en-GB"/>
              <a:t>Click to edit master title style</a:t>
            </a:r>
          </a:p>
        </p:txBody>
      </p:sp>
      <p:sp>
        <p:nvSpPr>
          <p:cNvPr id="6" name="Picture Placeholder">
            <a:extLst>
              <a:ext uri="{FF2B5EF4-FFF2-40B4-BE49-F238E27FC236}">
                <a16:creationId xmlns:a16="http://schemas.microsoft.com/office/drawing/2014/main" id="{D751BF01-CAE2-0724-E7CF-97A09CC5B8B3}"/>
              </a:ext>
            </a:extLst>
          </p:cNvPr>
          <p:cNvSpPr>
            <a:spLocks noGrp="1"/>
          </p:cNvSpPr>
          <p:nvPr>
            <p:ph type="pic" sz="quarter" idx="19"/>
          </p:nvPr>
        </p:nvSpPr>
        <p:spPr>
          <a:xfrm>
            <a:off x="3940175" y="0"/>
            <a:ext cx="8251825" cy="6858000"/>
          </a:xfrm>
          <a:solidFill>
            <a:srgbClr val="EDDAD3"/>
          </a:solidFill>
        </p:spPr>
        <p:txBody>
          <a:bodyPr rIns="0" anchor="ctr"/>
          <a:lstStyle>
            <a:lvl1pPr algn="ctr">
              <a:defRPr>
                <a:solidFill>
                  <a:srgbClr val="30373B"/>
                </a:solidFill>
              </a:defRPr>
            </a:lvl1pPr>
          </a:lstStyle>
          <a:p>
            <a:r>
              <a:rPr lang="en-US"/>
              <a:t>Click icon to add picture</a:t>
            </a:r>
            <a:endParaRPr lang="en-GB"/>
          </a:p>
        </p:txBody>
      </p:sp>
      <p:sp>
        <p:nvSpPr>
          <p:cNvPr id="4" name="Slide Number Placeholder">
            <a:extLst>
              <a:ext uri="{FF2B5EF4-FFF2-40B4-BE49-F238E27FC236}">
                <a16:creationId xmlns:a16="http://schemas.microsoft.com/office/drawing/2014/main" id="{D0FED095-D856-9DF6-90FC-4660F20AFFDA}"/>
              </a:ext>
            </a:extLst>
          </p:cNvPr>
          <p:cNvSpPr>
            <a:spLocks noGrp="1" noRot="1" noMove="1" noResize="1" noEditPoints="1" noAdjustHandles="1" noChangeArrowheads="1" noChangeShapeType="1"/>
          </p:cNvSpPr>
          <p:nvPr>
            <p:ph type="sldNum" sz="quarter" idx="4"/>
          </p:nvPr>
        </p:nvSpPr>
        <p:spPr>
          <a:xfrm>
            <a:off x="11640050" y="6499716"/>
            <a:ext cx="288000" cy="108000"/>
          </a:xfrm>
          <a:prstGeom prst="rect">
            <a:avLst/>
          </a:prstGeom>
        </p:spPr>
        <p:txBody>
          <a:bodyPr vert="horz" lIns="0" tIns="0" rIns="0" bIns="0" rtlCol="0" anchor="b" anchorCtr="0"/>
          <a:lstStyle>
            <a:lvl1pPr>
              <a:defRPr lang="en-GB" sz="650" spc="0" baseline="0" smtClean="0">
                <a:solidFill>
                  <a:srgbClr val="1F2023"/>
                </a:solidFill>
              </a:defRPr>
            </a:lvl1pPr>
          </a:lstStyle>
          <a:p>
            <a:pPr algn="r" defTabSz="914400"/>
            <a:fld id="{B95011C1-D4CA-414C-97DD-45D89C990525}" type="slidenum">
              <a:rPr lang="en-GB" smtClean="0"/>
              <a:pPr algn="r" defTabSz="914400"/>
              <a:t>‹#›</a:t>
            </a:fld>
            <a:endParaRPr lang="en-GB"/>
          </a:p>
        </p:txBody>
      </p:sp>
      <p:sp>
        <p:nvSpPr>
          <p:cNvPr id="12" name="Logo">
            <a:extLst>
              <a:ext uri="{FF2B5EF4-FFF2-40B4-BE49-F238E27FC236}">
                <a16:creationId xmlns:a16="http://schemas.microsoft.com/office/drawing/2014/main" id="{BF82736A-499A-4FBF-997B-F082A220BC31}"/>
              </a:ext>
            </a:extLst>
          </p:cNvPr>
          <p:cNvSpPr>
            <a:spLocks noGrp="1" noRot="1" noChangeAspect="1" noMove="1" noResize="1" noEditPoints="1" noAdjustHandles="1" noChangeArrowheads="1" noChangeShapeType="1"/>
          </p:cNvSpPr>
          <p:nvPr>
            <p:ph type="body" sz="quarter" idx="16" hasCustomPrompt="1"/>
          </p:nvPr>
        </p:nvSpPr>
        <p:spPr>
          <a:xfrm>
            <a:off x="11773250" y="273384"/>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536732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2F94B-372B-44FF-85CE-284E468B95F6}"/>
              </a:ext>
            </a:extLst>
          </p:cNvPr>
          <p:cNvSpPr>
            <a:spLocks noGrp="1"/>
          </p:cNvSpPr>
          <p:nvPr>
            <p:ph type="title"/>
          </p:nvPr>
        </p:nvSpPr>
        <p:spPr>
          <a:xfrm>
            <a:off x="831850" y="1089251"/>
            <a:ext cx="10565494" cy="2852737"/>
          </a:xfrm>
          <a:prstGeom prst="rect">
            <a:avLst/>
          </a:prstGeom>
        </p:spPr>
        <p:txBody>
          <a:bodyPr anchor="b"/>
          <a:lstStyle>
            <a:lvl1pPr>
              <a:defRPr sz="6000"/>
            </a:lvl1pPr>
          </a:lstStyle>
          <a:p>
            <a:r>
              <a:rPr lang="en-US"/>
              <a:t>Click to edit Master title style</a:t>
            </a:r>
            <a:endParaRPr lang="da-DK"/>
          </a:p>
        </p:txBody>
      </p:sp>
      <p:sp>
        <p:nvSpPr>
          <p:cNvPr id="3" name="Text Placeholder 2">
            <a:extLst>
              <a:ext uri="{FF2B5EF4-FFF2-40B4-BE49-F238E27FC236}">
                <a16:creationId xmlns:a16="http://schemas.microsoft.com/office/drawing/2014/main" id="{37C17825-7FA2-4B73-BC87-EECC0ED07FE5}"/>
              </a:ext>
            </a:extLst>
          </p:cNvPr>
          <p:cNvSpPr>
            <a:spLocks noGrp="1"/>
          </p:cNvSpPr>
          <p:nvPr>
            <p:ph type="body" idx="1"/>
          </p:nvPr>
        </p:nvSpPr>
        <p:spPr>
          <a:xfrm>
            <a:off x="831850" y="4045176"/>
            <a:ext cx="10565494"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4" name="Straight Connector 13">
            <a:extLst>
              <a:ext uri="{FF2B5EF4-FFF2-40B4-BE49-F238E27FC236}">
                <a16:creationId xmlns:a16="http://schemas.microsoft.com/office/drawing/2014/main" id="{A5B5FD55-0E05-49F6-82D8-C722792197BB}"/>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4D78D4F0-8246-432B-AE2E-DF98A507D1D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5FFD3951-4B8E-457A-AF38-BA4B4322B66D}"/>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19603976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Image Light Text and Logo">
    <p:spTree>
      <p:nvGrpSpPr>
        <p:cNvPr id="1" name=""/>
        <p:cNvGrpSpPr/>
        <p:nvPr/>
      </p:nvGrpSpPr>
      <p:grpSpPr>
        <a:xfrm>
          <a:off x="0" y="0"/>
          <a:ext cx="0" cy="0"/>
          <a:chOff x="0" y="0"/>
          <a:chExt cx="0" cy="0"/>
        </a:xfrm>
      </p:grpSpPr>
      <p:sp>
        <p:nvSpPr>
          <p:cNvPr id="3" name="Colour block">
            <a:extLst>
              <a:ext uri="{FF2B5EF4-FFF2-40B4-BE49-F238E27FC236}">
                <a16:creationId xmlns:a16="http://schemas.microsoft.com/office/drawing/2014/main" id="{00EC5B74-1BC6-B577-E3F5-6E76C9B2A65B}"/>
              </a:ext>
            </a:extLst>
          </p:cNvPr>
          <p:cNvSpPr>
            <a:spLocks noGrp="1"/>
          </p:cNvSpPr>
          <p:nvPr>
            <p:ph type="body" sz="quarter" idx="20" hasCustomPrompt="1"/>
          </p:nvPr>
        </p:nvSpPr>
        <p:spPr>
          <a:xfrm>
            <a:off x="0" y="0"/>
            <a:ext cx="3940175" cy="6858000"/>
          </a:xfrm>
          <a:solidFill>
            <a:srgbClr val="67817F"/>
          </a:solidFill>
        </p:spPr>
        <p:txBody>
          <a:bodyPr/>
          <a:lstStyle>
            <a:lvl1pPr>
              <a:defRPr sz="100"/>
            </a:lvl1pPr>
          </a:lstStyle>
          <a:p>
            <a:pPr lvl="0"/>
            <a:r>
              <a:rPr lang="en-GB"/>
              <a:t> </a:t>
            </a:r>
          </a:p>
        </p:txBody>
      </p:sp>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439770" y="2577307"/>
            <a:ext cx="3060000" cy="3564000"/>
          </a:xfrm>
          <a:noFill/>
        </p:spPr>
        <p:txBody>
          <a:bodyPr vert="horz" lIns="0" tIns="0" rIns="0" bIns="0" rtlCol="0" anchor="b" anchorCtr="0">
            <a:noAutofit/>
          </a:bodyPr>
          <a:lstStyle>
            <a:lvl1pPr>
              <a:lnSpc>
                <a:spcPct val="85000"/>
              </a:lnSpc>
              <a:spcAft>
                <a:spcPts val="1200"/>
              </a:spcAft>
              <a:defRPr lang="en-GB" sz="4000" cap="none" normalizeH="0" baseline="0" dirty="0">
                <a:solidFill>
                  <a:schemeClr val="bg1"/>
                </a:solidFill>
                <a:latin typeface="Palatino Linotype" panose="02040502050505030304" pitchFamily="18" charset="0"/>
              </a:defRPr>
            </a:lvl1pPr>
          </a:lstStyle>
          <a:p>
            <a:pPr lvl="0">
              <a:lnSpc>
                <a:spcPct val="80000"/>
              </a:lnSpc>
            </a:pPr>
            <a:r>
              <a:rPr lang="en-GB"/>
              <a:t>Click to edit master title style</a:t>
            </a:r>
          </a:p>
        </p:txBody>
      </p:sp>
      <p:sp>
        <p:nvSpPr>
          <p:cNvPr id="4" name="Picture Placeholder">
            <a:extLst>
              <a:ext uri="{FF2B5EF4-FFF2-40B4-BE49-F238E27FC236}">
                <a16:creationId xmlns:a16="http://schemas.microsoft.com/office/drawing/2014/main" id="{E41E1CDE-882A-8659-EF3A-893942F57F75}"/>
              </a:ext>
            </a:extLst>
          </p:cNvPr>
          <p:cNvSpPr>
            <a:spLocks noGrp="1"/>
          </p:cNvSpPr>
          <p:nvPr>
            <p:ph type="pic" sz="quarter" idx="19"/>
          </p:nvPr>
        </p:nvSpPr>
        <p:spPr>
          <a:xfrm>
            <a:off x="3940175" y="0"/>
            <a:ext cx="8251825" cy="6858000"/>
          </a:xfrm>
          <a:solidFill>
            <a:srgbClr val="A4B3B2"/>
          </a:solidFill>
        </p:spPr>
        <p:txBody>
          <a:bodyPr rIns="0" anchor="ctr"/>
          <a:lstStyle>
            <a:lvl1pPr algn="ctr">
              <a:defRPr>
                <a:solidFill>
                  <a:schemeClr val="bg1"/>
                </a:solidFill>
              </a:defRPr>
            </a:lvl1pPr>
          </a:lstStyle>
          <a:p>
            <a:r>
              <a:rPr lang="en-US"/>
              <a:t>Click icon to add picture</a:t>
            </a:r>
            <a:endParaRPr lang="en-GB"/>
          </a:p>
        </p:txBody>
      </p:sp>
      <p:sp>
        <p:nvSpPr>
          <p:cNvPr id="7" name="Slide Number Placeholder">
            <a:extLst>
              <a:ext uri="{FF2B5EF4-FFF2-40B4-BE49-F238E27FC236}">
                <a16:creationId xmlns:a16="http://schemas.microsoft.com/office/drawing/2014/main" id="{315115AB-D97A-0AEE-AFBF-823A06C60B1B}"/>
              </a:ext>
            </a:extLst>
          </p:cNvPr>
          <p:cNvSpPr>
            <a:spLocks noGrp="1" noRot="1" noMove="1" noResize="1" noEditPoints="1" noAdjustHandles="1" noChangeArrowheads="1" noChangeShapeType="1"/>
          </p:cNvSpPr>
          <p:nvPr>
            <p:ph type="sldNum" sz="quarter" idx="4"/>
          </p:nvPr>
        </p:nvSpPr>
        <p:spPr>
          <a:xfrm>
            <a:off x="11640474" y="6499716"/>
            <a:ext cx="288000" cy="108000"/>
          </a:xfrm>
          <a:prstGeom prst="rect">
            <a:avLst/>
          </a:prstGeom>
        </p:spPr>
        <p:txBody>
          <a:bodyPr vert="horz" lIns="0" tIns="0" rIns="0" bIns="0" rtlCol="0" anchor="b" anchorCtr="0"/>
          <a:lstStyle>
            <a:lvl1pPr>
              <a:defRPr lang="en-GB" sz="650" spc="0" baseline="0" smtClean="0">
                <a:solidFill>
                  <a:schemeClr val="bg1"/>
                </a:solidFill>
              </a:defRPr>
            </a:lvl1pPr>
          </a:lstStyle>
          <a:p>
            <a:pPr algn="r" defTabSz="914400"/>
            <a:fld id="{B95011C1-D4CA-414C-97DD-45D89C990525}" type="slidenum">
              <a:rPr lang="en-GB" smtClean="0"/>
              <a:pPr algn="r" defTabSz="914400"/>
              <a:t>‹#›</a:t>
            </a:fld>
            <a:endParaRPr lang="en-GB"/>
          </a:p>
        </p:txBody>
      </p:sp>
      <p:sp>
        <p:nvSpPr>
          <p:cNvPr id="10" name="Logo">
            <a:extLst>
              <a:ext uri="{FF2B5EF4-FFF2-40B4-BE49-F238E27FC236}">
                <a16:creationId xmlns:a16="http://schemas.microsoft.com/office/drawing/2014/main" id="{CC3D4A12-A602-AA81-554E-E6D17CDCA3E8}"/>
              </a:ext>
            </a:extLst>
          </p:cNvPr>
          <p:cNvSpPr>
            <a:spLocks noGrp="1" noRot="1" noMove="1" noResize="1" noEditPoints="1" noAdjustHandles="1" noChangeArrowheads="1" noChangeShapeType="1"/>
          </p:cNvSpPr>
          <p:nvPr>
            <p:ph type="body" sz="quarter" idx="22" hasCustomPrompt="1"/>
          </p:nvPr>
        </p:nvSpPr>
        <p:spPr>
          <a:xfrm>
            <a:off x="11773674" y="269875"/>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371024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Background Dark Text and Logo">
    <p:spTree>
      <p:nvGrpSpPr>
        <p:cNvPr id="1" name=""/>
        <p:cNvGrpSpPr/>
        <p:nvPr/>
      </p:nvGrpSpPr>
      <p:grpSpPr>
        <a:xfrm>
          <a:off x="0" y="0"/>
          <a:ext cx="0" cy="0"/>
          <a:chOff x="0" y="0"/>
          <a:chExt cx="0" cy="0"/>
        </a:xfrm>
      </p:grpSpPr>
      <p:sp>
        <p:nvSpPr>
          <p:cNvPr id="5" name="Picture Placeholder">
            <a:extLst>
              <a:ext uri="{FF2B5EF4-FFF2-40B4-BE49-F238E27FC236}">
                <a16:creationId xmlns:a16="http://schemas.microsoft.com/office/drawing/2014/main" id="{5E77160E-ADCB-0492-B022-F885E420324A}"/>
              </a:ext>
            </a:extLst>
          </p:cNvPr>
          <p:cNvSpPr>
            <a:spLocks noGrp="1"/>
          </p:cNvSpPr>
          <p:nvPr>
            <p:ph type="pic" sz="quarter" idx="15"/>
          </p:nvPr>
        </p:nvSpPr>
        <p:spPr>
          <a:xfrm>
            <a:off x="2" y="1"/>
            <a:ext cx="12192001" cy="6858000"/>
          </a:xfrm>
          <a:solidFill>
            <a:srgbClr val="E1E0DE"/>
          </a:solidFill>
        </p:spPr>
        <p:txBody>
          <a:bodyPr vert="horz" lIns="0" tIns="0" rIns="0" bIns="0" rtlCol="0" anchor="ctr" anchorCtr="0">
            <a:noAutofit/>
          </a:bodyPr>
          <a:lstStyle>
            <a:lvl1pPr algn="ctr">
              <a:defRPr lang="da-DK" dirty="0"/>
            </a:lvl1pPr>
          </a:lstStyle>
          <a:p>
            <a:pPr lvl="0" algn="ctr">
              <a:buNone/>
            </a:pPr>
            <a:r>
              <a:rPr lang="en-US"/>
              <a:t>Click icon to add picture</a:t>
            </a:r>
            <a:endParaRPr lang="en-GB"/>
          </a:p>
        </p:txBody>
      </p:sp>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698156" y="3429000"/>
            <a:ext cx="6840000" cy="2730843"/>
          </a:xfrm>
          <a:noFill/>
        </p:spPr>
        <p:txBody>
          <a:bodyPr vert="horz" lIns="0" tIns="0" rIns="0" anchor="b"/>
          <a:lstStyle>
            <a:lvl1pPr>
              <a:lnSpc>
                <a:spcPct val="85000"/>
              </a:lnSpc>
              <a:spcAft>
                <a:spcPts val="0"/>
              </a:spcAft>
              <a:defRPr sz="6000" cap="none" baseline="0">
                <a:solidFill>
                  <a:srgbClr val="1F2023"/>
                </a:solidFill>
                <a:latin typeface="Palatino Linotype" panose="02040502050505030304" pitchFamily="18" charset="0"/>
              </a:defRPr>
            </a:lvl1pPr>
          </a:lstStyle>
          <a:p>
            <a:r>
              <a:rPr lang="en-GB"/>
              <a:t>Click to edit text</a:t>
            </a:r>
          </a:p>
        </p:txBody>
      </p:sp>
      <p:sp>
        <p:nvSpPr>
          <p:cNvPr id="4" name="Date Placeholder" hidden="1">
            <a:extLst>
              <a:ext uri="{FF2B5EF4-FFF2-40B4-BE49-F238E27FC236}">
                <a16:creationId xmlns:a16="http://schemas.microsoft.com/office/drawing/2014/main" id="{0CF3DB73-C716-B5EC-4EE3-C848D33A8DE5}"/>
              </a:ext>
            </a:extLst>
          </p:cNvPr>
          <p:cNvSpPr>
            <a:spLocks noGrp="1"/>
          </p:cNvSpPr>
          <p:nvPr>
            <p:ph type="dt" sz="half" idx="17"/>
          </p:nvPr>
        </p:nvSpPr>
        <p:spPr>
          <a:xfrm>
            <a:off x="10919523" y="6499716"/>
            <a:ext cx="648000" cy="108000"/>
          </a:xfrm>
          <a:prstGeom prst="rect">
            <a:avLst/>
          </a:prstGeom>
        </p:spPr>
        <p:txBody>
          <a:bodyPr/>
          <a:lstStyle/>
          <a:p>
            <a:fld id="{A8AFB5FE-5FB9-4640-80D3-55C5CCB0ACEA}" type="datetime3">
              <a:rPr lang="en-GB" smtClean="0"/>
              <a:t>12 May, 2025</a:t>
            </a:fld>
            <a:endParaRPr lang="en-GB"/>
          </a:p>
        </p:txBody>
      </p:sp>
      <p:sp>
        <p:nvSpPr>
          <p:cNvPr id="3" name="Slide Number Placeholder">
            <a:extLst>
              <a:ext uri="{FF2B5EF4-FFF2-40B4-BE49-F238E27FC236}">
                <a16:creationId xmlns:a16="http://schemas.microsoft.com/office/drawing/2014/main" id="{6C575E54-79E0-6A33-4450-0D2FB74476B6}"/>
              </a:ext>
            </a:extLst>
          </p:cNvPr>
          <p:cNvSpPr>
            <a:spLocks noGrp="1" noRot="1" noMove="1" noResize="1" noEditPoints="1" noAdjustHandles="1" noChangeArrowheads="1" noChangeShapeType="1"/>
          </p:cNvSpPr>
          <p:nvPr>
            <p:ph type="sldNum" sz="quarter" idx="4"/>
          </p:nvPr>
        </p:nvSpPr>
        <p:spPr>
          <a:xfrm>
            <a:off x="11640050" y="6499716"/>
            <a:ext cx="288000" cy="108000"/>
          </a:xfrm>
          <a:prstGeom prst="rect">
            <a:avLst/>
          </a:prstGeom>
        </p:spPr>
        <p:txBody>
          <a:bodyPr vert="horz" lIns="0" tIns="0" rIns="0" bIns="0" rtlCol="0" anchor="b" anchorCtr="0"/>
          <a:lstStyle>
            <a:lvl1pPr>
              <a:defRPr lang="en-GB" sz="650" spc="0" baseline="0" smtClean="0">
                <a:solidFill>
                  <a:schemeClr val="tx1"/>
                </a:solidFill>
              </a:defRPr>
            </a:lvl1pPr>
          </a:lstStyle>
          <a:p>
            <a:pPr algn="r" defTabSz="914400"/>
            <a:fld id="{B95011C1-D4CA-414C-97DD-45D89C990525}" type="slidenum">
              <a:rPr lang="en-GB" smtClean="0"/>
              <a:pPr algn="r" defTabSz="914400"/>
              <a:t>‹#›</a:t>
            </a:fld>
            <a:endParaRPr lang="en-GB"/>
          </a:p>
        </p:txBody>
      </p:sp>
      <p:sp>
        <p:nvSpPr>
          <p:cNvPr id="12" name="Logo">
            <a:extLst>
              <a:ext uri="{FF2B5EF4-FFF2-40B4-BE49-F238E27FC236}">
                <a16:creationId xmlns:a16="http://schemas.microsoft.com/office/drawing/2014/main" id="{7E46136D-3F86-A8B7-91BF-B1B9D907FDA4}"/>
              </a:ext>
            </a:extLst>
          </p:cNvPr>
          <p:cNvSpPr>
            <a:spLocks noGrp="1" noRot="1" noChangeAspect="1" noMove="1" noResize="1" noEditPoints="1" noAdjustHandles="1" noChangeArrowheads="1" noChangeShapeType="1"/>
          </p:cNvSpPr>
          <p:nvPr>
            <p:ph type="body" sz="quarter" idx="16" hasCustomPrompt="1"/>
          </p:nvPr>
        </p:nvSpPr>
        <p:spPr>
          <a:xfrm>
            <a:off x="11773250" y="273384"/>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347492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Background Light Text and Logo">
    <p:spTree>
      <p:nvGrpSpPr>
        <p:cNvPr id="1" name=""/>
        <p:cNvGrpSpPr/>
        <p:nvPr/>
      </p:nvGrpSpPr>
      <p:grpSpPr>
        <a:xfrm>
          <a:off x="0" y="0"/>
          <a:ext cx="0" cy="0"/>
          <a:chOff x="0" y="0"/>
          <a:chExt cx="0" cy="0"/>
        </a:xfrm>
      </p:grpSpPr>
      <p:sp>
        <p:nvSpPr>
          <p:cNvPr id="5" name="Picture Placeholder">
            <a:extLst>
              <a:ext uri="{FF2B5EF4-FFF2-40B4-BE49-F238E27FC236}">
                <a16:creationId xmlns:a16="http://schemas.microsoft.com/office/drawing/2014/main" id="{7C5CC588-37C9-A1B7-41EC-64B6C9364093}"/>
              </a:ext>
            </a:extLst>
          </p:cNvPr>
          <p:cNvSpPr>
            <a:spLocks noGrp="1"/>
          </p:cNvSpPr>
          <p:nvPr>
            <p:ph type="pic" sz="quarter" idx="15"/>
          </p:nvPr>
        </p:nvSpPr>
        <p:spPr>
          <a:xfrm>
            <a:off x="2" y="1"/>
            <a:ext cx="12192001" cy="6858000"/>
          </a:xfrm>
          <a:solidFill>
            <a:srgbClr val="E1E0DE"/>
          </a:solidFill>
        </p:spPr>
        <p:txBody>
          <a:bodyPr vert="horz" lIns="0" tIns="0" rIns="0" bIns="0" rtlCol="0" anchor="ctr" anchorCtr="0">
            <a:noAutofit/>
          </a:bodyPr>
          <a:lstStyle>
            <a:lvl1pPr algn="ctr">
              <a:defRPr lang="da-DK" dirty="0">
                <a:solidFill>
                  <a:schemeClr val="bg1"/>
                </a:solidFill>
              </a:defRPr>
            </a:lvl1pPr>
          </a:lstStyle>
          <a:p>
            <a:pPr lvl="0" algn="ctr">
              <a:buNone/>
            </a:pPr>
            <a:r>
              <a:rPr lang="en-US"/>
              <a:t>Click icon to add picture</a:t>
            </a:r>
            <a:endParaRPr lang="en-GB"/>
          </a:p>
        </p:txBody>
      </p:sp>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698156" y="3429000"/>
            <a:ext cx="6840000" cy="2730843"/>
          </a:xfrm>
          <a:noFill/>
        </p:spPr>
        <p:txBody>
          <a:bodyPr vert="horz" lIns="0" tIns="0" rIns="0" anchor="b"/>
          <a:lstStyle>
            <a:lvl1pPr>
              <a:lnSpc>
                <a:spcPct val="85000"/>
              </a:lnSpc>
              <a:spcAft>
                <a:spcPts val="0"/>
              </a:spcAft>
              <a:defRPr sz="6000" cap="none" baseline="0">
                <a:solidFill>
                  <a:schemeClr val="bg1"/>
                </a:solidFill>
                <a:latin typeface="Palatino Linotype" panose="02040502050505030304" pitchFamily="18" charset="0"/>
              </a:defRPr>
            </a:lvl1pPr>
          </a:lstStyle>
          <a:p>
            <a:r>
              <a:rPr lang="en-GB"/>
              <a:t>Click to edit text</a:t>
            </a:r>
          </a:p>
        </p:txBody>
      </p:sp>
      <p:sp>
        <p:nvSpPr>
          <p:cNvPr id="4" name="Slide Number Placeholder">
            <a:extLst>
              <a:ext uri="{FF2B5EF4-FFF2-40B4-BE49-F238E27FC236}">
                <a16:creationId xmlns:a16="http://schemas.microsoft.com/office/drawing/2014/main" id="{4B4275D3-53E0-AA26-C27B-6EEF12D91043}"/>
              </a:ext>
            </a:extLst>
          </p:cNvPr>
          <p:cNvSpPr>
            <a:spLocks noGrp="1" noRot="1" noMove="1" noResize="1" noEditPoints="1" noAdjustHandles="1" noChangeArrowheads="1" noChangeShapeType="1"/>
          </p:cNvSpPr>
          <p:nvPr>
            <p:ph type="sldNum" sz="quarter" idx="4"/>
          </p:nvPr>
        </p:nvSpPr>
        <p:spPr>
          <a:xfrm>
            <a:off x="11640474" y="6499716"/>
            <a:ext cx="288000" cy="108000"/>
          </a:xfrm>
          <a:prstGeom prst="rect">
            <a:avLst/>
          </a:prstGeom>
        </p:spPr>
        <p:txBody>
          <a:bodyPr vert="horz" lIns="0" tIns="0" rIns="0" bIns="0" rtlCol="0" anchor="b" anchorCtr="0"/>
          <a:lstStyle>
            <a:lvl1pPr>
              <a:defRPr lang="en-GB" sz="650" spc="0" baseline="0" smtClean="0">
                <a:solidFill>
                  <a:schemeClr val="bg1"/>
                </a:solidFill>
              </a:defRPr>
            </a:lvl1pPr>
          </a:lstStyle>
          <a:p>
            <a:pPr algn="r" defTabSz="914400"/>
            <a:fld id="{B95011C1-D4CA-414C-97DD-45D89C990525}" type="slidenum">
              <a:rPr lang="en-GB" smtClean="0"/>
              <a:pPr algn="r" defTabSz="914400"/>
              <a:t>‹#›</a:t>
            </a:fld>
            <a:endParaRPr lang="en-GB"/>
          </a:p>
        </p:txBody>
      </p:sp>
      <p:sp>
        <p:nvSpPr>
          <p:cNvPr id="8" name="Logo">
            <a:extLst>
              <a:ext uri="{FF2B5EF4-FFF2-40B4-BE49-F238E27FC236}">
                <a16:creationId xmlns:a16="http://schemas.microsoft.com/office/drawing/2014/main" id="{C923CD32-31E4-43A0-9F8A-2CD7611FEC56}"/>
              </a:ext>
            </a:extLst>
          </p:cNvPr>
          <p:cNvSpPr>
            <a:spLocks noGrp="1" noRot="1" noMove="1" noResize="1" noEditPoints="1" noAdjustHandles="1" noChangeArrowheads="1" noChangeShapeType="1"/>
          </p:cNvSpPr>
          <p:nvPr>
            <p:ph type="body" sz="quarter" idx="21" hasCustomPrompt="1"/>
          </p:nvPr>
        </p:nvSpPr>
        <p:spPr>
          <a:xfrm>
            <a:off x="11773674" y="269875"/>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258862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221E8EB-A5F7-4231-BC28-D89E54483943}"/>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Bef>
                <a:spcPts val="0"/>
              </a:spcBef>
              <a:spcAft>
                <a:spcPts val="0"/>
              </a:spcAft>
              <a:defRPr sz="5000">
                <a:solidFill>
                  <a:srgbClr val="1F1F23"/>
                </a:solidFill>
                <a:latin typeface="Palatino Linotype" panose="02040502050505030304" pitchFamily="18" charset="0"/>
              </a:defRPr>
            </a:lvl1pPr>
          </a:lstStyle>
          <a:p>
            <a:r>
              <a:rPr lang="en-GB"/>
              <a:t>Click to edit text</a:t>
            </a:r>
          </a:p>
        </p:txBody>
      </p:sp>
    </p:spTree>
    <p:extLst>
      <p:ext uri="{BB962C8B-B14F-4D97-AF65-F5344CB8AC3E}">
        <p14:creationId xmlns:p14="http://schemas.microsoft.com/office/powerpoint/2010/main" val="416805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Egg">
    <p:bg>
      <p:bgPr>
        <a:solidFill>
          <a:srgbClr val="F8F5E7"/>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52FBF150-04F6-92ED-A808-ECC82AD3E639}"/>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rgbClr val="1F1F23"/>
                </a:solidFill>
                <a:latin typeface="Palatino Linotype" panose="02040502050505030304" pitchFamily="18" charset="0"/>
              </a:defRPr>
            </a:lvl1pPr>
          </a:lstStyle>
          <a:p>
            <a:r>
              <a:rPr lang="en-GB"/>
              <a:t>Click to edit text</a:t>
            </a:r>
          </a:p>
        </p:txBody>
      </p:sp>
    </p:spTree>
    <p:extLst>
      <p:ext uri="{BB962C8B-B14F-4D97-AF65-F5344CB8AC3E}">
        <p14:creationId xmlns:p14="http://schemas.microsoft.com/office/powerpoint/2010/main" val="1905893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Grey">
    <p:bg>
      <p:bgPr>
        <a:solidFill>
          <a:srgbClr val="CBC9C7"/>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8914950C-BC4E-6FD0-8435-E1E0B8114695}"/>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rgbClr val="1F1F23"/>
                </a:solidFill>
                <a:latin typeface="Palatino Linotype" panose="02040502050505030304" pitchFamily="18" charset="0"/>
              </a:defRPr>
            </a:lvl1pPr>
          </a:lstStyle>
          <a:p>
            <a:r>
              <a:rPr lang="en-GB"/>
              <a:t>Click to edit text</a:t>
            </a:r>
          </a:p>
        </p:txBody>
      </p:sp>
    </p:spTree>
    <p:extLst>
      <p:ext uri="{BB962C8B-B14F-4D97-AF65-F5344CB8AC3E}">
        <p14:creationId xmlns:p14="http://schemas.microsoft.com/office/powerpoint/2010/main" val="174585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Green (light)">
    <p:bg>
      <p:bgPr>
        <a:solidFill>
          <a:srgbClr val="B9C7C2"/>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5FD46BD1-72EF-765F-AA69-CF217F988C2F}"/>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rgbClr val="1F1F23"/>
                </a:solidFill>
                <a:latin typeface="Palatino Linotype" panose="02040502050505030304" pitchFamily="18" charset="0"/>
              </a:defRPr>
            </a:lvl1pPr>
          </a:lstStyle>
          <a:p>
            <a:r>
              <a:rPr lang="en-GB"/>
              <a:t>Click to edit text</a:t>
            </a:r>
          </a:p>
        </p:txBody>
      </p:sp>
    </p:spTree>
    <p:extLst>
      <p:ext uri="{BB962C8B-B14F-4D97-AF65-F5344CB8AC3E}">
        <p14:creationId xmlns:p14="http://schemas.microsoft.com/office/powerpoint/2010/main" val="273561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Piggy">
    <p:bg>
      <p:bgPr>
        <a:solidFill>
          <a:srgbClr val="E1C1B5"/>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D63969A1-A24C-EDE3-9421-CD5895AA3011}"/>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rgbClr val="1F1F23"/>
                </a:solidFill>
                <a:latin typeface="Palatino Linotype" panose="02040502050505030304" pitchFamily="18" charset="0"/>
              </a:defRPr>
            </a:lvl1pPr>
          </a:lstStyle>
          <a:p>
            <a:r>
              <a:rPr lang="en-GB"/>
              <a:t>Click to edit text</a:t>
            </a:r>
          </a:p>
        </p:txBody>
      </p:sp>
    </p:spTree>
    <p:extLst>
      <p:ext uri="{BB962C8B-B14F-4D97-AF65-F5344CB8AC3E}">
        <p14:creationId xmlns:p14="http://schemas.microsoft.com/office/powerpoint/2010/main" val="109248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Yellow">
    <p:bg>
      <p:bgPr>
        <a:solidFill>
          <a:srgbClr val="E4B73C"/>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36438173-38A0-334F-C98E-F1DF6BE4B70C}"/>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rgbClr val="1F1F23"/>
                </a:solidFill>
                <a:latin typeface="Palatino Linotype" panose="02040502050505030304" pitchFamily="18" charset="0"/>
              </a:defRPr>
            </a:lvl1pPr>
          </a:lstStyle>
          <a:p>
            <a:r>
              <a:rPr lang="en-GB"/>
              <a:t>Click to edit text</a:t>
            </a:r>
          </a:p>
        </p:txBody>
      </p:sp>
    </p:spTree>
    <p:extLst>
      <p:ext uri="{BB962C8B-B14F-4D97-AF65-F5344CB8AC3E}">
        <p14:creationId xmlns:p14="http://schemas.microsoft.com/office/powerpoint/2010/main" val="263167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Section Brown">
    <p:bg>
      <p:bgPr>
        <a:solidFill>
          <a:srgbClr val="9A6E44"/>
        </a:solidFill>
        <a:effectLst/>
      </p:bgPr>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A9C3B4D7-1424-BD5A-9C5F-43FE9FA6AD94}"/>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chemeClr val="bg1"/>
                </a:solidFill>
                <a:latin typeface="Palatino Linotype" panose="02040502050505030304" pitchFamily="18" charset="0"/>
              </a:defRPr>
            </a:lvl1pPr>
          </a:lstStyle>
          <a:p>
            <a:r>
              <a:rPr lang="en-GB"/>
              <a:t>Click to edit text</a:t>
            </a:r>
          </a:p>
        </p:txBody>
      </p:sp>
      <p:sp>
        <p:nvSpPr>
          <p:cNvPr id="4" name="Slide Number">
            <a:extLst>
              <a:ext uri="{FF2B5EF4-FFF2-40B4-BE49-F238E27FC236}">
                <a16:creationId xmlns:a16="http://schemas.microsoft.com/office/drawing/2014/main" id="{37B5B203-9AF6-EF4B-3527-6AFF0EB54868}"/>
              </a:ext>
            </a:extLst>
          </p:cNvPr>
          <p:cNvSpPr txBox="1">
            <a:spLocks noGrp="1" noRot="1" noMove="1" noResize="1" noEditPoints="1" noAdjustHandles="1" noChangeArrowheads="1" noChangeShapeType="1"/>
          </p:cNvSpPr>
          <p:nvPr/>
        </p:nvSpPr>
        <p:spPr>
          <a:xfrm>
            <a:off x="11640474" y="6499716"/>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chemeClr val="bg1"/>
                </a:solidFill>
              </a:rPr>
              <a:pPr/>
              <a:t>‹#›</a:t>
            </a:fld>
            <a:endParaRPr lang="en-GB" sz="650">
              <a:solidFill>
                <a:schemeClr val="bg1"/>
              </a:solidFill>
            </a:endParaRPr>
          </a:p>
        </p:txBody>
      </p:sp>
      <p:sp>
        <p:nvSpPr>
          <p:cNvPr id="3" name="Logo">
            <a:extLst>
              <a:ext uri="{FF2B5EF4-FFF2-40B4-BE49-F238E27FC236}">
                <a16:creationId xmlns:a16="http://schemas.microsoft.com/office/drawing/2014/main" id="{40662878-0FDC-731E-4986-ED427A7A3841}"/>
              </a:ext>
            </a:extLst>
          </p:cNvPr>
          <p:cNvSpPr>
            <a:spLocks noGrp="1" noRot="1" noMove="1" noResize="1" noEditPoints="1" noAdjustHandles="1" noChangeArrowheads="1" noChangeShapeType="1"/>
          </p:cNvSpPr>
          <p:nvPr>
            <p:custDataLst>
              <p:tags r:id="rId1"/>
            </p:custDataLst>
          </p:nvPr>
        </p:nvSpPr>
        <p:spPr bwMode="auto">
          <a:xfrm rot="5400000">
            <a:off x="11676071" y="36764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1817097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14F577-AB74-4B32-B9FE-A92FDE34CD8C}"/>
              </a:ext>
            </a:extLst>
          </p:cNvPr>
          <p:cNvSpPr>
            <a:spLocks noGrp="1"/>
          </p:cNvSpPr>
          <p:nvPr>
            <p:ph sz="half" idx="1"/>
          </p:nvPr>
        </p:nvSpPr>
        <p:spPr>
          <a:xfrm>
            <a:off x="838201" y="1219200"/>
            <a:ext cx="4931229" cy="4794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Content Placeholder 3">
            <a:extLst>
              <a:ext uri="{FF2B5EF4-FFF2-40B4-BE49-F238E27FC236}">
                <a16:creationId xmlns:a16="http://schemas.microsoft.com/office/drawing/2014/main" id="{2DF8F4A2-3EF1-4703-BAE5-6CE954858890}"/>
              </a:ext>
            </a:extLst>
          </p:cNvPr>
          <p:cNvSpPr>
            <a:spLocks noGrp="1"/>
          </p:cNvSpPr>
          <p:nvPr>
            <p:ph sz="half" idx="2"/>
          </p:nvPr>
        </p:nvSpPr>
        <p:spPr>
          <a:xfrm>
            <a:off x="6466115" y="1219200"/>
            <a:ext cx="4931229" cy="4794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12" name="Straight Connector 11">
            <a:extLst>
              <a:ext uri="{FF2B5EF4-FFF2-40B4-BE49-F238E27FC236}">
                <a16:creationId xmlns:a16="http://schemas.microsoft.com/office/drawing/2014/main" id="{D25423A8-0B2D-41DE-BC82-01AAAD4D7DBE}"/>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AABA8C7C-84AF-4117-A127-4FC88A318BA2}"/>
              </a:ext>
            </a:extLst>
          </p:cNvPr>
          <p:cNvSpPr txBox="1">
            <a:spLocks/>
          </p:cNvSpPr>
          <p:nvPr userDrawn="1"/>
        </p:nvSpPr>
        <p:spPr>
          <a:xfrm>
            <a:off x="764059" y="248496"/>
            <a:ext cx="10633284" cy="6944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91ABE20C-0416-4896-B824-0B67F848B576}"/>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DDD2AEA9-AF89-4ECB-9839-2DB54B767289}"/>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12911475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ection Green (dark)">
    <p:bg>
      <p:bgPr>
        <a:solidFill>
          <a:srgbClr val="67817F"/>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7C574199-4028-757F-A4B0-19F1DC81C49D}"/>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chemeClr val="bg1"/>
                </a:solidFill>
                <a:latin typeface="Palatino Linotype" panose="02040502050505030304" pitchFamily="18" charset="0"/>
              </a:defRPr>
            </a:lvl1pPr>
          </a:lstStyle>
          <a:p>
            <a:r>
              <a:rPr lang="en-GB"/>
              <a:t>Click to edit text</a:t>
            </a:r>
          </a:p>
        </p:txBody>
      </p:sp>
      <p:sp>
        <p:nvSpPr>
          <p:cNvPr id="3" name="Slide Number">
            <a:extLst>
              <a:ext uri="{FF2B5EF4-FFF2-40B4-BE49-F238E27FC236}">
                <a16:creationId xmlns:a16="http://schemas.microsoft.com/office/drawing/2014/main" id="{4F0C72CF-2777-808F-48A1-52C6EC0BB129}"/>
              </a:ext>
            </a:extLst>
          </p:cNvPr>
          <p:cNvSpPr txBox="1">
            <a:spLocks noGrp="1" noRot="1" noMove="1" noResize="1" noEditPoints="1" noAdjustHandles="1" noChangeArrowheads="1" noChangeShapeType="1"/>
          </p:cNvSpPr>
          <p:nvPr/>
        </p:nvSpPr>
        <p:spPr>
          <a:xfrm>
            <a:off x="11640474" y="6499716"/>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chemeClr val="bg1"/>
                </a:solidFill>
              </a:rPr>
              <a:pPr/>
              <a:t>‹#›</a:t>
            </a:fld>
            <a:endParaRPr lang="en-GB" sz="650">
              <a:solidFill>
                <a:schemeClr val="bg1"/>
              </a:solidFill>
            </a:endParaRPr>
          </a:p>
        </p:txBody>
      </p:sp>
      <p:sp>
        <p:nvSpPr>
          <p:cNvPr id="4" name="Logo">
            <a:extLst>
              <a:ext uri="{FF2B5EF4-FFF2-40B4-BE49-F238E27FC236}">
                <a16:creationId xmlns:a16="http://schemas.microsoft.com/office/drawing/2014/main" id="{A0C3CFB4-DA8B-C458-7EB1-3CB9D198C7EC}"/>
              </a:ext>
            </a:extLst>
          </p:cNvPr>
          <p:cNvSpPr>
            <a:spLocks noGrp="1" noRot="1" noMove="1" noResize="1" noEditPoints="1" noAdjustHandles="1" noChangeArrowheads="1" noChangeShapeType="1"/>
          </p:cNvSpPr>
          <p:nvPr>
            <p:custDataLst>
              <p:tags r:id="rId1"/>
            </p:custDataLst>
          </p:nvPr>
        </p:nvSpPr>
        <p:spPr bwMode="auto">
          <a:xfrm rot="5400000">
            <a:off x="11676071" y="36764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99275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ection Deep red">
    <p:bg>
      <p:bgPr>
        <a:solidFill>
          <a:srgbClr val="451F23"/>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4405135A-AEC3-21D2-5CFF-E1DBAE43B5D5}"/>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chemeClr val="bg1"/>
                </a:solidFill>
                <a:latin typeface="Palatino Linotype" panose="02040502050505030304" pitchFamily="18" charset="0"/>
              </a:defRPr>
            </a:lvl1pPr>
          </a:lstStyle>
          <a:p>
            <a:r>
              <a:rPr lang="en-GB"/>
              <a:t>Click to edit text</a:t>
            </a:r>
          </a:p>
        </p:txBody>
      </p:sp>
      <p:sp>
        <p:nvSpPr>
          <p:cNvPr id="3" name="Slide Number">
            <a:extLst>
              <a:ext uri="{FF2B5EF4-FFF2-40B4-BE49-F238E27FC236}">
                <a16:creationId xmlns:a16="http://schemas.microsoft.com/office/drawing/2014/main" id="{9A186D50-E5AE-B8A7-A052-9D32453DC365}"/>
              </a:ext>
            </a:extLst>
          </p:cNvPr>
          <p:cNvSpPr txBox="1">
            <a:spLocks noGrp="1" noRot="1" noMove="1" noResize="1" noEditPoints="1" noAdjustHandles="1" noChangeArrowheads="1" noChangeShapeType="1"/>
          </p:cNvSpPr>
          <p:nvPr/>
        </p:nvSpPr>
        <p:spPr>
          <a:xfrm>
            <a:off x="11640474" y="6499716"/>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chemeClr val="bg1"/>
                </a:solidFill>
              </a:rPr>
              <a:pPr/>
              <a:t>‹#›</a:t>
            </a:fld>
            <a:endParaRPr lang="en-GB" sz="650">
              <a:solidFill>
                <a:schemeClr val="bg1"/>
              </a:solidFill>
            </a:endParaRPr>
          </a:p>
        </p:txBody>
      </p:sp>
      <p:sp>
        <p:nvSpPr>
          <p:cNvPr id="4" name="Logo">
            <a:extLst>
              <a:ext uri="{FF2B5EF4-FFF2-40B4-BE49-F238E27FC236}">
                <a16:creationId xmlns:a16="http://schemas.microsoft.com/office/drawing/2014/main" id="{89245EFC-B720-24F7-702B-9C795DDDDD06}"/>
              </a:ext>
            </a:extLst>
          </p:cNvPr>
          <p:cNvSpPr>
            <a:spLocks noGrp="1" noRot="1" noMove="1" noResize="1" noEditPoints="1" noAdjustHandles="1" noChangeArrowheads="1" noChangeShapeType="1"/>
          </p:cNvSpPr>
          <p:nvPr>
            <p:custDataLst>
              <p:tags r:id="rId1"/>
            </p:custDataLst>
          </p:nvPr>
        </p:nvSpPr>
        <p:spPr bwMode="auto">
          <a:xfrm rot="5400000">
            <a:off x="11676071" y="36764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95944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ection Ash-grey">
    <p:bg>
      <p:bgPr>
        <a:solidFill>
          <a:srgbClr val="30373B"/>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D237B40-CAB6-1CD7-EBFE-345A3C13DFC9}"/>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chemeClr val="bg1"/>
                </a:solidFill>
                <a:latin typeface="Palatino Linotype" panose="02040502050505030304" pitchFamily="18" charset="0"/>
              </a:defRPr>
            </a:lvl1pPr>
          </a:lstStyle>
          <a:p>
            <a:r>
              <a:rPr lang="en-GB"/>
              <a:t>Click to edit text</a:t>
            </a:r>
          </a:p>
        </p:txBody>
      </p:sp>
      <p:sp>
        <p:nvSpPr>
          <p:cNvPr id="3" name="Slide Number">
            <a:extLst>
              <a:ext uri="{FF2B5EF4-FFF2-40B4-BE49-F238E27FC236}">
                <a16:creationId xmlns:a16="http://schemas.microsoft.com/office/drawing/2014/main" id="{8C76D12E-62E4-9FD5-4A75-92B486F07F86}"/>
              </a:ext>
            </a:extLst>
          </p:cNvPr>
          <p:cNvSpPr txBox="1">
            <a:spLocks noGrp="1" noRot="1" noMove="1" noResize="1" noEditPoints="1" noAdjustHandles="1" noChangeArrowheads="1" noChangeShapeType="1"/>
          </p:cNvSpPr>
          <p:nvPr/>
        </p:nvSpPr>
        <p:spPr>
          <a:xfrm>
            <a:off x="11640474" y="6499716"/>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chemeClr val="bg1"/>
                </a:solidFill>
              </a:rPr>
              <a:pPr/>
              <a:t>‹#›</a:t>
            </a:fld>
            <a:endParaRPr lang="en-GB" sz="650">
              <a:solidFill>
                <a:schemeClr val="bg1"/>
              </a:solidFill>
            </a:endParaRPr>
          </a:p>
        </p:txBody>
      </p:sp>
      <p:sp>
        <p:nvSpPr>
          <p:cNvPr id="4" name="Logo">
            <a:extLst>
              <a:ext uri="{FF2B5EF4-FFF2-40B4-BE49-F238E27FC236}">
                <a16:creationId xmlns:a16="http://schemas.microsoft.com/office/drawing/2014/main" id="{713D3874-8574-8AF1-1FBB-8BEA41DDCE39}"/>
              </a:ext>
            </a:extLst>
          </p:cNvPr>
          <p:cNvSpPr>
            <a:spLocks noGrp="1" noRot="1" noMove="1" noResize="1" noEditPoints="1" noAdjustHandles="1" noChangeArrowheads="1" noChangeShapeType="1"/>
          </p:cNvSpPr>
          <p:nvPr>
            <p:custDataLst>
              <p:tags r:id="rId1"/>
            </p:custDataLst>
          </p:nvPr>
        </p:nvSpPr>
        <p:spPr bwMode="auto">
          <a:xfrm rot="5400000">
            <a:off x="11676071" y="36764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271492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ection IM Black">
    <p:bg>
      <p:bgPr>
        <a:solidFill>
          <a:srgbClr val="1F1F23"/>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1D2F11C0-7E59-CC7A-094E-DC01F7517AE7}"/>
              </a:ext>
            </a:extLst>
          </p:cNvPr>
          <p:cNvSpPr>
            <a:spLocks noGrp="1"/>
          </p:cNvSpPr>
          <p:nvPr>
            <p:ph type="title" hasCustomPrompt="1"/>
          </p:nvPr>
        </p:nvSpPr>
        <p:spPr>
          <a:xfrm>
            <a:off x="1416000" y="1989000"/>
            <a:ext cx="9360000" cy="2880000"/>
          </a:xfrm>
          <a:prstGeom prst="rect">
            <a:avLst/>
          </a:prstGeom>
        </p:spPr>
        <p:txBody>
          <a:bodyPr anchor="ctr"/>
          <a:lstStyle>
            <a:lvl1pPr algn="ctr">
              <a:lnSpc>
                <a:spcPct val="90000"/>
              </a:lnSpc>
              <a:spcAft>
                <a:spcPts val="0"/>
              </a:spcAft>
              <a:defRPr sz="5000">
                <a:solidFill>
                  <a:schemeClr val="bg1"/>
                </a:solidFill>
                <a:latin typeface="Palatino Linotype" panose="02040502050505030304" pitchFamily="18" charset="0"/>
              </a:defRPr>
            </a:lvl1pPr>
          </a:lstStyle>
          <a:p>
            <a:r>
              <a:rPr lang="en-GB"/>
              <a:t>Click to edit text</a:t>
            </a:r>
          </a:p>
        </p:txBody>
      </p:sp>
      <p:sp>
        <p:nvSpPr>
          <p:cNvPr id="3" name="Slide Number">
            <a:extLst>
              <a:ext uri="{FF2B5EF4-FFF2-40B4-BE49-F238E27FC236}">
                <a16:creationId xmlns:a16="http://schemas.microsoft.com/office/drawing/2014/main" id="{55577F8A-9B23-DEC4-CAD1-0CE7DB918FA3}"/>
              </a:ext>
            </a:extLst>
          </p:cNvPr>
          <p:cNvSpPr txBox="1">
            <a:spLocks noGrp="1" noRot="1" noMove="1" noResize="1" noEditPoints="1" noAdjustHandles="1" noChangeArrowheads="1" noChangeShapeType="1"/>
          </p:cNvSpPr>
          <p:nvPr/>
        </p:nvSpPr>
        <p:spPr>
          <a:xfrm>
            <a:off x="11640474" y="6499716"/>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chemeClr val="bg1"/>
                </a:solidFill>
              </a:rPr>
              <a:pPr/>
              <a:t>‹#›</a:t>
            </a:fld>
            <a:endParaRPr lang="en-GB" sz="650">
              <a:solidFill>
                <a:schemeClr val="bg1"/>
              </a:solidFill>
            </a:endParaRPr>
          </a:p>
        </p:txBody>
      </p:sp>
      <p:sp>
        <p:nvSpPr>
          <p:cNvPr id="4" name="Logo">
            <a:extLst>
              <a:ext uri="{FF2B5EF4-FFF2-40B4-BE49-F238E27FC236}">
                <a16:creationId xmlns:a16="http://schemas.microsoft.com/office/drawing/2014/main" id="{A4A4E827-9BDC-5E91-1B23-C519B73BCE2A}"/>
              </a:ext>
            </a:extLst>
          </p:cNvPr>
          <p:cNvSpPr>
            <a:spLocks noGrp="1" noRot="1" noMove="1" noResize="1" noEditPoints="1" noAdjustHandles="1" noChangeArrowheads="1" noChangeShapeType="1"/>
          </p:cNvSpPr>
          <p:nvPr>
            <p:custDataLst>
              <p:tags r:id="rId1"/>
            </p:custDataLst>
          </p:nvPr>
        </p:nvSpPr>
        <p:spPr bwMode="auto">
          <a:xfrm rot="5400000">
            <a:off x="11676071" y="36764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82451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ase Reference - Short Text">
    <p:spTree>
      <p:nvGrpSpPr>
        <p:cNvPr id="1" name=""/>
        <p:cNvGrpSpPr/>
        <p:nvPr/>
      </p:nvGrpSpPr>
      <p:grpSpPr>
        <a:xfrm>
          <a:off x="0" y="0"/>
          <a:ext cx="0" cy="0"/>
          <a:chOff x="0" y="0"/>
          <a:chExt cx="0" cy="0"/>
        </a:xfrm>
      </p:grpSpPr>
      <p:sp>
        <p:nvSpPr>
          <p:cNvPr id="6" name="Picture Placeholder">
            <a:extLst>
              <a:ext uri="{FF2B5EF4-FFF2-40B4-BE49-F238E27FC236}">
                <a16:creationId xmlns:a16="http://schemas.microsoft.com/office/drawing/2014/main" id="{C45B051E-3D52-65E1-F7A8-F288E6E5DE32}"/>
              </a:ext>
            </a:extLst>
          </p:cNvPr>
          <p:cNvSpPr>
            <a:spLocks noGrp="1"/>
          </p:cNvSpPr>
          <p:nvPr>
            <p:ph type="pic" sz="quarter" idx="15"/>
          </p:nvPr>
        </p:nvSpPr>
        <p:spPr>
          <a:xfrm>
            <a:off x="2" y="1"/>
            <a:ext cx="12192001" cy="6858000"/>
          </a:xfrm>
          <a:solidFill>
            <a:srgbClr val="CBC9C7"/>
          </a:solidFill>
        </p:spPr>
        <p:txBody>
          <a:bodyPr vert="horz" lIns="0" tIns="0" rIns="0" bIns="0" rtlCol="0" anchor="ctr" anchorCtr="0">
            <a:noAutofit/>
          </a:bodyPr>
          <a:lstStyle>
            <a:lvl1pPr algn="ctr">
              <a:defRPr lang="da-DK" dirty="0">
                <a:solidFill>
                  <a:schemeClr val="bg1"/>
                </a:solidFill>
              </a:defRPr>
            </a:lvl1pPr>
          </a:lstStyle>
          <a:p>
            <a:pPr lvl="0" algn="ctr">
              <a:buNone/>
            </a:pPr>
            <a:r>
              <a:rPr lang="en-US"/>
              <a:t>Click icon to add picture</a:t>
            </a:r>
            <a:endParaRPr lang="en-GB"/>
          </a:p>
        </p:txBody>
      </p:sp>
      <p:sp>
        <p:nvSpPr>
          <p:cNvPr id="10" name="Slide Number Placeholder">
            <a:extLst>
              <a:ext uri="{FF2B5EF4-FFF2-40B4-BE49-F238E27FC236}">
                <a16:creationId xmlns:a16="http://schemas.microsoft.com/office/drawing/2014/main" id="{24FC42D5-68A3-6F57-5347-D629DBC528FE}"/>
              </a:ext>
            </a:extLst>
          </p:cNvPr>
          <p:cNvSpPr>
            <a:spLocks noGrp="1" noRot="1" noMove="1" noResize="1" noEditPoints="1" noAdjustHandles="1" noChangeArrowheads="1" noChangeShapeType="1"/>
          </p:cNvSpPr>
          <p:nvPr>
            <p:ph type="sldNum" sz="quarter" idx="4"/>
          </p:nvPr>
        </p:nvSpPr>
        <p:spPr>
          <a:xfrm>
            <a:off x="11640474" y="6499716"/>
            <a:ext cx="288000" cy="108000"/>
          </a:xfrm>
          <a:prstGeom prst="rect">
            <a:avLst/>
          </a:prstGeom>
        </p:spPr>
        <p:txBody>
          <a:bodyPr vert="horz" lIns="0" tIns="0" rIns="0" bIns="0" rtlCol="0" anchor="b" anchorCtr="0"/>
          <a:lstStyle>
            <a:lvl1pPr>
              <a:defRPr lang="en-GB" sz="650" spc="0" baseline="0" smtClean="0">
                <a:solidFill>
                  <a:schemeClr val="bg1"/>
                </a:solidFill>
              </a:defRPr>
            </a:lvl1pPr>
          </a:lstStyle>
          <a:p>
            <a:pPr algn="r" defTabSz="914400"/>
            <a:fld id="{B95011C1-D4CA-414C-97DD-45D89C990525}" type="slidenum">
              <a:rPr lang="en-GB" smtClean="0"/>
              <a:pPr algn="r" defTabSz="914400"/>
              <a:t>‹#›</a:t>
            </a:fld>
            <a:endParaRPr lang="en-GB"/>
          </a:p>
        </p:txBody>
      </p:sp>
      <p:sp>
        <p:nvSpPr>
          <p:cNvPr id="9" name="Case">
            <a:extLst>
              <a:ext uri="{FF2B5EF4-FFF2-40B4-BE49-F238E27FC236}">
                <a16:creationId xmlns:a16="http://schemas.microsoft.com/office/drawing/2014/main" id="{818D0CDA-0E4E-ED12-2E24-F0C9459A6DE0}"/>
              </a:ext>
            </a:extLst>
          </p:cNvPr>
          <p:cNvSpPr>
            <a:spLocks noGrp="1"/>
          </p:cNvSpPr>
          <p:nvPr>
            <p:ph type="body" sz="quarter" idx="17" hasCustomPrompt="1"/>
          </p:nvPr>
        </p:nvSpPr>
        <p:spPr>
          <a:xfrm>
            <a:off x="269875" y="269875"/>
            <a:ext cx="900000" cy="269875"/>
          </a:xfrm>
          <a:blipFill>
            <a:blip r:embed="rId2"/>
            <a:stretch>
              <a:fillRect/>
            </a:stretch>
          </a:blipFill>
        </p:spPr>
        <p:txBody>
          <a:bodyPr rIns="0" anchor="ctr" anchorCtr="0"/>
          <a:lstStyle>
            <a:lvl1pPr algn="l">
              <a:defRPr sz="100" b="1"/>
            </a:lvl1pPr>
            <a:lvl2pPr>
              <a:defRPr b="1"/>
            </a:lvl2pPr>
            <a:lvl3pPr>
              <a:defRPr b="1"/>
            </a:lvl3pPr>
            <a:lvl4pPr>
              <a:defRPr b="1"/>
            </a:lvl4pPr>
            <a:lvl5pPr>
              <a:defRPr b="1"/>
            </a:lvl5pPr>
          </a:lstStyle>
          <a:p>
            <a:pPr lvl="0"/>
            <a:r>
              <a:rPr lang="en-GB"/>
              <a:t>.</a:t>
            </a:r>
          </a:p>
        </p:txBody>
      </p:sp>
      <p:sp>
        <p:nvSpPr>
          <p:cNvPr id="2" name="Title">
            <a:extLst>
              <a:ext uri="{FF2B5EF4-FFF2-40B4-BE49-F238E27FC236}">
                <a16:creationId xmlns:a16="http://schemas.microsoft.com/office/drawing/2014/main" id="{C2B80BD3-4E8A-0432-5782-5BEA8FE21D5B}"/>
              </a:ext>
            </a:extLst>
          </p:cNvPr>
          <p:cNvSpPr>
            <a:spLocks noGrp="1"/>
          </p:cNvSpPr>
          <p:nvPr>
            <p:ph type="title" hasCustomPrompt="1"/>
          </p:nvPr>
        </p:nvSpPr>
        <p:spPr>
          <a:xfrm>
            <a:off x="269873" y="962024"/>
            <a:ext cx="4032000" cy="1655763"/>
          </a:xfrm>
          <a:noFill/>
        </p:spPr>
        <p:txBody>
          <a:bodyPr vert="horz" lIns="0" tIns="0" rIns="0" bIns="0" rtlCol="0" anchor="t" anchorCtr="0">
            <a:noAutofit/>
          </a:bodyPr>
          <a:lstStyle>
            <a:lvl1pPr>
              <a:spcAft>
                <a:spcPts val="0"/>
              </a:spcAft>
              <a:defRPr lang="en-GB" sz="4400" cap="none" baseline="0" dirty="0">
                <a:solidFill>
                  <a:schemeClr val="bg1"/>
                </a:solidFill>
                <a:latin typeface="Palatino Linotype" panose="02040502050505030304" pitchFamily="18" charset="0"/>
              </a:defRPr>
            </a:lvl1pPr>
          </a:lstStyle>
          <a:p>
            <a:pPr marL="0" lvl="0" indent="0">
              <a:lnSpc>
                <a:spcPct val="80000"/>
              </a:lnSpc>
              <a:spcAft>
                <a:spcPts val="1200"/>
              </a:spcAft>
              <a:buFontTx/>
            </a:pPr>
            <a:r>
              <a:rPr lang="en-GB"/>
              <a:t>Click to edit heading</a:t>
            </a:r>
          </a:p>
        </p:txBody>
      </p:sp>
      <p:sp>
        <p:nvSpPr>
          <p:cNvPr id="11" name="Text">
            <a:extLst>
              <a:ext uri="{FF2B5EF4-FFF2-40B4-BE49-F238E27FC236}">
                <a16:creationId xmlns:a16="http://schemas.microsoft.com/office/drawing/2014/main" id="{3A1D588A-6CBF-88BD-7545-244D1F4D1766}"/>
              </a:ext>
            </a:extLst>
          </p:cNvPr>
          <p:cNvSpPr>
            <a:spLocks noGrp="1"/>
          </p:cNvSpPr>
          <p:nvPr>
            <p:ph type="body" sz="quarter" idx="18"/>
          </p:nvPr>
        </p:nvSpPr>
        <p:spPr>
          <a:xfrm>
            <a:off x="269875" y="2780052"/>
            <a:ext cx="4032000" cy="16557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Notes">
            <a:extLst>
              <a:ext uri="{FF2B5EF4-FFF2-40B4-BE49-F238E27FC236}">
                <a16:creationId xmlns:a16="http://schemas.microsoft.com/office/drawing/2014/main" id="{18C631C1-9316-C687-5920-B9CB6CB31545}"/>
              </a:ext>
            </a:extLst>
          </p:cNvPr>
          <p:cNvSpPr>
            <a:spLocks noGrp="1"/>
          </p:cNvSpPr>
          <p:nvPr>
            <p:ph type="body" sz="quarter" idx="13" hasCustomPrompt="1"/>
          </p:nvPr>
        </p:nvSpPr>
        <p:spPr>
          <a:xfrm>
            <a:off x="269999" y="6501600"/>
            <a:ext cx="8362597"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chemeClr val="bg1"/>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chemeClr val="bg1"/>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chemeClr val="bg1"/>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chemeClr val="bg1"/>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
        <p:nvSpPr>
          <p:cNvPr id="7" name="Logo">
            <a:extLst>
              <a:ext uri="{FF2B5EF4-FFF2-40B4-BE49-F238E27FC236}">
                <a16:creationId xmlns:a16="http://schemas.microsoft.com/office/drawing/2014/main" id="{12F2683F-279F-07A3-32CD-8902585162D6}"/>
              </a:ext>
            </a:extLst>
          </p:cNvPr>
          <p:cNvSpPr>
            <a:spLocks noGrp="1" noRot="1" noMove="1" noResize="1" noEditPoints="1" noAdjustHandles="1" noChangeArrowheads="1" noChangeShapeType="1"/>
          </p:cNvSpPr>
          <p:nvPr>
            <p:ph type="body" sz="quarter" idx="21" hasCustomPrompt="1"/>
          </p:nvPr>
        </p:nvSpPr>
        <p:spPr>
          <a:xfrm>
            <a:off x="11773674" y="269875"/>
            <a:ext cx="154800" cy="349200"/>
          </a:xfrm>
          <a:blipFill>
            <a:blip r:embed="rId3">
              <a:extLst>
                <a:ext uri="{96DAC541-7B7A-43D3-8B79-37D633B846F1}">
                  <asvg:svgBlip xmlns:asvg="http://schemas.microsoft.com/office/drawing/2016/SVG/main" r:embed="rId4"/>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245190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se Reference - Long Text A">
    <p:bg>
      <p:bgPr>
        <a:solidFill>
          <a:srgbClr val="F2F2F1"/>
        </a:solidFill>
        <a:effectLst/>
      </p:bgPr>
    </p:bg>
    <p:spTree>
      <p:nvGrpSpPr>
        <p:cNvPr id="1" name=""/>
        <p:cNvGrpSpPr/>
        <p:nvPr/>
      </p:nvGrpSpPr>
      <p:grpSpPr>
        <a:xfrm>
          <a:off x="0" y="0"/>
          <a:ext cx="0" cy="0"/>
          <a:chOff x="0" y="0"/>
          <a:chExt cx="0" cy="0"/>
        </a:xfrm>
      </p:grpSpPr>
      <p:sp>
        <p:nvSpPr>
          <p:cNvPr id="2" name="Colour block">
            <a:extLst>
              <a:ext uri="{FF2B5EF4-FFF2-40B4-BE49-F238E27FC236}">
                <a16:creationId xmlns:a16="http://schemas.microsoft.com/office/drawing/2014/main" id="{12F638E3-2E2F-64D4-78B9-3DFFB0A3980B}"/>
              </a:ext>
            </a:extLst>
          </p:cNvPr>
          <p:cNvSpPr>
            <a:spLocks noGrp="1"/>
          </p:cNvSpPr>
          <p:nvPr>
            <p:ph type="body" sz="quarter" idx="20" hasCustomPrompt="1"/>
          </p:nvPr>
        </p:nvSpPr>
        <p:spPr>
          <a:xfrm>
            <a:off x="6351791" y="0"/>
            <a:ext cx="5840209" cy="3060700"/>
          </a:xfrm>
          <a:solidFill>
            <a:srgbClr val="30373B"/>
          </a:solidFill>
        </p:spPr>
        <p:txBody>
          <a:bodyPr/>
          <a:lstStyle>
            <a:lvl1pPr>
              <a:defRPr sz="100"/>
            </a:lvl1pPr>
          </a:lstStyle>
          <a:p>
            <a:pPr lvl="0"/>
            <a:r>
              <a:rPr lang="en-US"/>
              <a:t> </a:t>
            </a:r>
            <a:endParaRPr lang="en-GB"/>
          </a:p>
        </p:txBody>
      </p:sp>
      <p:sp>
        <p:nvSpPr>
          <p:cNvPr id="32" name="Picture Placeholder">
            <a:extLst>
              <a:ext uri="{FF2B5EF4-FFF2-40B4-BE49-F238E27FC236}">
                <a16:creationId xmlns:a16="http://schemas.microsoft.com/office/drawing/2014/main" id="{DA21ABD3-AFBE-40DA-AB1F-5F2DCE790C9F}"/>
              </a:ext>
            </a:extLst>
          </p:cNvPr>
          <p:cNvSpPr>
            <a:spLocks noGrp="1"/>
          </p:cNvSpPr>
          <p:nvPr>
            <p:ph type="pic" sz="quarter" idx="17"/>
          </p:nvPr>
        </p:nvSpPr>
        <p:spPr>
          <a:xfrm>
            <a:off x="6351791" y="1308"/>
            <a:ext cx="5146163" cy="3060000"/>
          </a:xfrm>
          <a:solidFill>
            <a:srgbClr val="CBC9C7"/>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33" name="Title">
            <a:extLst>
              <a:ext uri="{FF2B5EF4-FFF2-40B4-BE49-F238E27FC236}">
                <a16:creationId xmlns:a16="http://schemas.microsoft.com/office/drawing/2014/main" id="{5B280FF2-C6BF-4C8C-A1C0-AAB833430B04}"/>
              </a:ext>
            </a:extLst>
          </p:cNvPr>
          <p:cNvSpPr>
            <a:spLocks noGrp="1"/>
          </p:cNvSpPr>
          <p:nvPr>
            <p:ph type="title"/>
          </p:nvPr>
        </p:nvSpPr>
        <p:spPr>
          <a:xfrm>
            <a:off x="269875" y="1873308"/>
            <a:ext cx="5580000" cy="1188000"/>
          </a:xfrm>
        </p:spPr>
        <p:txBody>
          <a:bodyPr rIns="360000" anchor="b"/>
          <a:lstStyle>
            <a:lvl1pPr>
              <a:defRPr sz="2800"/>
            </a:lvl1pPr>
          </a:lstStyle>
          <a:p>
            <a:r>
              <a:rPr lang="en-US"/>
              <a:t>Click to edit Master title style</a:t>
            </a:r>
            <a:endParaRPr lang="en-GB"/>
          </a:p>
        </p:txBody>
      </p:sp>
      <p:sp>
        <p:nvSpPr>
          <p:cNvPr id="43" name="Case">
            <a:extLst>
              <a:ext uri="{FF2B5EF4-FFF2-40B4-BE49-F238E27FC236}">
                <a16:creationId xmlns:a16="http://schemas.microsoft.com/office/drawing/2014/main" id="{8A14015F-0615-4486-A88B-DE980A0ED183}"/>
              </a:ext>
            </a:extLst>
          </p:cNvPr>
          <p:cNvSpPr>
            <a:spLocks noGrp="1" noRot="1" noMove="1" noResize="1" noEditPoints="1" noAdjustHandles="1" noChangeArrowheads="1" noChangeShapeType="1"/>
          </p:cNvSpPr>
          <p:nvPr/>
        </p:nvSpPr>
        <p:spPr>
          <a:xfrm>
            <a:off x="275070" y="1511114"/>
            <a:ext cx="347852" cy="138499"/>
          </a:xfrm>
          <a:prstGeom prst="rect">
            <a:avLst/>
          </a:prstGeom>
        </p:spPr>
        <p:txBody>
          <a:bodyPr wrap="square" lIns="0" tIns="0" rIns="0" bIns="0">
            <a:spAutoFit/>
          </a:bodyPr>
          <a:lstStyle/>
          <a:p>
            <a:pPr>
              <a:spcAft>
                <a:spcPts val="0"/>
              </a:spcAft>
            </a:pPr>
            <a:r>
              <a:rPr lang="en-GB">
                <a:solidFill>
                  <a:srgbClr val="1F2023"/>
                </a:solidFill>
              </a:rPr>
              <a:t>CASE</a:t>
            </a:r>
          </a:p>
        </p:txBody>
      </p:sp>
      <p:sp>
        <p:nvSpPr>
          <p:cNvPr id="34" name="The project">
            <a:extLst>
              <a:ext uri="{FF2B5EF4-FFF2-40B4-BE49-F238E27FC236}">
                <a16:creationId xmlns:a16="http://schemas.microsoft.com/office/drawing/2014/main" id="{703EFA8D-5E6A-4906-82A3-205250FBE2A9}"/>
              </a:ext>
            </a:extLst>
          </p:cNvPr>
          <p:cNvSpPr>
            <a:spLocks noGrp="1" noRot="1" noMove="1" noResize="1" noEditPoints="1" noAdjustHandles="1" noChangeArrowheads="1" noChangeShapeType="1"/>
          </p:cNvSpPr>
          <p:nvPr/>
        </p:nvSpPr>
        <p:spPr>
          <a:xfrm>
            <a:off x="269875" y="3666709"/>
            <a:ext cx="5580000" cy="193899"/>
          </a:xfrm>
          <a:prstGeom prst="rect">
            <a:avLst/>
          </a:prstGeom>
        </p:spPr>
        <p:txBody>
          <a:bodyPr wrap="none" lIns="0" tIns="0" rIns="0" bIns="0">
            <a:spAutoFit/>
          </a:bodyPr>
          <a:lstStyle/>
          <a:p>
            <a:pPr lvl="1">
              <a:lnSpc>
                <a:spcPct val="90000"/>
              </a:lnSpc>
              <a:buNone/>
            </a:pPr>
            <a:r>
              <a:rPr lang="en-GB" sz="1400" b="1">
                <a:solidFill>
                  <a:srgbClr val="30373B"/>
                </a:solidFill>
              </a:rPr>
              <a:t>THE PROJECT</a:t>
            </a:r>
            <a:endParaRPr lang="en-GB" sz="1400">
              <a:solidFill>
                <a:srgbClr val="30373B"/>
              </a:solidFill>
            </a:endParaRPr>
          </a:p>
        </p:txBody>
      </p:sp>
      <p:cxnSp>
        <p:nvCxnSpPr>
          <p:cNvPr id="35" name="Divider line 1">
            <a:extLst>
              <a:ext uri="{FF2B5EF4-FFF2-40B4-BE49-F238E27FC236}">
                <a16:creationId xmlns:a16="http://schemas.microsoft.com/office/drawing/2014/main" id="{B82E33D9-8A09-4E1E-B29A-933C28C2B2E2}"/>
              </a:ext>
            </a:extLst>
          </p:cNvPr>
          <p:cNvCxnSpPr>
            <a:cxnSpLocks noGrp="1" noRot="1" noMove="1" noResize="1" noEditPoints="1" noAdjustHandles="1" noChangeArrowheads="1" noChangeShapeType="1"/>
          </p:cNvCxnSpPr>
          <p:nvPr/>
        </p:nvCxnSpPr>
        <p:spPr>
          <a:xfrm>
            <a:off x="269875" y="3915161"/>
            <a:ext cx="5580000"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ext Placeholder 1">
            <a:extLst>
              <a:ext uri="{FF2B5EF4-FFF2-40B4-BE49-F238E27FC236}">
                <a16:creationId xmlns:a16="http://schemas.microsoft.com/office/drawing/2014/main" id="{A6C4AA2D-BE28-FA50-9227-84CBE7438492}"/>
              </a:ext>
            </a:extLst>
          </p:cNvPr>
          <p:cNvSpPr>
            <a:spLocks noGrp="1"/>
          </p:cNvSpPr>
          <p:nvPr>
            <p:ph type="body" sz="quarter" idx="18"/>
          </p:nvPr>
        </p:nvSpPr>
        <p:spPr>
          <a:xfrm>
            <a:off x="269874" y="4054475"/>
            <a:ext cx="5580000" cy="2262188"/>
          </a:xfrm>
        </p:spPr>
        <p:txBody>
          <a:bodyPr rIns="36000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he impact">
            <a:extLst>
              <a:ext uri="{FF2B5EF4-FFF2-40B4-BE49-F238E27FC236}">
                <a16:creationId xmlns:a16="http://schemas.microsoft.com/office/drawing/2014/main" id="{0D6039B4-1EC9-4657-B8E8-8A44CDEA52D0}"/>
              </a:ext>
            </a:extLst>
          </p:cNvPr>
          <p:cNvSpPr>
            <a:spLocks noGrp="1" noRot="1" noMove="1" noResize="1" noEditPoints="1" noAdjustHandles="1" noChangeArrowheads="1" noChangeShapeType="1"/>
          </p:cNvSpPr>
          <p:nvPr/>
        </p:nvSpPr>
        <p:spPr>
          <a:xfrm>
            <a:off x="6351791" y="3666709"/>
            <a:ext cx="5580000" cy="193899"/>
          </a:xfrm>
          <a:prstGeom prst="rect">
            <a:avLst/>
          </a:prstGeom>
        </p:spPr>
        <p:txBody>
          <a:bodyPr wrap="none" lIns="0" tIns="0" rIns="0" bIns="0">
            <a:spAutoFit/>
          </a:bodyPr>
          <a:lstStyle/>
          <a:p>
            <a:pPr lvl="1">
              <a:lnSpc>
                <a:spcPct val="90000"/>
              </a:lnSpc>
              <a:buNone/>
            </a:pPr>
            <a:r>
              <a:rPr lang="en-GB" sz="1400" b="1">
                <a:solidFill>
                  <a:srgbClr val="30373B"/>
                </a:solidFill>
              </a:rPr>
              <a:t>THE IMPACT</a:t>
            </a:r>
            <a:endParaRPr lang="en-GB" sz="1400">
              <a:solidFill>
                <a:srgbClr val="30373B"/>
              </a:solidFill>
            </a:endParaRPr>
          </a:p>
        </p:txBody>
      </p:sp>
      <p:cxnSp>
        <p:nvCxnSpPr>
          <p:cNvPr id="38" name="Divider line 2">
            <a:extLst>
              <a:ext uri="{FF2B5EF4-FFF2-40B4-BE49-F238E27FC236}">
                <a16:creationId xmlns:a16="http://schemas.microsoft.com/office/drawing/2014/main" id="{C9C05287-1F42-45FF-9E41-4392C366FA0B}"/>
              </a:ext>
            </a:extLst>
          </p:cNvPr>
          <p:cNvCxnSpPr>
            <a:cxnSpLocks noGrp="1" noRot="1" noMove="1" noResize="1" noEditPoints="1" noAdjustHandles="1" noChangeArrowheads="1" noChangeShapeType="1"/>
          </p:cNvCxnSpPr>
          <p:nvPr/>
        </p:nvCxnSpPr>
        <p:spPr>
          <a:xfrm>
            <a:off x="6351791" y="3915161"/>
            <a:ext cx="5580000"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735510DC-48E7-07C6-E513-693E09F662A8}"/>
              </a:ext>
            </a:extLst>
          </p:cNvPr>
          <p:cNvSpPr>
            <a:spLocks noGrp="1"/>
          </p:cNvSpPr>
          <p:nvPr>
            <p:ph type="body" sz="quarter" idx="19"/>
          </p:nvPr>
        </p:nvSpPr>
        <p:spPr>
          <a:xfrm>
            <a:off x="6351791" y="4054475"/>
            <a:ext cx="5580000" cy="2262188"/>
          </a:xfrm>
        </p:spPr>
        <p:txBody>
          <a:bodyPr rIns="36000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Logo">
            <a:extLst>
              <a:ext uri="{FF2B5EF4-FFF2-40B4-BE49-F238E27FC236}">
                <a16:creationId xmlns:a16="http://schemas.microsoft.com/office/drawing/2014/main" id="{F0983A2E-97F4-42BB-CA28-388B9F7B4D8D}"/>
              </a:ext>
            </a:extLst>
          </p:cNvPr>
          <p:cNvSpPr>
            <a:spLocks noGrp="1" noRot="1" noMove="1" noResize="1" noEditPoints="1" noAdjustHandles="1" noChangeArrowheads="1" noChangeShapeType="1"/>
          </p:cNvSpPr>
          <p:nvPr>
            <p:ph type="body" sz="quarter" idx="21" hasCustomPrompt="1"/>
          </p:nvPr>
        </p:nvSpPr>
        <p:spPr>
          <a:xfrm>
            <a:off x="11773674" y="269875"/>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288237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81">
          <p15:clr>
            <a:srgbClr val="FBAE40"/>
          </p15:clr>
        </p15:guide>
        <p15:guide id="2" pos="399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ase Reference - Long Text B">
    <p:bg>
      <p:bgPr>
        <a:solidFill>
          <a:srgbClr val="30373B"/>
        </a:solidFill>
        <a:effectLst/>
      </p:bgPr>
    </p:bg>
    <p:spTree>
      <p:nvGrpSpPr>
        <p:cNvPr id="1" name=""/>
        <p:cNvGrpSpPr/>
        <p:nvPr/>
      </p:nvGrpSpPr>
      <p:grpSpPr>
        <a:xfrm>
          <a:off x="0" y="0"/>
          <a:ext cx="0" cy="0"/>
          <a:chOff x="0" y="0"/>
          <a:chExt cx="0" cy="0"/>
        </a:xfrm>
      </p:grpSpPr>
      <p:sp>
        <p:nvSpPr>
          <p:cNvPr id="6" name="Colour block">
            <a:extLst>
              <a:ext uri="{FF2B5EF4-FFF2-40B4-BE49-F238E27FC236}">
                <a16:creationId xmlns:a16="http://schemas.microsoft.com/office/drawing/2014/main" id="{D6830265-86AA-64B2-6ADD-8228C2191A5E}"/>
              </a:ext>
            </a:extLst>
          </p:cNvPr>
          <p:cNvSpPr>
            <a:spLocks noGrp="1"/>
          </p:cNvSpPr>
          <p:nvPr>
            <p:ph type="body" sz="quarter" idx="20" hasCustomPrompt="1"/>
          </p:nvPr>
        </p:nvSpPr>
        <p:spPr>
          <a:xfrm>
            <a:off x="6351791" y="0"/>
            <a:ext cx="5840209" cy="3060700"/>
          </a:xfrm>
          <a:solidFill>
            <a:srgbClr val="E1E0DE"/>
          </a:solidFill>
        </p:spPr>
        <p:txBody>
          <a:bodyPr/>
          <a:lstStyle>
            <a:lvl1pPr>
              <a:defRPr sz="100"/>
            </a:lvl1pPr>
          </a:lstStyle>
          <a:p>
            <a:pPr lvl="0"/>
            <a:r>
              <a:rPr lang="en-US"/>
              <a:t> </a:t>
            </a:r>
            <a:endParaRPr lang="en-GB"/>
          </a:p>
        </p:txBody>
      </p:sp>
      <p:sp>
        <p:nvSpPr>
          <p:cNvPr id="32" name="Picture Placeholder">
            <a:extLst>
              <a:ext uri="{FF2B5EF4-FFF2-40B4-BE49-F238E27FC236}">
                <a16:creationId xmlns:a16="http://schemas.microsoft.com/office/drawing/2014/main" id="{DA21ABD3-AFBE-40DA-AB1F-5F2DCE790C9F}"/>
              </a:ext>
            </a:extLst>
          </p:cNvPr>
          <p:cNvSpPr>
            <a:spLocks noGrp="1"/>
          </p:cNvSpPr>
          <p:nvPr>
            <p:ph type="pic" sz="quarter" idx="17"/>
          </p:nvPr>
        </p:nvSpPr>
        <p:spPr>
          <a:xfrm>
            <a:off x="6351791" y="1308"/>
            <a:ext cx="5146162" cy="3060000"/>
          </a:xfrm>
          <a:solidFill>
            <a:srgbClr val="CBC9C7"/>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33" name="Title">
            <a:extLst>
              <a:ext uri="{FF2B5EF4-FFF2-40B4-BE49-F238E27FC236}">
                <a16:creationId xmlns:a16="http://schemas.microsoft.com/office/drawing/2014/main" id="{5B280FF2-C6BF-4C8C-A1C0-AAB833430B04}"/>
              </a:ext>
            </a:extLst>
          </p:cNvPr>
          <p:cNvSpPr>
            <a:spLocks noGrp="1"/>
          </p:cNvSpPr>
          <p:nvPr>
            <p:ph type="title"/>
          </p:nvPr>
        </p:nvSpPr>
        <p:spPr>
          <a:xfrm>
            <a:off x="269875" y="1873308"/>
            <a:ext cx="5580000" cy="1188000"/>
          </a:xfrm>
        </p:spPr>
        <p:txBody>
          <a:bodyPr rIns="360000" anchor="b"/>
          <a:lstStyle>
            <a:lvl1pPr>
              <a:defRPr sz="2800">
                <a:solidFill>
                  <a:schemeClr val="bg1"/>
                </a:solidFill>
              </a:defRPr>
            </a:lvl1pPr>
          </a:lstStyle>
          <a:p>
            <a:r>
              <a:rPr lang="en-US"/>
              <a:t>Click to edit Master title style</a:t>
            </a:r>
            <a:endParaRPr lang="en-GB"/>
          </a:p>
        </p:txBody>
      </p:sp>
      <p:sp>
        <p:nvSpPr>
          <p:cNvPr id="43" name="Case">
            <a:extLst>
              <a:ext uri="{FF2B5EF4-FFF2-40B4-BE49-F238E27FC236}">
                <a16:creationId xmlns:a16="http://schemas.microsoft.com/office/drawing/2014/main" id="{8A14015F-0615-4486-A88B-DE980A0ED183}"/>
              </a:ext>
            </a:extLst>
          </p:cNvPr>
          <p:cNvSpPr>
            <a:spLocks noGrp="1" noRot="1" noMove="1" noResize="1" noEditPoints="1" noAdjustHandles="1" noChangeArrowheads="1" noChangeShapeType="1"/>
          </p:cNvSpPr>
          <p:nvPr/>
        </p:nvSpPr>
        <p:spPr>
          <a:xfrm>
            <a:off x="275070" y="1511114"/>
            <a:ext cx="347852" cy="138499"/>
          </a:xfrm>
          <a:prstGeom prst="rect">
            <a:avLst/>
          </a:prstGeom>
        </p:spPr>
        <p:txBody>
          <a:bodyPr wrap="square" lIns="0" tIns="0" rIns="0" bIns="0">
            <a:spAutoFit/>
          </a:bodyPr>
          <a:lstStyle/>
          <a:p>
            <a:pPr>
              <a:spcAft>
                <a:spcPts val="0"/>
              </a:spcAft>
            </a:pPr>
            <a:r>
              <a:rPr lang="en-GB">
                <a:solidFill>
                  <a:schemeClr val="bg1"/>
                </a:solidFill>
              </a:rPr>
              <a:t>CASE</a:t>
            </a:r>
          </a:p>
        </p:txBody>
      </p:sp>
      <p:sp>
        <p:nvSpPr>
          <p:cNvPr id="34" name="The project">
            <a:extLst>
              <a:ext uri="{FF2B5EF4-FFF2-40B4-BE49-F238E27FC236}">
                <a16:creationId xmlns:a16="http://schemas.microsoft.com/office/drawing/2014/main" id="{703EFA8D-5E6A-4906-82A3-205250FBE2A9}"/>
              </a:ext>
            </a:extLst>
          </p:cNvPr>
          <p:cNvSpPr>
            <a:spLocks noGrp="1" noRot="1" noMove="1" noResize="1" noEditPoints="1" noAdjustHandles="1" noChangeArrowheads="1" noChangeShapeType="1"/>
          </p:cNvSpPr>
          <p:nvPr/>
        </p:nvSpPr>
        <p:spPr>
          <a:xfrm>
            <a:off x="269875" y="3666709"/>
            <a:ext cx="5580000" cy="193899"/>
          </a:xfrm>
          <a:prstGeom prst="rect">
            <a:avLst/>
          </a:prstGeom>
        </p:spPr>
        <p:txBody>
          <a:bodyPr wrap="none" lIns="0" tIns="0" rIns="0" bIns="0">
            <a:spAutoFit/>
          </a:bodyPr>
          <a:lstStyle/>
          <a:p>
            <a:pPr lvl="1">
              <a:lnSpc>
                <a:spcPct val="90000"/>
              </a:lnSpc>
              <a:buNone/>
            </a:pPr>
            <a:r>
              <a:rPr lang="en-GB" sz="1400" b="1">
                <a:solidFill>
                  <a:schemeClr val="bg1"/>
                </a:solidFill>
              </a:rPr>
              <a:t>THE PROJECT</a:t>
            </a:r>
            <a:endParaRPr lang="en-GB" sz="1400">
              <a:solidFill>
                <a:schemeClr val="bg1"/>
              </a:solidFill>
            </a:endParaRPr>
          </a:p>
        </p:txBody>
      </p:sp>
      <p:cxnSp>
        <p:nvCxnSpPr>
          <p:cNvPr id="35" name="Divider line 1">
            <a:extLst>
              <a:ext uri="{FF2B5EF4-FFF2-40B4-BE49-F238E27FC236}">
                <a16:creationId xmlns:a16="http://schemas.microsoft.com/office/drawing/2014/main" id="{B82E33D9-8A09-4E1E-B29A-933C28C2B2E2}"/>
              </a:ext>
            </a:extLst>
          </p:cNvPr>
          <p:cNvCxnSpPr>
            <a:cxnSpLocks noGrp="1" noRot="1" noMove="1" noResize="1" noEditPoints="1" noAdjustHandles="1" noChangeArrowheads="1" noChangeShapeType="1"/>
          </p:cNvCxnSpPr>
          <p:nvPr/>
        </p:nvCxnSpPr>
        <p:spPr>
          <a:xfrm>
            <a:off x="269875" y="3915161"/>
            <a:ext cx="5580000" cy="0"/>
          </a:xfrm>
          <a:prstGeom prst="line">
            <a:avLst/>
          </a:prstGeom>
          <a:ln w="127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ext Placeholder 1">
            <a:extLst>
              <a:ext uri="{FF2B5EF4-FFF2-40B4-BE49-F238E27FC236}">
                <a16:creationId xmlns:a16="http://schemas.microsoft.com/office/drawing/2014/main" id="{A6C4AA2D-BE28-FA50-9227-84CBE7438492}"/>
              </a:ext>
            </a:extLst>
          </p:cNvPr>
          <p:cNvSpPr>
            <a:spLocks noGrp="1"/>
          </p:cNvSpPr>
          <p:nvPr>
            <p:ph type="body" sz="quarter" idx="18"/>
          </p:nvPr>
        </p:nvSpPr>
        <p:spPr>
          <a:xfrm>
            <a:off x="269874" y="4054475"/>
            <a:ext cx="5580000" cy="2262188"/>
          </a:xfrm>
        </p:spPr>
        <p:txBody>
          <a:bodyPr rIns="360000"/>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he impact">
            <a:extLst>
              <a:ext uri="{FF2B5EF4-FFF2-40B4-BE49-F238E27FC236}">
                <a16:creationId xmlns:a16="http://schemas.microsoft.com/office/drawing/2014/main" id="{0D6039B4-1EC9-4657-B8E8-8A44CDEA52D0}"/>
              </a:ext>
            </a:extLst>
          </p:cNvPr>
          <p:cNvSpPr>
            <a:spLocks noGrp="1" noRot="1" noMove="1" noResize="1" noEditPoints="1" noAdjustHandles="1" noChangeArrowheads="1" noChangeShapeType="1"/>
          </p:cNvSpPr>
          <p:nvPr/>
        </p:nvSpPr>
        <p:spPr>
          <a:xfrm>
            <a:off x="6351791" y="3666709"/>
            <a:ext cx="5580000" cy="193899"/>
          </a:xfrm>
          <a:prstGeom prst="rect">
            <a:avLst/>
          </a:prstGeom>
        </p:spPr>
        <p:txBody>
          <a:bodyPr wrap="none" lIns="0" tIns="0" rIns="0" bIns="0">
            <a:spAutoFit/>
          </a:bodyPr>
          <a:lstStyle/>
          <a:p>
            <a:pPr lvl="1">
              <a:lnSpc>
                <a:spcPct val="90000"/>
              </a:lnSpc>
              <a:buNone/>
            </a:pPr>
            <a:r>
              <a:rPr lang="en-GB" sz="1400" b="1">
                <a:solidFill>
                  <a:schemeClr val="bg1"/>
                </a:solidFill>
              </a:rPr>
              <a:t>THE IMPACT</a:t>
            </a:r>
            <a:endParaRPr lang="en-GB" sz="1400">
              <a:solidFill>
                <a:schemeClr val="bg1"/>
              </a:solidFill>
            </a:endParaRPr>
          </a:p>
        </p:txBody>
      </p:sp>
      <p:cxnSp>
        <p:nvCxnSpPr>
          <p:cNvPr id="38" name="Divider line 2">
            <a:extLst>
              <a:ext uri="{FF2B5EF4-FFF2-40B4-BE49-F238E27FC236}">
                <a16:creationId xmlns:a16="http://schemas.microsoft.com/office/drawing/2014/main" id="{C9C05287-1F42-45FF-9E41-4392C366FA0B}"/>
              </a:ext>
            </a:extLst>
          </p:cNvPr>
          <p:cNvCxnSpPr>
            <a:cxnSpLocks noGrp="1" noRot="1" noMove="1" noResize="1" noEditPoints="1" noAdjustHandles="1" noChangeArrowheads="1" noChangeShapeType="1"/>
          </p:cNvCxnSpPr>
          <p:nvPr/>
        </p:nvCxnSpPr>
        <p:spPr>
          <a:xfrm>
            <a:off x="6351791" y="3915161"/>
            <a:ext cx="5580000" cy="0"/>
          </a:xfrm>
          <a:prstGeom prst="line">
            <a:avLst/>
          </a:prstGeom>
          <a:ln w="127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735510DC-48E7-07C6-E513-693E09F662A8}"/>
              </a:ext>
            </a:extLst>
          </p:cNvPr>
          <p:cNvSpPr>
            <a:spLocks noGrp="1"/>
          </p:cNvSpPr>
          <p:nvPr>
            <p:ph type="body" sz="quarter" idx="19"/>
          </p:nvPr>
        </p:nvSpPr>
        <p:spPr>
          <a:xfrm>
            <a:off x="6351791" y="4054475"/>
            <a:ext cx="5580000" cy="2262188"/>
          </a:xfrm>
        </p:spPr>
        <p:txBody>
          <a:bodyPr rIns="360000"/>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Slide Number">
            <a:extLst>
              <a:ext uri="{FF2B5EF4-FFF2-40B4-BE49-F238E27FC236}">
                <a16:creationId xmlns:a16="http://schemas.microsoft.com/office/drawing/2014/main" id="{7FD6369E-436B-0931-78EC-60CE6A21F336}"/>
              </a:ext>
            </a:extLst>
          </p:cNvPr>
          <p:cNvSpPr txBox="1">
            <a:spLocks noGrp="1" noRot="1" noMove="1" noResize="1" noEditPoints="1" noAdjustHandles="1" noChangeArrowheads="1" noChangeShapeType="1"/>
          </p:cNvSpPr>
          <p:nvPr/>
        </p:nvSpPr>
        <p:spPr>
          <a:xfrm>
            <a:off x="11639054" y="6499716"/>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chemeClr val="bg1"/>
                </a:solidFill>
              </a:rPr>
              <a:pPr/>
              <a:t>‹#›</a:t>
            </a:fld>
            <a:endParaRPr lang="en-GB" sz="650">
              <a:solidFill>
                <a:schemeClr val="bg1"/>
              </a:solidFill>
            </a:endParaRPr>
          </a:p>
        </p:txBody>
      </p:sp>
      <p:sp>
        <p:nvSpPr>
          <p:cNvPr id="2" name="Logo">
            <a:extLst>
              <a:ext uri="{FF2B5EF4-FFF2-40B4-BE49-F238E27FC236}">
                <a16:creationId xmlns:a16="http://schemas.microsoft.com/office/drawing/2014/main" id="{C86A20C0-1717-CAE8-794B-BF93828050DA}"/>
              </a:ext>
            </a:extLst>
          </p:cNvPr>
          <p:cNvSpPr>
            <a:spLocks noGrp="1" noRot="1" noMove="1" noResize="1" noEditPoints="1" noAdjustHandles="1" noChangeArrowheads="1" noChangeShapeType="1"/>
          </p:cNvSpPr>
          <p:nvPr>
            <p:ph type="body" sz="quarter" idx="21" hasCustomPrompt="1"/>
          </p:nvPr>
        </p:nvSpPr>
        <p:spPr>
          <a:xfrm>
            <a:off x="11773250" y="273384"/>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33592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81">
          <p15:clr>
            <a:srgbClr val="FBAE40"/>
          </p15:clr>
        </p15:guide>
        <p15:guide id="2" pos="399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Outro A">
    <p:bg>
      <p:bgPr>
        <a:solidFill>
          <a:srgbClr val="1F2023"/>
        </a:solidFill>
        <a:effectLst/>
      </p:bgPr>
    </p:bg>
    <p:spTree>
      <p:nvGrpSpPr>
        <p:cNvPr id="1" name=""/>
        <p:cNvGrpSpPr/>
        <p:nvPr/>
      </p:nvGrpSpPr>
      <p:grpSpPr>
        <a:xfrm>
          <a:off x="0" y="0"/>
          <a:ext cx="0" cy="0"/>
          <a:chOff x="0" y="0"/>
          <a:chExt cx="0" cy="0"/>
        </a:xfrm>
      </p:grpSpPr>
      <p:sp>
        <p:nvSpPr>
          <p:cNvPr id="9" name="Text Placeholder">
            <a:extLst>
              <a:ext uri="{FF2B5EF4-FFF2-40B4-BE49-F238E27FC236}">
                <a16:creationId xmlns:a16="http://schemas.microsoft.com/office/drawing/2014/main" id="{08FADABF-40E7-7D03-8C82-D501AA57C3E8}"/>
              </a:ext>
            </a:extLst>
          </p:cNvPr>
          <p:cNvSpPr>
            <a:spLocks noGrp="1"/>
          </p:cNvSpPr>
          <p:nvPr>
            <p:ph type="body" sz="quarter" idx="10"/>
          </p:nvPr>
        </p:nvSpPr>
        <p:spPr>
          <a:xfrm>
            <a:off x="6821873" y="962026"/>
            <a:ext cx="4104000" cy="5354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isclaimer">
            <a:extLst>
              <a:ext uri="{FF2B5EF4-FFF2-40B4-BE49-F238E27FC236}">
                <a16:creationId xmlns:a16="http://schemas.microsoft.com/office/drawing/2014/main" id="{73394614-E2FC-DC36-0333-2C6E48985643}"/>
              </a:ext>
            </a:extLst>
          </p:cNvPr>
          <p:cNvSpPr>
            <a:spLocks/>
          </p:cNvSpPr>
          <p:nvPr/>
        </p:nvSpPr>
        <p:spPr>
          <a:xfrm>
            <a:off x="6821873" y="-203887"/>
            <a:ext cx="4104000" cy="180000"/>
          </a:xfrm>
          <a:prstGeom prst="rect">
            <a:avLst/>
          </a:prstGeom>
          <a:solidFill>
            <a:srgbClr val="0000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algn="ctr">
              <a:lnSpc>
                <a:spcPct val="93000"/>
              </a:lnSpc>
            </a:pPr>
            <a:r>
              <a:rPr lang="en-GB" sz="1000" noProof="0">
                <a:solidFill>
                  <a:schemeClr val="bg1"/>
                </a:solidFill>
              </a:rPr>
              <a:t>‹‹  Respect our logotype – ONLY use this area for your content  ››</a:t>
            </a:r>
          </a:p>
        </p:txBody>
      </p:sp>
      <p:sp>
        <p:nvSpPr>
          <p:cNvPr id="5" name="Logo">
            <a:extLst>
              <a:ext uri="{FF2B5EF4-FFF2-40B4-BE49-F238E27FC236}">
                <a16:creationId xmlns:a16="http://schemas.microsoft.com/office/drawing/2014/main" id="{3A02E48D-B032-5C25-9B3B-F64935FBBD85}"/>
              </a:ext>
            </a:extLst>
          </p:cNvPr>
          <p:cNvSpPr>
            <a:spLocks noGrp="1" noRot="1" noChangeAspect="1" noMove="1" noResize="1" noEditPoints="1" noAdjustHandles="1" noChangeArrowheads="1" noChangeShapeType="1"/>
          </p:cNvSpPr>
          <p:nvPr>
            <p:custDataLst>
              <p:tags r:id="rId1"/>
            </p:custDataLst>
          </p:nvPr>
        </p:nvSpPr>
        <p:spPr bwMode="auto">
          <a:xfrm>
            <a:off x="541336" y="4408663"/>
            <a:ext cx="4320546" cy="1908000"/>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rgbClr val="30373B"/>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F1F23"/>
              </a:solidFill>
              <a:effectLst/>
              <a:uLnTx/>
              <a:uFillTx/>
              <a:latin typeface="Arial"/>
              <a:ea typeface="+mn-ea"/>
              <a:cs typeface="+mn-cs"/>
            </a:endParaRPr>
          </a:p>
        </p:txBody>
      </p:sp>
    </p:spTree>
    <p:extLst>
      <p:ext uri="{BB962C8B-B14F-4D97-AF65-F5344CB8AC3E}">
        <p14:creationId xmlns:p14="http://schemas.microsoft.com/office/powerpoint/2010/main" val="327578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4294">
          <p15:clr>
            <a:srgbClr val="000000"/>
          </p15:clr>
        </p15:guide>
        <p15:guide id="6" pos="6879">
          <p15:clr>
            <a:srgbClr val="00000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Outro B">
    <p:bg>
      <p:bgPr>
        <a:solidFill>
          <a:srgbClr val="30373B"/>
        </a:solidFill>
        <a:effectLst/>
      </p:bgPr>
    </p:bg>
    <p:spTree>
      <p:nvGrpSpPr>
        <p:cNvPr id="1" name=""/>
        <p:cNvGrpSpPr/>
        <p:nvPr/>
      </p:nvGrpSpPr>
      <p:grpSpPr>
        <a:xfrm>
          <a:off x="0" y="0"/>
          <a:ext cx="0" cy="0"/>
          <a:chOff x="0" y="0"/>
          <a:chExt cx="0" cy="0"/>
        </a:xfrm>
      </p:grpSpPr>
      <p:sp>
        <p:nvSpPr>
          <p:cNvPr id="7" name="Text">
            <a:extLst>
              <a:ext uri="{FF2B5EF4-FFF2-40B4-BE49-F238E27FC236}">
                <a16:creationId xmlns:a16="http://schemas.microsoft.com/office/drawing/2014/main" id="{4DD48F4F-2302-23A8-6AB8-72152CE83BE4}"/>
              </a:ext>
            </a:extLst>
          </p:cNvPr>
          <p:cNvSpPr txBox="1">
            <a:spLocks noGrp="1" noRot="1" noMove="1" noResize="1" noEditPoints="1" noAdjustHandles="1" noChangeArrowheads="1" noChangeShapeType="1"/>
          </p:cNvSpPr>
          <p:nvPr/>
        </p:nvSpPr>
        <p:spPr>
          <a:xfrm>
            <a:off x="1596000" y="2169000"/>
            <a:ext cx="9000000" cy="2520000"/>
          </a:xfrm>
          <a:prstGeom prst="rect">
            <a:avLst/>
          </a:prstGeom>
        </p:spPr>
        <p:txBody>
          <a:bodyPr vert="horz" lIns="0" tIns="0" rIns="0" bIns="0" rtlCol="0" anchor="ctr">
            <a:noAutofit/>
          </a:bodyPr>
          <a:lstStyle>
            <a:lvl1pPr algn="ctr" defTabSz="914400" rtl="0" eaLnBrk="1" latinLnBrk="0" hangingPunct="1">
              <a:lnSpc>
                <a:spcPct val="100000"/>
              </a:lnSpc>
              <a:spcBef>
                <a:spcPct val="0"/>
              </a:spcBef>
              <a:buNone/>
              <a:defRPr sz="6000" kern="1200">
                <a:solidFill>
                  <a:srgbClr val="F8F4E7"/>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1800"/>
              </a:spcAft>
              <a:buClrTx/>
              <a:buSzTx/>
              <a:buFontTx/>
              <a:buNone/>
              <a:tabLst/>
              <a:defRPr/>
            </a:pPr>
            <a:r>
              <a:rPr kumimoji="0" lang="en-GB" sz="4800" b="0" i="0" u="none" strike="noStrike" kern="1200" cap="none" spc="0" normalizeH="0" baseline="0" noProof="0">
                <a:ln>
                  <a:noFill/>
                </a:ln>
                <a:solidFill>
                  <a:srgbClr val="FFFFFF"/>
                </a:solidFill>
                <a:effectLst/>
                <a:uLnTx/>
                <a:uFillTx/>
                <a:latin typeface="Palatino Linotype" panose="02040502050505030304" pitchFamily="18" charset="0"/>
                <a:ea typeface="+mj-ea"/>
                <a:cs typeface="+mj-cs"/>
              </a:rPr>
              <a:t>You are invited.</a:t>
            </a:r>
          </a:p>
          <a:p>
            <a:pPr marL="0" marR="0" lvl="0" indent="0" algn="ctr" defTabSz="914400" rtl="0" eaLnBrk="1" fontAlgn="auto" latinLnBrk="0" hangingPunct="1">
              <a:lnSpc>
                <a:spcPct val="100000"/>
              </a:lnSpc>
              <a:spcBef>
                <a:spcPct val="0"/>
              </a:spcBef>
              <a:spcAft>
                <a:spcPts val="1200"/>
              </a:spcAft>
              <a:buClrTx/>
              <a:buSzTx/>
              <a:buFontTx/>
              <a:buNone/>
              <a:tabLst/>
              <a:defRPr/>
            </a:pPr>
            <a:r>
              <a:rPr kumimoji="0" lang="en-GB" sz="1600" b="0" i="0" u="none" strike="noStrike" kern="1200" cap="none" spc="0" normalizeH="0" baseline="0" noProof="0">
                <a:ln>
                  <a:noFill/>
                </a:ln>
                <a:solidFill>
                  <a:srgbClr val="FFFFFF"/>
                </a:solidFill>
                <a:effectLst/>
                <a:uLnTx/>
                <a:uFillTx/>
                <a:latin typeface="+mj-lt"/>
                <a:ea typeface="+mj-ea"/>
                <a:cs typeface="+mj-cs"/>
              </a:rPr>
              <a:t>Implement Consulting Group</a:t>
            </a:r>
            <a:endParaRPr kumimoji="0" lang="en-GB" sz="5400" b="0" i="0" u="none" strike="noStrike" kern="1200" cap="none" spc="0" normalizeH="0" baseline="0" noProof="0">
              <a:ln>
                <a:noFill/>
              </a:ln>
              <a:solidFill>
                <a:srgbClr val="FFFFFF"/>
              </a:solidFill>
              <a:effectLst/>
              <a:uLnTx/>
              <a:uFillTx/>
              <a:latin typeface="+mj-lt"/>
              <a:ea typeface="+mj-ea"/>
              <a:cs typeface="+mj-cs"/>
            </a:endParaRPr>
          </a:p>
        </p:txBody>
      </p:sp>
      <p:sp>
        <p:nvSpPr>
          <p:cNvPr id="5" name="Slide Number">
            <a:extLst>
              <a:ext uri="{FF2B5EF4-FFF2-40B4-BE49-F238E27FC236}">
                <a16:creationId xmlns:a16="http://schemas.microsoft.com/office/drawing/2014/main" id="{540227A9-CA71-6458-1E3A-021E13DC9A61}"/>
              </a:ext>
            </a:extLst>
          </p:cNvPr>
          <p:cNvSpPr txBox="1">
            <a:spLocks noGrp="1" noRot="1" noMove="1" noResize="1" noEditPoints="1" noAdjustHandles="1" noChangeArrowheads="1" noChangeShapeType="1"/>
          </p:cNvSpPr>
          <p:nvPr/>
        </p:nvSpPr>
        <p:spPr>
          <a:xfrm>
            <a:off x="11640474" y="6499716"/>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chemeClr val="bg1"/>
                </a:solidFill>
              </a:rPr>
              <a:pPr/>
              <a:t>‹#›</a:t>
            </a:fld>
            <a:endParaRPr lang="en-GB" sz="650">
              <a:solidFill>
                <a:schemeClr val="bg1"/>
              </a:solidFill>
            </a:endParaRPr>
          </a:p>
        </p:txBody>
      </p:sp>
      <p:sp>
        <p:nvSpPr>
          <p:cNvPr id="6" name="Logo">
            <a:extLst>
              <a:ext uri="{FF2B5EF4-FFF2-40B4-BE49-F238E27FC236}">
                <a16:creationId xmlns:a16="http://schemas.microsoft.com/office/drawing/2014/main" id="{37D17886-D8F6-2D5B-2025-FF2DD0989211}"/>
              </a:ext>
            </a:extLst>
          </p:cNvPr>
          <p:cNvSpPr>
            <a:spLocks noGrp="1" noRot="1" noMove="1" noResize="1" noEditPoints="1" noAdjustHandles="1" noChangeArrowheads="1" noChangeShapeType="1"/>
          </p:cNvSpPr>
          <p:nvPr userDrawn="1">
            <p:custDataLst>
              <p:tags r:id="rId1"/>
            </p:custDataLst>
          </p:nvPr>
        </p:nvSpPr>
        <p:spPr bwMode="auto">
          <a:xfrm rot="5400000">
            <a:off x="11676071" y="36764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778633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rgbClr val="451F23"/>
        </a:solidFill>
        <a:effectLst/>
      </p:bgPr>
    </p:bg>
    <p:spTree>
      <p:nvGrpSpPr>
        <p:cNvPr id="1" name=""/>
        <p:cNvGrpSpPr/>
        <p:nvPr/>
      </p:nvGrpSpPr>
      <p:grpSpPr>
        <a:xfrm>
          <a:off x="0" y="0"/>
          <a:ext cx="0" cy="0"/>
          <a:chOff x="0" y="0"/>
          <a:chExt cx="0" cy="0"/>
        </a:xfrm>
      </p:grpSpPr>
      <p:sp>
        <p:nvSpPr>
          <p:cNvPr id="5" name="Colour block">
            <a:extLst>
              <a:ext uri="{FF2B5EF4-FFF2-40B4-BE49-F238E27FC236}">
                <a16:creationId xmlns:a16="http://schemas.microsoft.com/office/drawing/2014/main" id="{072958A2-A288-4639-B190-262FE91844AE}"/>
              </a:ext>
            </a:extLst>
          </p:cNvPr>
          <p:cNvSpPr>
            <a:spLocks noGrp="1" noRot="1" noMove="1" noResize="1" noEditPoints="1" noAdjustHandles="1" noChangeArrowheads="1" noChangeShapeType="1"/>
          </p:cNvSpPr>
          <p:nvPr/>
        </p:nvSpPr>
        <p:spPr>
          <a:xfrm>
            <a:off x="6096000" y="1"/>
            <a:ext cx="6096000" cy="6858000"/>
          </a:xfrm>
          <a:prstGeom prst="rect">
            <a:avLst/>
          </a:prstGeom>
          <a:solidFill>
            <a:srgbClr val="4C2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hank you">
            <a:extLst>
              <a:ext uri="{FF2B5EF4-FFF2-40B4-BE49-F238E27FC236}">
                <a16:creationId xmlns:a16="http://schemas.microsoft.com/office/drawing/2014/main" id="{DD19AD0D-81F7-600B-533E-64FE1E57D881}"/>
              </a:ext>
            </a:extLst>
          </p:cNvPr>
          <p:cNvSpPr txBox="1"/>
          <p:nvPr/>
        </p:nvSpPr>
        <p:spPr>
          <a:xfrm>
            <a:off x="842832" y="1250492"/>
            <a:ext cx="5004000" cy="646331"/>
          </a:xfrm>
          <a:prstGeom prst="rect">
            <a:avLst/>
          </a:prstGeom>
          <a:noFill/>
        </p:spPr>
        <p:txBody>
          <a:bodyPr wrap="square" lIns="0" tIns="0" rIns="0" bIns="0" rtlCol="0">
            <a:noAutofit/>
          </a:bodyPr>
          <a:lstStyle/>
          <a:p>
            <a:r>
              <a:rPr kumimoji="0" lang="en-GB" sz="4800" b="0" i="0" u="none" strike="noStrike" kern="1200" cap="none" spc="0" normalizeH="0" baseline="0" noProof="0">
                <a:ln>
                  <a:noFill/>
                </a:ln>
                <a:solidFill>
                  <a:prstClr val="white"/>
                </a:solidFill>
                <a:effectLst/>
                <a:uLnTx/>
                <a:uFillTx/>
                <a:latin typeface="Palatino Linotype" panose="02040502050505030304" pitchFamily="18" charset="0"/>
                <a:ea typeface="+mj-ea"/>
                <a:cs typeface="+mj-cs"/>
              </a:rPr>
              <a:t>Thank you.</a:t>
            </a:r>
            <a:endParaRPr lang="en-GB" sz="2800" i="0"/>
          </a:p>
        </p:txBody>
      </p:sp>
      <p:sp>
        <p:nvSpPr>
          <p:cNvPr id="15" name="Greeting">
            <a:extLst>
              <a:ext uri="{FF2B5EF4-FFF2-40B4-BE49-F238E27FC236}">
                <a16:creationId xmlns:a16="http://schemas.microsoft.com/office/drawing/2014/main" id="{843FABDD-124B-AA60-84B0-667AF2F412FF}"/>
              </a:ext>
            </a:extLst>
          </p:cNvPr>
          <p:cNvSpPr>
            <a:spLocks noGrp="1"/>
          </p:cNvSpPr>
          <p:nvPr>
            <p:ph type="body" sz="quarter" idx="14" hasCustomPrompt="1"/>
          </p:nvPr>
        </p:nvSpPr>
        <p:spPr>
          <a:xfrm>
            <a:off x="842964" y="2168525"/>
            <a:ext cx="4559055" cy="1800225"/>
          </a:xfrm>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a:t>Click to edit greeting of your choice.</a:t>
            </a:r>
          </a:p>
          <a:p>
            <a:pPr lvl="1"/>
            <a:r>
              <a:rPr lang="en-GB"/>
              <a:t>Second level</a:t>
            </a:r>
          </a:p>
          <a:p>
            <a:pPr lvl="2"/>
            <a:r>
              <a:rPr lang="en-GB"/>
              <a:t>Third level</a:t>
            </a:r>
          </a:p>
          <a:p>
            <a:pPr lvl="3"/>
            <a:r>
              <a:rPr lang="en-GB"/>
              <a:t>Fourth level</a:t>
            </a:r>
          </a:p>
          <a:p>
            <a:pPr lvl="4"/>
            <a:r>
              <a:rPr lang="en-GB"/>
              <a:t>Fifth level</a:t>
            </a:r>
          </a:p>
        </p:txBody>
      </p:sp>
      <p:sp>
        <p:nvSpPr>
          <p:cNvPr id="8" name="Contact">
            <a:extLst>
              <a:ext uri="{FF2B5EF4-FFF2-40B4-BE49-F238E27FC236}">
                <a16:creationId xmlns:a16="http://schemas.microsoft.com/office/drawing/2014/main" id="{41122342-8521-82B8-BCE2-B65DD6D60FE6}"/>
              </a:ext>
            </a:extLst>
          </p:cNvPr>
          <p:cNvSpPr>
            <a:spLocks noGrp="1"/>
          </p:cNvSpPr>
          <p:nvPr>
            <p:ph type="body" sz="quarter" idx="20" hasCustomPrompt="1"/>
          </p:nvPr>
        </p:nvSpPr>
        <p:spPr>
          <a:xfrm>
            <a:off x="842963" y="4566664"/>
            <a:ext cx="4559300" cy="307975"/>
          </a:xfrm>
        </p:spPr>
        <p:txBody>
          <a:bodyPr/>
          <a:lstStyle>
            <a:lvl1pPr>
              <a:defRPr sz="2000">
                <a:solidFill>
                  <a:schemeClr val="bg1"/>
                </a:solidFill>
              </a:defRPr>
            </a:lvl1pPr>
          </a:lstStyle>
          <a:p>
            <a:pPr lvl="0"/>
            <a:r>
              <a:rPr lang="en-GB"/>
              <a:t>Click to edit heading</a:t>
            </a:r>
          </a:p>
        </p:txBody>
      </p:sp>
      <p:sp>
        <p:nvSpPr>
          <p:cNvPr id="17" name="Name">
            <a:extLst>
              <a:ext uri="{FF2B5EF4-FFF2-40B4-BE49-F238E27FC236}">
                <a16:creationId xmlns:a16="http://schemas.microsoft.com/office/drawing/2014/main" id="{2B25AFBD-D7F4-D0C2-AF8E-D61E099D574A}"/>
              </a:ext>
            </a:extLst>
          </p:cNvPr>
          <p:cNvSpPr>
            <a:spLocks noGrp="1"/>
          </p:cNvSpPr>
          <p:nvPr>
            <p:ph type="body" sz="quarter" idx="16" hasCustomPrompt="1"/>
          </p:nvPr>
        </p:nvSpPr>
        <p:spPr>
          <a:xfrm>
            <a:off x="842832" y="5008505"/>
            <a:ext cx="4559055" cy="1308157"/>
          </a:xfrm>
        </p:spPr>
        <p:txBody>
          <a:bodyPr>
            <a:noAutofit/>
          </a:bodyPr>
          <a:lstStyle>
            <a:lvl1pPr>
              <a:spcAft>
                <a:spcPts val="300"/>
              </a:spcAft>
              <a:tabLst>
                <a:tab pos="538163" algn="l"/>
              </a:tabLst>
              <a:defRPr sz="1100" b="1">
                <a:solidFill>
                  <a:schemeClr val="bg1"/>
                </a:solidFill>
              </a:defRPr>
            </a:lvl1pPr>
            <a:lvl2pPr marL="0" indent="0">
              <a:spcAft>
                <a:spcPts val="0"/>
              </a:spcAft>
              <a:buFont typeface="Arial" panose="020B0604020202020204" pitchFamily="34" charset="0"/>
              <a:buChar char="​"/>
              <a:tabLst>
                <a:tab pos="538163" algn="l"/>
              </a:tabLst>
              <a:defRPr sz="1100">
                <a:solidFill>
                  <a:schemeClr val="bg1"/>
                </a:solidFill>
              </a:defRPr>
            </a:lvl2pPr>
            <a:lvl3pPr marL="0" indent="0">
              <a:spcAft>
                <a:spcPts val="0"/>
              </a:spcAft>
              <a:buFont typeface="Arial" panose="020B0604020202020204" pitchFamily="34" charset="0"/>
              <a:buChar char="​"/>
              <a:tabLst>
                <a:tab pos="538163" algn="l"/>
              </a:tabLst>
              <a:defRPr sz="1100">
                <a:solidFill>
                  <a:schemeClr val="bg1"/>
                </a:solidFill>
              </a:defRPr>
            </a:lvl3pPr>
            <a:lvl4pPr>
              <a:spcAft>
                <a:spcPts val="0"/>
              </a:spcAft>
              <a:defRPr sz="1100">
                <a:solidFill>
                  <a:schemeClr val="bg1"/>
                </a:solidFill>
              </a:defRPr>
            </a:lvl4pPr>
            <a:lvl5pPr>
              <a:spcAft>
                <a:spcPts val="0"/>
              </a:spcAft>
              <a:defRPr sz="1100">
                <a:solidFill>
                  <a:schemeClr val="bg1"/>
                </a:solidFill>
              </a:defRPr>
            </a:lvl5pPr>
          </a:lstStyle>
          <a:p>
            <a:pPr lvl="0"/>
            <a:r>
              <a:rPr lang="en-GB"/>
              <a:t>Name Surname </a:t>
            </a:r>
          </a:p>
          <a:p>
            <a:pPr lvl="1"/>
            <a:r>
              <a:rPr lang="en-GB"/>
              <a:t>Phone	###</a:t>
            </a:r>
          </a:p>
          <a:p>
            <a:pPr lvl="2"/>
            <a:r>
              <a:rPr lang="en-GB"/>
              <a:t>Email	@implement</a:t>
            </a:r>
          </a:p>
        </p:txBody>
      </p:sp>
      <p:sp>
        <p:nvSpPr>
          <p:cNvPr id="11" name="Picture">
            <a:extLst>
              <a:ext uri="{FF2B5EF4-FFF2-40B4-BE49-F238E27FC236}">
                <a16:creationId xmlns:a16="http://schemas.microsoft.com/office/drawing/2014/main" id="{E58C83CD-89FB-9096-CBB8-21B5CC445DBE}"/>
              </a:ext>
            </a:extLst>
          </p:cNvPr>
          <p:cNvSpPr>
            <a:spLocks noGrp="1"/>
          </p:cNvSpPr>
          <p:nvPr>
            <p:ph type="pic" sz="quarter" idx="12" hasCustomPrompt="1"/>
          </p:nvPr>
        </p:nvSpPr>
        <p:spPr>
          <a:xfrm>
            <a:off x="6096000" y="0"/>
            <a:ext cx="6096000" cy="6858000"/>
          </a:xfrm>
          <a:prstGeom prst="rect">
            <a:avLst/>
          </a:prstGeom>
          <a:solidFill>
            <a:srgbClr val="4C282C"/>
          </a:solidFill>
        </p:spPr>
        <p:txBody>
          <a:bodyPr lIns="360000" tIns="360000" rIns="360000" bIns="360000"/>
          <a:lstStyle>
            <a:lvl1pPr algn="ctr">
              <a:defRPr>
                <a:solidFill>
                  <a:schemeClr val="bg1"/>
                </a:solidFill>
              </a:defRPr>
            </a:lvl1pPr>
          </a:lstStyle>
          <a:p>
            <a:r>
              <a:rPr lang="en-GB"/>
              <a:t>Click on icon to insert picture</a:t>
            </a:r>
          </a:p>
        </p:txBody>
      </p:sp>
      <p:sp>
        <p:nvSpPr>
          <p:cNvPr id="6" name="Logo">
            <a:extLst>
              <a:ext uri="{FF2B5EF4-FFF2-40B4-BE49-F238E27FC236}">
                <a16:creationId xmlns:a16="http://schemas.microsoft.com/office/drawing/2014/main" id="{488048E0-D7A1-096F-5893-0260E6734CD4}"/>
              </a:ext>
            </a:extLst>
          </p:cNvPr>
          <p:cNvSpPr>
            <a:spLocks noGrp="1" noRot="1" noMove="1" noResize="1" noEditPoints="1" noAdjustHandles="1" noChangeArrowheads="1" noChangeShapeType="1"/>
          </p:cNvSpPr>
          <p:nvPr>
            <p:ph type="body" sz="quarter" idx="21" hasCustomPrompt="1"/>
          </p:nvPr>
        </p:nvSpPr>
        <p:spPr>
          <a:xfrm>
            <a:off x="11773674" y="269875"/>
            <a:ext cx="154800" cy="349200"/>
          </a:xfrm>
          <a:blipFill>
            <a:blip r:embed="rId2">
              <a:extLst>
                <a:ext uri="{96DAC541-7B7A-43D3-8B79-37D633B846F1}">
                  <asvg:svgBlip xmlns:asvg="http://schemas.microsoft.com/office/drawing/2016/SVG/main" r:embed="rId3"/>
                </a:ext>
              </a:extLst>
            </a:blip>
            <a:srcRect/>
            <a:stretch>
              <a:fillRect l="784" r="784"/>
            </a:stretch>
          </a:blipFill>
        </p:spPr>
        <p:txBody>
          <a:bodyPr/>
          <a:lstStyle>
            <a:lvl1pPr>
              <a:defRPr sz="100">
                <a:noFill/>
              </a:defRPr>
            </a:lvl1pPr>
          </a:lstStyle>
          <a:p>
            <a:pPr lvl="0"/>
            <a:r>
              <a:rPr lang="en-GB"/>
              <a:t>.</a:t>
            </a:r>
          </a:p>
        </p:txBody>
      </p:sp>
    </p:spTree>
    <p:extLst>
      <p:ext uri="{BB962C8B-B14F-4D97-AF65-F5344CB8AC3E}">
        <p14:creationId xmlns:p14="http://schemas.microsoft.com/office/powerpoint/2010/main" val="580579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7" name="Slide Number Placeholder 5">
            <a:extLst>
              <a:ext uri="{FF2B5EF4-FFF2-40B4-BE49-F238E27FC236}">
                <a16:creationId xmlns:a16="http://schemas.microsoft.com/office/drawing/2014/main" id="{74A2011A-AB7A-4D6D-BCAB-42396622677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9" name="Date Placeholder 2">
            <a:extLst>
              <a:ext uri="{FF2B5EF4-FFF2-40B4-BE49-F238E27FC236}">
                <a16:creationId xmlns:a16="http://schemas.microsoft.com/office/drawing/2014/main" id="{CEEF95ED-1387-4C95-AA19-9C1626DE619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766636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ASTERY COVER ">
    <p:bg>
      <p:bgPr>
        <a:solidFill>
          <a:srgbClr val="E3E9E7"/>
        </a:solidFill>
        <a:effectLst/>
      </p:bgPr>
    </p:bg>
    <p:spTree>
      <p:nvGrpSpPr>
        <p:cNvPr id="1" name=""/>
        <p:cNvGrpSpPr/>
        <p:nvPr/>
      </p:nvGrpSpPr>
      <p:grpSpPr>
        <a:xfrm>
          <a:off x="0" y="0"/>
          <a:ext cx="0" cy="0"/>
          <a:chOff x="0" y="0"/>
          <a:chExt cx="0" cy="0"/>
        </a:xfrm>
      </p:grpSpPr>
      <p:sp>
        <p:nvSpPr>
          <p:cNvPr id="5" name="Colour block_Right">
            <a:extLst>
              <a:ext uri="{FF2B5EF4-FFF2-40B4-BE49-F238E27FC236}">
                <a16:creationId xmlns:a16="http://schemas.microsoft.com/office/drawing/2014/main" id="{83E18B63-ADB0-7292-3540-8E1581C5DAD3}"/>
              </a:ext>
            </a:extLst>
          </p:cNvPr>
          <p:cNvSpPr txBox="1">
            <a:spLocks noGrp="1" noRot="1" noMove="1" noResize="1" noEditPoints="1" noAdjustHandles="1" noChangeArrowheads="1" noChangeShapeType="1"/>
          </p:cNvSpPr>
          <p:nvPr/>
        </p:nvSpPr>
        <p:spPr>
          <a:xfrm>
            <a:off x="9142800" y="0"/>
            <a:ext cx="3049200" cy="6858000"/>
          </a:xfrm>
          <a:prstGeom prst="rect">
            <a:avLst/>
          </a:prstGeom>
          <a:solidFill>
            <a:srgbClr val="EE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p>
        </p:txBody>
      </p:sp>
      <p:sp>
        <p:nvSpPr>
          <p:cNvPr id="7" name="Colour block_bottom">
            <a:extLst>
              <a:ext uri="{FF2B5EF4-FFF2-40B4-BE49-F238E27FC236}">
                <a16:creationId xmlns:a16="http://schemas.microsoft.com/office/drawing/2014/main" id="{F8DA1E39-CE4C-8DBA-06AF-83D8F2C4C6B3}"/>
              </a:ext>
            </a:extLst>
          </p:cNvPr>
          <p:cNvSpPr txBox="1">
            <a:spLocks noGrp="1" noRot="1" noMove="1" noResize="1" noEditPoints="1" noAdjustHandles="1" noChangeArrowheads="1" noChangeShapeType="1"/>
          </p:cNvSpPr>
          <p:nvPr userDrawn="1"/>
        </p:nvSpPr>
        <p:spPr>
          <a:xfrm>
            <a:off x="0" y="0"/>
            <a:ext cx="9144000" cy="2384854"/>
          </a:xfrm>
          <a:prstGeom prst="rect">
            <a:avLst/>
          </a:prstGeom>
          <a:solidFill>
            <a:srgbClr val="D5DD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a:solidFill>
                <a:srgbClr val="30373B"/>
              </a:solidFill>
            </a:endParaRPr>
          </a:p>
        </p:txBody>
      </p:sp>
      <p:sp>
        <p:nvSpPr>
          <p:cNvPr id="22" name="Title">
            <a:extLst>
              <a:ext uri="{FF2B5EF4-FFF2-40B4-BE49-F238E27FC236}">
                <a16:creationId xmlns:a16="http://schemas.microsoft.com/office/drawing/2014/main" id="{5F071F71-DF62-4765-A248-F2750DB83E33}"/>
              </a:ext>
            </a:extLst>
          </p:cNvPr>
          <p:cNvSpPr>
            <a:spLocks noGrp="1"/>
          </p:cNvSpPr>
          <p:nvPr>
            <p:ph type="body" sz="quarter" idx="16" hasCustomPrompt="1"/>
          </p:nvPr>
        </p:nvSpPr>
        <p:spPr>
          <a:xfrm>
            <a:off x="984166" y="3391000"/>
            <a:ext cx="7597601" cy="2058581"/>
          </a:xfrm>
        </p:spPr>
        <p:txBody>
          <a:bodyPr/>
          <a:lstStyle>
            <a:lvl1pPr>
              <a:lnSpc>
                <a:spcPct val="85000"/>
              </a:lnSpc>
              <a:spcAft>
                <a:spcPts val="600"/>
              </a:spcAft>
              <a:defRPr sz="4800">
                <a:latin typeface="Palatino Linotype" panose="02040502050505030304" pitchFamily="18" charset="0"/>
              </a:defRPr>
            </a:lvl1pPr>
            <a:lvl2pPr marL="0" indent="0">
              <a:buFont typeface="Arial" panose="020B0604020202020204" pitchFamily="34" charset="0"/>
              <a:buChar char="​"/>
              <a:tabLst/>
              <a:defRPr sz="1600"/>
            </a:lvl2pPr>
            <a:lvl3pPr marL="144004" indent="0">
              <a:buNone/>
              <a:defRPr/>
            </a:lvl3pPr>
          </a:lstStyle>
          <a:p>
            <a:pPr lvl="0"/>
            <a:r>
              <a:rPr lang="en-US"/>
              <a:t>Mastery cover – insert title here</a:t>
            </a:r>
          </a:p>
          <a:p>
            <a:pPr lvl="1"/>
            <a:r>
              <a:rPr lang="en-US"/>
              <a:t>Press Enter and TAB to get this preformatted sub-heading style</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984636" y="2758324"/>
            <a:ext cx="7597131" cy="504000"/>
          </a:xfrm>
          <a:prstGeom prst="rect">
            <a:avLst/>
          </a:prstGeom>
        </p:spPr>
        <p:txBody>
          <a:bodyPr anchor="b"/>
          <a:lstStyle>
            <a:lvl1pPr marL="0" indent="0" algn="l">
              <a:lnSpc>
                <a:spcPct val="90000"/>
              </a:lnSpc>
              <a:spcBef>
                <a:spcPts val="0"/>
              </a:spcBef>
              <a:spcAft>
                <a:spcPts val="0"/>
              </a:spcAft>
              <a:buNone/>
              <a:defRPr sz="2000">
                <a:solidFill>
                  <a:srgbClr val="30373B"/>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a:t>
            </a:r>
          </a:p>
        </p:txBody>
      </p:sp>
      <p:sp>
        <p:nvSpPr>
          <p:cNvPr id="18" name="Authors">
            <a:extLst>
              <a:ext uri="{FF2B5EF4-FFF2-40B4-BE49-F238E27FC236}">
                <a16:creationId xmlns:a16="http://schemas.microsoft.com/office/drawing/2014/main" id="{2DE87EE2-580C-FF58-180F-53ECF8E53342}"/>
              </a:ext>
            </a:extLst>
          </p:cNvPr>
          <p:cNvSpPr>
            <a:spLocks noGrp="1"/>
          </p:cNvSpPr>
          <p:nvPr>
            <p:ph type="body" sz="quarter" idx="10" hasCustomPrompt="1"/>
          </p:nvPr>
        </p:nvSpPr>
        <p:spPr>
          <a:xfrm>
            <a:off x="984166" y="5577431"/>
            <a:ext cx="7597131" cy="737905"/>
          </a:xfrm>
          <a:prstGeom prst="rect">
            <a:avLst/>
          </a:prstGeom>
        </p:spPr>
        <p:txBody>
          <a:bodyPr anchor="b"/>
          <a:lstStyle>
            <a:lvl1pPr>
              <a:lnSpc>
                <a:spcPct val="100000"/>
              </a:lnSpc>
              <a:spcAft>
                <a:spcPts val="0"/>
              </a:spcAft>
              <a:defRPr sz="1000">
                <a:solidFill>
                  <a:srgbClr val="1F2023"/>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insert authors</a:t>
            </a:r>
          </a:p>
        </p:txBody>
      </p:sp>
      <p:sp>
        <p:nvSpPr>
          <p:cNvPr id="4" name="Confidental information">
            <a:extLst>
              <a:ext uri="{FF2B5EF4-FFF2-40B4-BE49-F238E27FC236}">
                <a16:creationId xmlns:a16="http://schemas.microsoft.com/office/drawing/2014/main" id="{6A8892FE-8149-D0A1-DBE9-BED3383457C7}"/>
              </a:ext>
            </a:extLst>
          </p:cNvPr>
          <p:cNvSpPr txBox="1">
            <a:spLocks/>
          </p:cNvSpPr>
          <p:nvPr/>
        </p:nvSpPr>
        <p:spPr>
          <a:xfrm>
            <a:off x="9518541" y="5577431"/>
            <a:ext cx="2397578" cy="739834"/>
          </a:xfrm>
          <a:prstGeom prst="rect">
            <a:avLst/>
          </a:prstGeom>
        </p:spPr>
        <p:txBody>
          <a:bodyPr vert="horz" lIns="0" tIns="0" rIns="0" bIns="0" rtlCol="0" anchor="b">
            <a:noAutofit/>
          </a:bodyPr>
          <a:lstStyle>
            <a:lvl1pPr marL="0" indent="0" algn="ctr" defTabSz="914400" rtl="0" eaLnBrk="1" latinLnBrk="0" hangingPunct="1">
              <a:lnSpc>
                <a:spcPct val="100000"/>
              </a:lnSpc>
              <a:spcBef>
                <a:spcPts val="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Calibri" panose="020F050202020403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Font typeface="+mj-lt"/>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Font typeface="+mj-lt"/>
              <a:buNone/>
              <a:tabLst/>
              <a:defRPr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00000"/>
              </a:lnSpc>
              <a:spcBef>
                <a:spcPts val="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00000"/>
              </a:lnSpc>
              <a:spcBef>
                <a:spcPts val="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00000"/>
              </a:lnSpc>
              <a:spcBef>
                <a:spcPts val="600"/>
              </a:spcBef>
              <a:spcAft>
                <a:spcPts val="1200"/>
              </a:spcAft>
              <a:buFont typeface="Arial" panose="020B0604020202020204" pitchFamily="34" charset="0"/>
              <a:buNone/>
              <a:defRPr sz="1600" i="0" kern="1200">
                <a:solidFill>
                  <a:schemeClr val="tx1"/>
                </a:solidFill>
                <a:latin typeface="+mn-lt"/>
                <a:ea typeface="+mn-ea"/>
                <a:cs typeface="+mn-cs"/>
              </a:defRPr>
            </a:lvl9pPr>
          </a:lstStyle>
          <a:p>
            <a:pPr algn="l">
              <a:spcAft>
                <a:spcPts val="600"/>
              </a:spcAft>
            </a:pPr>
            <a:br>
              <a:rPr lang="en-GB" sz="1000" b="1">
                <a:solidFill>
                  <a:srgbClr val="30373B"/>
                </a:solidFill>
              </a:rPr>
            </a:br>
            <a:br>
              <a:rPr lang="en-GB" sz="1000" b="1">
                <a:solidFill>
                  <a:srgbClr val="30373B"/>
                </a:solidFill>
              </a:rPr>
            </a:br>
            <a:endParaRPr lang="en-GB" sz="1000" b="1">
              <a:solidFill>
                <a:srgbClr val="30373B"/>
              </a:solidFill>
            </a:endParaRPr>
          </a:p>
          <a:p>
            <a:pPr algn="l">
              <a:spcAft>
                <a:spcPts val="600"/>
              </a:spcAft>
            </a:pPr>
            <a:r>
              <a:rPr lang="en-GB" sz="1000">
                <a:solidFill>
                  <a:srgbClr val="30373B"/>
                </a:solidFill>
              </a:rPr>
              <a:t>Presentation may contain </a:t>
            </a:r>
            <a:br>
              <a:rPr lang="en-GB" sz="1000">
                <a:solidFill>
                  <a:srgbClr val="30373B"/>
                </a:solidFill>
              </a:rPr>
            </a:br>
            <a:r>
              <a:rPr lang="en-GB" sz="1000">
                <a:solidFill>
                  <a:srgbClr val="30373B"/>
                </a:solidFill>
              </a:rPr>
              <a:t>detailed notes to the slides.</a:t>
            </a:r>
          </a:p>
          <a:p>
            <a:pPr algn="l">
              <a:spcAft>
                <a:spcPts val="600"/>
              </a:spcAft>
            </a:pPr>
            <a:r>
              <a:rPr lang="en-GB" sz="1000">
                <a:solidFill>
                  <a:srgbClr val="30373B"/>
                </a:solidFill>
              </a:rPr>
              <a:t>Confidential – not for </a:t>
            </a:r>
            <a:br>
              <a:rPr lang="en-GB" sz="1000">
                <a:solidFill>
                  <a:srgbClr val="30373B"/>
                </a:solidFill>
              </a:rPr>
            </a:br>
            <a:r>
              <a:rPr lang="en-GB" sz="1000">
                <a:solidFill>
                  <a:srgbClr val="30373B"/>
                </a:solidFill>
              </a:rPr>
              <a:t>further distribution.</a:t>
            </a:r>
          </a:p>
        </p:txBody>
      </p:sp>
      <p:sp>
        <p:nvSpPr>
          <p:cNvPr id="8" name="Date">
            <a:extLst>
              <a:ext uri="{FF2B5EF4-FFF2-40B4-BE49-F238E27FC236}">
                <a16:creationId xmlns:a16="http://schemas.microsoft.com/office/drawing/2014/main" id="{A5890F11-02AC-B346-D5DA-016E41E1ADBC}"/>
              </a:ext>
            </a:extLst>
          </p:cNvPr>
          <p:cNvSpPr>
            <a:spLocks noGrp="1"/>
          </p:cNvSpPr>
          <p:nvPr>
            <p:ph type="body" sz="quarter" idx="14" hasCustomPrompt="1"/>
          </p:nvPr>
        </p:nvSpPr>
        <p:spPr>
          <a:xfrm>
            <a:off x="9518542" y="5056549"/>
            <a:ext cx="2397578" cy="216000"/>
          </a:xfrm>
          <a:prstGeom prst="rect">
            <a:avLst/>
          </a:prstGeom>
        </p:spPr>
        <p:txBody>
          <a:bodyPr anchor="t"/>
          <a:lstStyle>
            <a:lvl1pPr>
              <a:defRPr sz="1000" b="1">
                <a:solidFill>
                  <a:srgbClr val="30373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 – insert month and year]</a:t>
            </a:r>
          </a:p>
        </p:txBody>
      </p:sp>
      <p:sp>
        <p:nvSpPr>
          <p:cNvPr id="13" name="ID:">
            <a:extLst>
              <a:ext uri="{FF2B5EF4-FFF2-40B4-BE49-F238E27FC236}">
                <a16:creationId xmlns:a16="http://schemas.microsoft.com/office/drawing/2014/main" id="{57B88424-4B33-2CD8-1EC8-F235DB37D926}"/>
              </a:ext>
            </a:extLst>
          </p:cNvPr>
          <p:cNvSpPr txBox="1"/>
          <p:nvPr userDrawn="1"/>
        </p:nvSpPr>
        <p:spPr>
          <a:xfrm>
            <a:off x="9518541" y="5339974"/>
            <a:ext cx="205890" cy="216000"/>
          </a:xfrm>
          <a:prstGeom prst="rect">
            <a:avLst/>
          </a:prstGeom>
        </p:spPr>
        <p:txBody>
          <a:bodyPr vert="horz" lIns="0" tIns="0" rIns="0" bIns="0" rtlCol="0" anchor="t">
            <a:noAutofit/>
          </a:bodyPr>
          <a:lstStyle>
            <a:lvl1pPr lvl="0" defTabSz="742969">
              <a:lnSpc>
                <a:spcPct val="93000"/>
              </a:lnSpc>
              <a:defRPr b="1">
                <a:solidFill>
                  <a:srgbClr val="30373B"/>
                </a:solidFill>
              </a:defRPr>
            </a:lvl1pPr>
            <a:lvl2pPr marL="144003" indent="-144003" defTabSz="742969">
              <a:lnSpc>
                <a:spcPct val="93000"/>
              </a:lnSpc>
              <a:defRPr sz="1400">
                <a:solidFill>
                  <a:schemeClr val="bg1"/>
                </a:solidFill>
              </a:defRPr>
            </a:lvl2pPr>
            <a:lvl3pPr marL="288007" indent="-144003" defTabSz="742969">
              <a:lnSpc>
                <a:spcPct val="93000"/>
              </a:lnSpc>
              <a:buChar char="–"/>
              <a:defRPr sz="1400">
                <a:solidFill>
                  <a:schemeClr val="bg1"/>
                </a:solidFill>
              </a:defRPr>
            </a:lvl3pPr>
            <a:lvl4pPr marL="432011" indent="-144003" defTabSz="742969">
              <a:lnSpc>
                <a:spcPct val="93000"/>
              </a:lnSpc>
              <a:defRPr sz="1400">
                <a:solidFill>
                  <a:schemeClr val="bg1"/>
                </a:solidFill>
              </a:defRPr>
            </a:lvl4pPr>
            <a:lvl5pPr defTabSz="742969">
              <a:lnSpc>
                <a:spcPct val="93000"/>
              </a:lnSpc>
              <a:defRPr sz="1400">
                <a:solidFill>
                  <a:schemeClr val="bg1"/>
                </a:solidFill>
              </a:defRPr>
            </a:lvl5pPr>
            <a:lvl6pPr defTabSz="742969">
              <a:lnSpc>
                <a:spcPct val="93000"/>
              </a:lnSpc>
              <a:defRPr sz="1400">
                <a:solidFill>
                  <a:srgbClr val="1F2023"/>
                </a:solidFill>
                <a:latin typeface="+mj-lt"/>
              </a:defRPr>
            </a:lvl6pPr>
            <a:lvl7pPr marL="216000" indent="-216000" defTabSz="742969">
              <a:lnSpc>
                <a:spcPct val="93000"/>
              </a:lnSpc>
              <a:defRPr sz="1400">
                <a:solidFill>
                  <a:srgbClr val="1F2023"/>
                </a:solidFill>
              </a:defRPr>
            </a:lvl7pPr>
            <a:lvl8pPr marL="216000" indent="-216000" defTabSz="742969">
              <a:lnSpc>
                <a:spcPct val="93000"/>
              </a:lnSpc>
              <a:defRPr sz="1400">
                <a:solidFill>
                  <a:srgbClr val="1F2023"/>
                </a:solidFill>
              </a:defRPr>
            </a:lvl8pPr>
            <a:lvl9pPr defTabSz="742969">
              <a:lnSpc>
                <a:spcPct val="100000"/>
              </a:lnSpc>
              <a:buNone/>
              <a:defRPr sz="2800" cap="none">
                <a:solidFill>
                  <a:srgbClr val="1F2023"/>
                </a:solidFill>
                <a:latin typeface="Palatino Linotype" panose="02040502050505030304" pitchFamily="18" charset="0"/>
              </a:defRPr>
            </a:lvl9pPr>
          </a:lstStyle>
          <a:p>
            <a:pPr lvl="0"/>
            <a:r>
              <a:rPr lang="en-GB"/>
              <a:t>ID:</a:t>
            </a:r>
          </a:p>
        </p:txBody>
      </p:sp>
      <p:sp>
        <p:nvSpPr>
          <p:cNvPr id="9" name="ID number">
            <a:extLst>
              <a:ext uri="{FF2B5EF4-FFF2-40B4-BE49-F238E27FC236}">
                <a16:creationId xmlns:a16="http://schemas.microsoft.com/office/drawing/2014/main" id="{381816D7-445D-7204-6895-60B596CB3EB3}"/>
              </a:ext>
            </a:extLst>
          </p:cNvPr>
          <p:cNvSpPr>
            <a:spLocks noGrp="1"/>
          </p:cNvSpPr>
          <p:nvPr>
            <p:ph type="body" sz="quarter" idx="15" hasCustomPrompt="1"/>
          </p:nvPr>
        </p:nvSpPr>
        <p:spPr>
          <a:xfrm>
            <a:off x="9724430" y="5339974"/>
            <a:ext cx="2191690" cy="216000"/>
          </a:xfrm>
          <a:prstGeom prst="rect">
            <a:avLst/>
          </a:prstGeom>
        </p:spPr>
        <p:txBody>
          <a:bodyPr anchor="t"/>
          <a:lstStyle>
            <a:lvl1pPr>
              <a:defRPr sz="1000" b="1">
                <a:solidFill>
                  <a:srgbClr val="30373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ID-number]</a:t>
            </a:r>
          </a:p>
        </p:txBody>
      </p:sp>
      <p:sp>
        <p:nvSpPr>
          <p:cNvPr id="10" name="Picture Placeholder_Bottom">
            <a:extLst>
              <a:ext uri="{FF2B5EF4-FFF2-40B4-BE49-F238E27FC236}">
                <a16:creationId xmlns:a16="http://schemas.microsoft.com/office/drawing/2014/main" id="{27DEFCEA-488D-CCD7-FA64-23BE7C0D015F}"/>
              </a:ext>
            </a:extLst>
          </p:cNvPr>
          <p:cNvSpPr>
            <a:spLocks noGrp="1" noRot="1" noMove="1" noResize="1" noEditPoints="1" noAdjustHandles="1" noChangeArrowheads="1" noChangeShapeType="1"/>
          </p:cNvSpPr>
          <p:nvPr>
            <p:ph type="pic" sz="quarter" idx="11" hasCustomPrompt="1"/>
          </p:nvPr>
        </p:nvSpPr>
        <p:spPr>
          <a:xfrm>
            <a:off x="0" y="0"/>
            <a:ext cx="9143999" cy="2384854"/>
          </a:xfrm>
          <a:prstGeom prst="rect">
            <a:avLst/>
          </a:prstGeom>
          <a:solidFill>
            <a:srgbClr val="D5DDDA"/>
          </a:solidFill>
        </p:spPr>
        <p:txBody>
          <a:bodyPr lIns="288000" tIns="252000" rIns="288000" bIns="791972" anchor="ctr"/>
          <a:lstStyle>
            <a:lvl1pPr algn="ctr">
              <a:buNone/>
              <a:defRPr sz="1200">
                <a:solidFill>
                  <a:schemeClr val="bg1"/>
                </a:solidFill>
              </a:defRPr>
            </a:lvl1pPr>
          </a:lstStyle>
          <a:p>
            <a:r>
              <a:rPr lang="en-GB"/>
              <a:t>If you prefer a mastery-cover-picture, click on icon to insert. </a:t>
            </a:r>
          </a:p>
        </p:txBody>
      </p:sp>
      <p:sp>
        <p:nvSpPr>
          <p:cNvPr id="12" name="Logo">
            <a:extLst>
              <a:ext uri="{FF2B5EF4-FFF2-40B4-BE49-F238E27FC236}">
                <a16:creationId xmlns:a16="http://schemas.microsoft.com/office/drawing/2014/main" id="{24B3C0A4-ED42-FC70-B5C1-4B5EAE64F036}"/>
              </a:ext>
            </a:extLst>
          </p:cNvPr>
          <p:cNvSpPr>
            <a:spLocks noGrp="1" noRot="1" noMove="1" noResize="1" noEditPoints="1" noAdjustHandles="1" noChangeArrowheads="1" noChangeShapeType="1"/>
          </p:cNvSpPr>
          <p:nvPr>
            <p:custDataLst>
              <p:tags r:id="rId1"/>
            </p:custDataLst>
          </p:nvPr>
        </p:nvSpPr>
        <p:spPr bwMode="auto">
          <a:xfrm rot="5400000">
            <a:off x="11155084" y="75537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en-GB"/>
              <a:t> </a:t>
            </a:r>
          </a:p>
        </p:txBody>
      </p:sp>
    </p:spTree>
    <p:extLst>
      <p:ext uri="{BB962C8B-B14F-4D97-AF65-F5344CB8AC3E}">
        <p14:creationId xmlns:p14="http://schemas.microsoft.com/office/powerpoint/2010/main" val="7432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56">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2519537-D7FE-4352-8267-4691F584EC0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37175440-D7DA-48D2-9FC9-CE4D7225957B}"/>
              </a:ext>
            </a:extLst>
          </p:cNvPr>
          <p:cNvSpPr>
            <a:spLocks noGrp="1"/>
          </p:cNvSpPr>
          <p:nvPr>
            <p:ph type="title"/>
          </p:nvPr>
        </p:nvSpPr>
        <p:spPr>
          <a:xfrm>
            <a:off x="764058" y="248496"/>
            <a:ext cx="10633285"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7" name="Slide Number Placeholder 5">
            <a:extLst>
              <a:ext uri="{FF2B5EF4-FFF2-40B4-BE49-F238E27FC236}">
                <a16:creationId xmlns:a16="http://schemas.microsoft.com/office/drawing/2014/main" id="{9EF8FF89-C031-404F-A69A-F265A665D5A3}"/>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C52E4480-EDC2-4C02-8A47-AD6173F2043E}"/>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1087923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6B3A-3DAB-4961-8328-45F435A6CB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da-DK"/>
          </a:p>
        </p:txBody>
      </p:sp>
      <p:sp>
        <p:nvSpPr>
          <p:cNvPr id="3" name="Content Placeholder 2">
            <a:extLst>
              <a:ext uri="{FF2B5EF4-FFF2-40B4-BE49-F238E27FC236}">
                <a16:creationId xmlns:a16="http://schemas.microsoft.com/office/drawing/2014/main" id="{439C56CF-41E9-4178-A748-B254988BA39A}"/>
              </a:ext>
            </a:extLst>
          </p:cNvPr>
          <p:cNvSpPr>
            <a:spLocks noGrp="1"/>
          </p:cNvSpPr>
          <p:nvPr>
            <p:ph idx="1"/>
          </p:nvPr>
        </p:nvSpPr>
        <p:spPr>
          <a:xfrm>
            <a:off x="5183188" y="987425"/>
            <a:ext cx="6214156"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Text Placeholder 3">
            <a:extLst>
              <a:ext uri="{FF2B5EF4-FFF2-40B4-BE49-F238E27FC236}">
                <a16:creationId xmlns:a16="http://schemas.microsoft.com/office/drawing/2014/main" id="{817FBD2E-7C5B-4900-A7A6-470F504C1D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cxnSp>
        <p:nvCxnSpPr>
          <p:cNvPr id="10" name="Straight Connector 9">
            <a:extLst>
              <a:ext uri="{FF2B5EF4-FFF2-40B4-BE49-F238E27FC236}">
                <a16:creationId xmlns:a16="http://schemas.microsoft.com/office/drawing/2014/main" id="{F4F248CA-28F5-4EF0-AC29-D8C0D431219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B074A1A1-8396-45AD-8519-9892BB82D02F}"/>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1" name="Date Placeholder 2">
            <a:extLst>
              <a:ext uri="{FF2B5EF4-FFF2-40B4-BE49-F238E27FC236}">
                <a16:creationId xmlns:a16="http://schemas.microsoft.com/office/drawing/2014/main" id="{05F6E847-EF2D-4AE6-AD34-50A73E56962B}"/>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spTree>
    <p:extLst>
      <p:ext uri="{BB962C8B-B14F-4D97-AF65-F5344CB8AC3E}">
        <p14:creationId xmlns:p14="http://schemas.microsoft.com/office/powerpoint/2010/main" val="6907997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slideLayout" Target="../slideLayouts/slideLayout60.xml"/><Relationship Id="rId47" Type="http://schemas.openxmlformats.org/officeDocument/2006/relationships/slideLayout" Target="../slideLayouts/slideLayout65.xml"/><Relationship Id="rId50" Type="http://schemas.openxmlformats.org/officeDocument/2006/relationships/slideLayout" Target="../slideLayouts/slideLayout68.xml"/><Relationship Id="rId55" Type="http://schemas.openxmlformats.org/officeDocument/2006/relationships/tags" Target="../tags/tag5.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 Id="rId46" Type="http://schemas.openxmlformats.org/officeDocument/2006/relationships/slideLayout" Target="../slideLayouts/slideLayout6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41" Type="http://schemas.openxmlformats.org/officeDocument/2006/relationships/slideLayout" Target="../slideLayouts/slideLayout59.xml"/><Relationship Id="rId54" Type="http://schemas.openxmlformats.org/officeDocument/2006/relationships/tags" Target="../tags/tag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45" Type="http://schemas.openxmlformats.org/officeDocument/2006/relationships/slideLayout" Target="../slideLayouts/slideLayout63.xml"/><Relationship Id="rId53"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49" Type="http://schemas.openxmlformats.org/officeDocument/2006/relationships/slideLayout" Target="../slideLayouts/slideLayout67.xml"/><Relationship Id="rId57"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4" Type="http://schemas.openxmlformats.org/officeDocument/2006/relationships/slideLayout" Target="../slideLayouts/slideLayout62.xml"/><Relationship Id="rId52" Type="http://schemas.openxmlformats.org/officeDocument/2006/relationships/slideLayout" Target="../slideLayouts/slideLayout70.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slideLayout" Target="../slideLayouts/slideLayout61.xml"/><Relationship Id="rId48" Type="http://schemas.openxmlformats.org/officeDocument/2006/relationships/slideLayout" Target="../slideLayouts/slideLayout66.xml"/><Relationship Id="rId56" Type="http://schemas.openxmlformats.org/officeDocument/2006/relationships/oleObject" Target="../embeddings/oleObject3.bin"/><Relationship Id="rId8" Type="http://schemas.openxmlformats.org/officeDocument/2006/relationships/slideLayout" Target="../slideLayouts/slideLayout26.xml"/><Relationship Id="rId51" Type="http://schemas.openxmlformats.org/officeDocument/2006/relationships/slideLayout" Target="../slideLayouts/slideLayout69.xml"/><Relationship Id="rId3"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E4126B-BE31-41F5-E8F2-34B7BB6B16CC}"/>
              </a:ext>
            </a:extLst>
          </p:cNvPr>
          <p:cNvGraphicFramePr>
            <a:graphicFrameLocks noChangeAspect="1"/>
          </p:cNvGraphicFramePr>
          <p:nvPr userDrawn="1">
            <p:custDataLst>
              <p:tags r:id="rId20"/>
            </p:custDataLst>
            <p:extLst>
              <p:ext uri="{D42A27DB-BD31-4B8C-83A1-F6EECF244321}">
                <p14:modId xmlns:p14="http://schemas.microsoft.com/office/powerpoint/2010/main" val="2854400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8" imgH="408" progId="TCLayout.ActiveDocument.1">
                  <p:embed/>
                </p:oleObj>
              </mc:Choice>
              <mc:Fallback>
                <p:oleObj name="think-cell Slide" r:id="rId21" imgW="408" imgH="408" progId="TCLayout.ActiveDocument.1">
                  <p:embed/>
                  <p:pic>
                    <p:nvPicPr>
                      <p:cNvPr id="5" name="think-cell data - do not delete" hidden="1">
                        <a:extLst>
                          <a:ext uri="{FF2B5EF4-FFF2-40B4-BE49-F238E27FC236}">
                            <a16:creationId xmlns:a16="http://schemas.microsoft.com/office/drawing/2014/main" id="{A1E4126B-BE31-41F5-E8F2-34B7BB6B16C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46DD4A2-45FB-4F4E-8B78-36733C0BFA53}"/>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3" name="Text Placeholder 2">
            <a:extLst>
              <a:ext uri="{FF2B5EF4-FFF2-40B4-BE49-F238E27FC236}">
                <a16:creationId xmlns:a16="http://schemas.microsoft.com/office/drawing/2014/main" id="{7B00B7FD-8EF9-4F27-9FF5-E4D3F24BFDEE}"/>
              </a:ext>
            </a:extLst>
          </p:cNvPr>
          <p:cNvSpPr>
            <a:spLocks noGrp="1"/>
          </p:cNvSpPr>
          <p:nvPr>
            <p:ph type="body" idx="1"/>
          </p:nvPr>
        </p:nvSpPr>
        <p:spPr>
          <a:xfrm>
            <a:off x="764060" y="1219200"/>
            <a:ext cx="10633284" cy="4585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1F1C07C1-CD3D-4DB6-9298-730D47960B9A}"/>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21" name="Date Placeholder 2">
            <a:extLst>
              <a:ext uri="{FF2B5EF4-FFF2-40B4-BE49-F238E27FC236}">
                <a16:creationId xmlns:a16="http://schemas.microsoft.com/office/drawing/2014/main" id="{7B85E22B-E3A6-468B-B191-847B1A52434C}"/>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12-05-2025</a:t>
            </a:fld>
            <a:endParaRPr lang="da-DK" noProof="0"/>
          </a:p>
        </p:txBody>
      </p:sp>
      <p:cxnSp>
        <p:nvCxnSpPr>
          <p:cNvPr id="44" name="Straight Connector 43">
            <a:extLst>
              <a:ext uri="{FF2B5EF4-FFF2-40B4-BE49-F238E27FC236}">
                <a16:creationId xmlns:a16="http://schemas.microsoft.com/office/drawing/2014/main" id="{DD9B577F-B1B7-49CF-BBA6-9AB551BB078E}"/>
              </a:ext>
            </a:extLst>
          </p:cNvPr>
          <p:cNvCxnSpPr>
            <a:cxnSpLocks/>
          </p:cNvCxnSpPr>
          <p:nvPr userDrawn="1"/>
        </p:nvCxnSpPr>
        <p:spPr>
          <a:xfrm>
            <a:off x="11397344" y="6321704"/>
            <a:ext cx="0" cy="45718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184EC0E8-A7B2-4536-A22C-59A10CD810BE}"/>
              </a:ext>
            </a:extLst>
          </p:cNvPr>
          <p:cNvGrpSpPr>
            <a:grpSpLocks/>
          </p:cNvGrpSpPr>
          <p:nvPr userDrawn="1"/>
        </p:nvGrpSpPr>
        <p:grpSpPr>
          <a:xfrm>
            <a:off x="220034" y="6097318"/>
            <a:ext cx="1469181" cy="538076"/>
            <a:chOff x="632997" y="3237301"/>
            <a:chExt cx="1214135" cy="444667"/>
          </a:xfrm>
        </p:grpSpPr>
        <p:grpSp>
          <p:nvGrpSpPr>
            <p:cNvPr id="9" name="Graphic 5">
              <a:extLst>
                <a:ext uri="{FF2B5EF4-FFF2-40B4-BE49-F238E27FC236}">
                  <a16:creationId xmlns:a16="http://schemas.microsoft.com/office/drawing/2014/main" id="{1E03E947-F546-40E3-B1F9-6514937E3B36}"/>
                </a:ext>
              </a:extLst>
            </p:cNvPr>
            <p:cNvGrpSpPr/>
            <p:nvPr/>
          </p:nvGrpSpPr>
          <p:grpSpPr>
            <a:xfrm>
              <a:off x="1202431" y="3237301"/>
              <a:ext cx="644701" cy="179292"/>
              <a:chOff x="1202431" y="3237301"/>
              <a:chExt cx="644701" cy="179292"/>
            </a:xfrm>
            <a:solidFill>
              <a:srgbClr val="084F45"/>
            </a:solidFill>
          </p:grpSpPr>
          <p:sp>
            <p:nvSpPr>
              <p:cNvPr id="68" name="Freeform: Shape 67">
                <a:extLst>
                  <a:ext uri="{FF2B5EF4-FFF2-40B4-BE49-F238E27FC236}">
                    <a16:creationId xmlns:a16="http://schemas.microsoft.com/office/drawing/2014/main" id="{3F564439-84D5-4814-BDA4-902435653E1A}"/>
                  </a:ext>
                </a:extLst>
              </p:cNvPr>
              <p:cNvSpPr/>
              <p:nvPr/>
            </p:nvSpPr>
            <p:spPr>
              <a:xfrm>
                <a:off x="1202431" y="3239718"/>
                <a:ext cx="108415" cy="136600"/>
              </a:xfrm>
              <a:custGeom>
                <a:avLst/>
                <a:gdLst>
                  <a:gd name="connsiteX0" fmla="*/ 0 w 108415"/>
                  <a:gd name="connsiteY0" fmla="*/ 136601 h 136600"/>
                  <a:gd name="connsiteX1" fmla="*/ 0 w 108415"/>
                  <a:gd name="connsiteY1" fmla="*/ 0 h 136600"/>
                  <a:gd name="connsiteX2" fmla="*/ 26849 w 108415"/>
                  <a:gd name="connsiteY2" fmla="*/ 0 h 136600"/>
                  <a:gd name="connsiteX3" fmla="*/ 82775 w 108415"/>
                  <a:gd name="connsiteY3" fmla="*/ 91237 h 136600"/>
                  <a:gd name="connsiteX4" fmla="*/ 82775 w 108415"/>
                  <a:gd name="connsiteY4" fmla="*/ 0 h 136600"/>
                  <a:gd name="connsiteX5" fmla="*/ 108415 w 108415"/>
                  <a:gd name="connsiteY5" fmla="*/ 0 h 136600"/>
                  <a:gd name="connsiteX6" fmla="*/ 108415 w 108415"/>
                  <a:gd name="connsiteY6" fmla="*/ 136601 h 136600"/>
                  <a:gd name="connsiteX7" fmla="*/ 80739 w 108415"/>
                  <a:gd name="connsiteY7" fmla="*/ 136601 h 136600"/>
                  <a:gd name="connsiteX8" fmla="*/ 25640 w 108415"/>
                  <a:gd name="connsiteY8" fmla="*/ 47527 h 136600"/>
                  <a:gd name="connsiteX9" fmla="*/ 25640 w 108415"/>
                  <a:gd name="connsiteY9" fmla="*/ 136601 h 136600"/>
                  <a:gd name="connsiteX10" fmla="*/ 0 w 108415"/>
                  <a:gd name="connsiteY10" fmla="*/ 136601 h 1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15" h="136600">
                    <a:moveTo>
                      <a:pt x="0" y="136601"/>
                    </a:moveTo>
                    <a:lnTo>
                      <a:pt x="0" y="0"/>
                    </a:lnTo>
                    <a:lnTo>
                      <a:pt x="26849" y="0"/>
                    </a:lnTo>
                    <a:lnTo>
                      <a:pt x="82775" y="91237"/>
                    </a:lnTo>
                    <a:lnTo>
                      <a:pt x="82775" y="0"/>
                    </a:lnTo>
                    <a:lnTo>
                      <a:pt x="108415" y="0"/>
                    </a:lnTo>
                    <a:lnTo>
                      <a:pt x="108415" y="136601"/>
                    </a:lnTo>
                    <a:lnTo>
                      <a:pt x="80739" y="136601"/>
                    </a:lnTo>
                    <a:lnTo>
                      <a:pt x="25640" y="47527"/>
                    </a:lnTo>
                    <a:lnTo>
                      <a:pt x="25640" y="136601"/>
                    </a:lnTo>
                    <a:lnTo>
                      <a:pt x="0" y="136601"/>
                    </a:lnTo>
                    <a:close/>
                  </a:path>
                </a:pathLst>
              </a:custGeom>
              <a:solidFill>
                <a:srgbClr val="084F45"/>
              </a:solidFill>
              <a:ln w="6361" cap="flat">
                <a:noFill/>
                <a:prstDash val="solid"/>
                <a:miter/>
              </a:ln>
            </p:spPr>
            <p:txBody>
              <a:bodyPr rtlCol="0" anchor="ctr"/>
              <a:lstStyle/>
              <a:p>
                <a:endParaRPr lang="da-DK"/>
              </a:p>
            </p:txBody>
          </p:sp>
          <p:sp>
            <p:nvSpPr>
              <p:cNvPr id="69" name="Freeform: Shape 68">
                <a:extLst>
                  <a:ext uri="{FF2B5EF4-FFF2-40B4-BE49-F238E27FC236}">
                    <a16:creationId xmlns:a16="http://schemas.microsoft.com/office/drawing/2014/main" id="{C61C0758-62F3-4C5D-8A8A-165898090604}"/>
                  </a:ext>
                </a:extLst>
              </p:cNvPr>
              <p:cNvSpPr/>
              <p:nvPr/>
            </p:nvSpPr>
            <p:spPr>
              <a:xfrm>
                <a:off x="1323571" y="3277384"/>
                <a:ext cx="101734" cy="139208"/>
              </a:xfrm>
              <a:custGeom>
                <a:avLst/>
                <a:gdLst>
                  <a:gd name="connsiteX0" fmla="*/ 0 w 101734"/>
                  <a:gd name="connsiteY0" fmla="*/ 0 h 139208"/>
                  <a:gd name="connsiteX1" fmla="*/ 27867 w 101734"/>
                  <a:gd name="connsiteY1" fmla="*/ 0 h 139208"/>
                  <a:gd name="connsiteX2" fmla="*/ 51535 w 101734"/>
                  <a:gd name="connsiteY2" fmla="*/ 70241 h 139208"/>
                  <a:gd name="connsiteX3" fmla="*/ 74631 w 101734"/>
                  <a:gd name="connsiteY3" fmla="*/ 0 h 139208"/>
                  <a:gd name="connsiteX4" fmla="*/ 101735 w 101734"/>
                  <a:gd name="connsiteY4" fmla="*/ 0 h 139208"/>
                  <a:gd name="connsiteX5" fmla="*/ 66805 w 101734"/>
                  <a:gd name="connsiteY5" fmla="*/ 95245 h 139208"/>
                  <a:gd name="connsiteX6" fmla="*/ 60570 w 101734"/>
                  <a:gd name="connsiteY6" fmla="*/ 112487 h 139208"/>
                  <a:gd name="connsiteX7" fmla="*/ 54017 w 101734"/>
                  <a:gd name="connsiteY7" fmla="*/ 125721 h 139208"/>
                  <a:gd name="connsiteX8" fmla="*/ 46827 w 101734"/>
                  <a:gd name="connsiteY8" fmla="*/ 133165 h 139208"/>
                  <a:gd name="connsiteX9" fmla="*/ 36838 w 101734"/>
                  <a:gd name="connsiteY9" fmla="*/ 137618 h 139208"/>
                  <a:gd name="connsiteX10" fmla="*/ 23477 w 101734"/>
                  <a:gd name="connsiteY10" fmla="*/ 139209 h 139208"/>
                  <a:gd name="connsiteX11" fmla="*/ 8653 w 101734"/>
                  <a:gd name="connsiteY11" fmla="*/ 137618 h 139208"/>
                  <a:gd name="connsiteX12" fmla="*/ 6299 w 101734"/>
                  <a:gd name="connsiteY12" fmla="*/ 117131 h 139208"/>
                  <a:gd name="connsiteX13" fmla="*/ 17369 w 101734"/>
                  <a:gd name="connsiteY13" fmla="*/ 118340 h 139208"/>
                  <a:gd name="connsiteX14" fmla="*/ 30858 w 101734"/>
                  <a:gd name="connsiteY14" fmla="*/ 112996 h 139208"/>
                  <a:gd name="connsiteX15" fmla="*/ 37538 w 101734"/>
                  <a:gd name="connsiteY15" fmla="*/ 99317 h 139208"/>
                  <a:gd name="connsiteX16" fmla="*/ 0 w 101734"/>
                  <a:gd name="connsiteY16" fmla="*/ 0 h 13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39208">
                    <a:moveTo>
                      <a:pt x="0" y="0"/>
                    </a:moveTo>
                    <a:lnTo>
                      <a:pt x="27867" y="0"/>
                    </a:lnTo>
                    <a:lnTo>
                      <a:pt x="51535" y="70241"/>
                    </a:lnTo>
                    <a:lnTo>
                      <a:pt x="74631" y="0"/>
                    </a:lnTo>
                    <a:lnTo>
                      <a:pt x="101735" y="0"/>
                    </a:lnTo>
                    <a:lnTo>
                      <a:pt x="66805" y="95245"/>
                    </a:lnTo>
                    <a:lnTo>
                      <a:pt x="60570" y="112487"/>
                    </a:lnTo>
                    <a:cubicBezTo>
                      <a:pt x="58279" y="118277"/>
                      <a:pt x="56053" y="122667"/>
                      <a:pt x="54017" y="125721"/>
                    </a:cubicBezTo>
                    <a:cubicBezTo>
                      <a:pt x="51917" y="128775"/>
                      <a:pt x="49563" y="131256"/>
                      <a:pt x="46827" y="133165"/>
                    </a:cubicBezTo>
                    <a:cubicBezTo>
                      <a:pt x="44155" y="135073"/>
                      <a:pt x="40783" y="136537"/>
                      <a:pt x="36838" y="137618"/>
                    </a:cubicBezTo>
                    <a:cubicBezTo>
                      <a:pt x="32894" y="138700"/>
                      <a:pt x="28440" y="139209"/>
                      <a:pt x="23477" y="139209"/>
                    </a:cubicBezTo>
                    <a:cubicBezTo>
                      <a:pt x="18451" y="139209"/>
                      <a:pt x="13488" y="138700"/>
                      <a:pt x="8653" y="137618"/>
                    </a:cubicBezTo>
                    <a:lnTo>
                      <a:pt x="6299" y="117131"/>
                    </a:lnTo>
                    <a:cubicBezTo>
                      <a:pt x="10371" y="117959"/>
                      <a:pt x="14125" y="118340"/>
                      <a:pt x="17369" y="118340"/>
                    </a:cubicBezTo>
                    <a:cubicBezTo>
                      <a:pt x="23477" y="118340"/>
                      <a:pt x="27995" y="116559"/>
                      <a:pt x="30858" y="112996"/>
                    </a:cubicBezTo>
                    <a:cubicBezTo>
                      <a:pt x="33784" y="109433"/>
                      <a:pt x="36011" y="104852"/>
                      <a:pt x="37538" y="99317"/>
                    </a:cubicBezTo>
                    <a:lnTo>
                      <a:pt x="0" y="0"/>
                    </a:lnTo>
                    <a:close/>
                  </a:path>
                </a:pathLst>
              </a:custGeom>
              <a:solidFill>
                <a:srgbClr val="084F45"/>
              </a:solidFill>
              <a:ln w="6361" cap="flat">
                <a:noFill/>
                <a:prstDash val="solid"/>
                <a:miter/>
              </a:ln>
            </p:spPr>
            <p:txBody>
              <a:bodyPr rtlCol="0" anchor="ctr"/>
              <a:lstStyle/>
              <a:p>
                <a:endParaRPr lang="da-DK"/>
              </a:p>
            </p:txBody>
          </p:sp>
          <p:sp>
            <p:nvSpPr>
              <p:cNvPr id="70" name="Freeform: Shape 69">
                <a:extLst>
                  <a:ext uri="{FF2B5EF4-FFF2-40B4-BE49-F238E27FC236}">
                    <a16:creationId xmlns:a16="http://schemas.microsoft.com/office/drawing/2014/main" id="{05AB0557-A49F-4624-8C73-1D5EBD57224C}"/>
                  </a:ext>
                </a:extLst>
              </p:cNvPr>
              <p:cNvSpPr/>
              <p:nvPr/>
            </p:nvSpPr>
            <p:spPr>
              <a:xfrm>
                <a:off x="1435231" y="3242518"/>
                <a:ext cx="58343" cy="136091"/>
              </a:xfrm>
              <a:custGeom>
                <a:avLst/>
                <a:gdLst>
                  <a:gd name="connsiteX0" fmla="*/ 56116 w 58343"/>
                  <a:gd name="connsiteY0" fmla="*/ 34866 h 136091"/>
                  <a:gd name="connsiteX1" fmla="*/ 56116 w 58343"/>
                  <a:gd name="connsiteY1" fmla="*/ 55735 h 136091"/>
                  <a:gd name="connsiteX2" fmla="*/ 38238 w 58343"/>
                  <a:gd name="connsiteY2" fmla="*/ 55735 h 136091"/>
                  <a:gd name="connsiteX3" fmla="*/ 38238 w 58343"/>
                  <a:gd name="connsiteY3" fmla="*/ 95627 h 136091"/>
                  <a:gd name="connsiteX4" fmla="*/ 38747 w 58343"/>
                  <a:gd name="connsiteY4" fmla="*/ 109751 h 136091"/>
                  <a:gd name="connsiteX5" fmla="*/ 41101 w 58343"/>
                  <a:gd name="connsiteY5" fmla="*/ 113060 h 136091"/>
                  <a:gd name="connsiteX6" fmla="*/ 45555 w 58343"/>
                  <a:gd name="connsiteY6" fmla="*/ 114396 h 136091"/>
                  <a:gd name="connsiteX7" fmla="*/ 56116 w 58343"/>
                  <a:gd name="connsiteY7" fmla="*/ 111851 h 136091"/>
                  <a:gd name="connsiteX8" fmla="*/ 58343 w 58343"/>
                  <a:gd name="connsiteY8" fmla="*/ 132147 h 136091"/>
                  <a:gd name="connsiteX9" fmla="*/ 37665 w 58343"/>
                  <a:gd name="connsiteY9" fmla="*/ 136091 h 136091"/>
                  <a:gd name="connsiteX10" fmla="*/ 24877 w 58343"/>
                  <a:gd name="connsiteY10" fmla="*/ 133737 h 136091"/>
                  <a:gd name="connsiteX11" fmla="*/ 16542 w 58343"/>
                  <a:gd name="connsiteY11" fmla="*/ 127566 h 136091"/>
                  <a:gd name="connsiteX12" fmla="*/ 12852 w 58343"/>
                  <a:gd name="connsiteY12" fmla="*/ 117386 h 136091"/>
                  <a:gd name="connsiteX13" fmla="*/ 12025 w 58343"/>
                  <a:gd name="connsiteY13" fmla="*/ 98935 h 136091"/>
                  <a:gd name="connsiteX14" fmla="*/ 12025 w 58343"/>
                  <a:gd name="connsiteY14" fmla="*/ 55798 h 136091"/>
                  <a:gd name="connsiteX15" fmla="*/ 0 w 58343"/>
                  <a:gd name="connsiteY15" fmla="*/ 55798 h 136091"/>
                  <a:gd name="connsiteX16" fmla="*/ 0 w 58343"/>
                  <a:gd name="connsiteY16" fmla="*/ 34929 h 136091"/>
                  <a:gd name="connsiteX17" fmla="*/ 12025 w 58343"/>
                  <a:gd name="connsiteY17" fmla="*/ 34929 h 136091"/>
                  <a:gd name="connsiteX18" fmla="*/ 12025 w 58343"/>
                  <a:gd name="connsiteY18" fmla="*/ 15270 h 136091"/>
                  <a:gd name="connsiteX19" fmla="*/ 38302 w 58343"/>
                  <a:gd name="connsiteY19" fmla="*/ 0 h 136091"/>
                  <a:gd name="connsiteX20" fmla="*/ 38302 w 58343"/>
                  <a:gd name="connsiteY20" fmla="*/ 34929 h 136091"/>
                  <a:gd name="connsiteX21" fmla="*/ 56116 w 58343"/>
                  <a:gd name="connsiteY21" fmla="*/ 34929 h 13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343" h="136091">
                    <a:moveTo>
                      <a:pt x="56116" y="34866"/>
                    </a:moveTo>
                    <a:lnTo>
                      <a:pt x="56116" y="55735"/>
                    </a:lnTo>
                    <a:lnTo>
                      <a:pt x="38238" y="55735"/>
                    </a:lnTo>
                    <a:lnTo>
                      <a:pt x="38238" y="95627"/>
                    </a:lnTo>
                    <a:cubicBezTo>
                      <a:pt x="38238" y="103707"/>
                      <a:pt x="38429" y="108415"/>
                      <a:pt x="38747" y="109751"/>
                    </a:cubicBezTo>
                    <a:cubicBezTo>
                      <a:pt x="39065" y="111087"/>
                      <a:pt x="39892" y="112169"/>
                      <a:pt x="41101" y="113060"/>
                    </a:cubicBezTo>
                    <a:cubicBezTo>
                      <a:pt x="42310" y="113950"/>
                      <a:pt x="43773" y="114396"/>
                      <a:pt x="45555" y="114396"/>
                    </a:cubicBezTo>
                    <a:cubicBezTo>
                      <a:pt x="47972" y="114396"/>
                      <a:pt x="51472" y="113569"/>
                      <a:pt x="56116" y="111851"/>
                    </a:cubicBezTo>
                    <a:lnTo>
                      <a:pt x="58343" y="132147"/>
                    </a:lnTo>
                    <a:cubicBezTo>
                      <a:pt x="52235" y="134755"/>
                      <a:pt x="45364" y="136091"/>
                      <a:pt x="37665" y="136091"/>
                    </a:cubicBezTo>
                    <a:cubicBezTo>
                      <a:pt x="32957" y="136091"/>
                      <a:pt x="28694" y="135328"/>
                      <a:pt x="24877" y="133737"/>
                    </a:cubicBezTo>
                    <a:cubicBezTo>
                      <a:pt x="21059" y="132147"/>
                      <a:pt x="18324" y="130111"/>
                      <a:pt x="16542" y="127566"/>
                    </a:cubicBezTo>
                    <a:cubicBezTo>
                      <a:pt x="14761" y="125021"/>
                      <a:pt x="13552" y="121649"/>
                      <a:pt x="12852" y="117386"/>
                    </a:cubicBezTo>
                    <a:cubicBezTo>
                      <a:pt x="12279" y="114332"/>
                      <a:pt x="12025" y="108161"/>
                      <a:pt x="12025" y="98935"/>
                    </a:cubicBezTo>
                    <a:lnTo>
                      <a:pt x="12025" y="55798"/>
                    </a:lnTo>
                    <a:lnTo>
                      <a:pt x="0" y="55798"/>
                    </a:lnTo>
                    <a:lnTo>
                      <a:pt x="0" y="34929"/>
                    </a:lnTo>
                    <a:lnTo>
                      <a:pt x="12025" y="34929"/>
                    </a:lnTo>
                    <a:lnTo>
                      <a:pt x="12025" y="15270"/>
                    </a:lnTo>
                    <a:lnTo>
                      <a:pt x="38302" y="0"/>
                    </a:lnTo>
                    <a:lnTo>
                      <a:pt x="38302" y="34929"/>
                    </a:lnTo>
                    <a:lnTo>
                      <a:pt x="56116" y="34929"/>
                    </a:lnTo>
                    <a:close/>
                  </a:path>
                </a:pathLst>
              </a:custGeom>
              <a:solidFill>
                <a:srgbClr val="084F45"/>
              </a:solidFill>
              <a:ln w="6361" cap="flat">
                <a:noFill/>
                <a:prstDash val="solid"/>
                <a:miter/>
              </a:ln>
            </p:spPr>
            <p:txBody>
              <a:bodyPr rtlCol="0" anchor="ctr"/>
              <a:lstStyle/>
              <a:p>
                <a:endParaRPr lang="da-DK"/>
              </a:p>
            </p:txBody>
          </p:sp>
          <p:sp>
            <p:nvSpPr>
              <p:cNvPr id="71" name="Freeform: Shape 70">
                <a:extLst>
                  <a:ext uri="{FF2B5EF4-FFF2-40B4-BE49-F238E27FC236}">
                    <a16:creationId xmlns:a16="http://schemas.microsoft.com/office/drawing/2014/main" id="{785AF69F-A057-4C4D-A0B5-D66ADB672583}"/>
                  </a:ext>
                </a:extLst>
              </p:cNvPr>
              <p:cNvSpPr/>
              <p:nvPr/>
            </p:nvSpPr>
            <p:spPr>
              <a:xfrm>
                <a:off x="1555734" y="3237301"/>
                <a:ext cx="111023" cy="141435"/>
              </a:xfrm>
              <a:custGeom>
                <a:avLst/>
                <a:gdLst>
                  <a:gd name="connsiteX0" fmla="*/ 0 w 111023"/>
                  <a:gd name="connsiteY0" fmla="*/ 94545 h 141435"/>
                  <a:gd name="connsiteX1" fmla="*/ 26849 w 111023"/>
                  <a:gd name="connsiteY1" fmla="*/ 91937 h 141435"/>
                  <a:gd name="connsiteX2" fmla="*/ 36647 w 111023"/>
                  <a:gd name="connsiteY2" fmla="*/ 111787 h 141435"/>
                  <a:gd name="connsiteX3" fmla="*/ 56625 w 111023"/>
                  <a:gd name="connsiteY3" fmla="*/ 118150 h 141435"/>
                  <a:gd name="connsiteX4" fmla="*/ 76730 w 111023"/>
                  <a:gd name="connsiteY4" fmla="*/ 112487 h 141435"/>
                  <a:gd name="connsiteX5" fmla="*/ 83475 w 111023"/>
                  <a:gd name="connsiteY5" fmla="*/ 99317 h 141435"/>
                  <a:gd name="connsiteX6" fmla="*/ 80611 w 111023"/>
                  <a:gd name="connsiteY6" fmla="*/ 91046 h 141435"/>
                  <a:gd name="connsiteX7" fmla="*/ 70686 w 111023"/>
                  <a:gd name="connsiteY7" fmla="*/ 85129 h 141435"/>
                  <a:gd name="connsiteX8" fmla="*/ 48609 w 111023"/>
                  <a:gd name="connsiteY8" fmla="*/ 79148 h 141435"/>
                  <a:gd name="connsiteX9" fmla="*/ 17497 w 111023"/>
                  <a:gd name="connsiteY9" fmla="*/ 65660 h 141435"/>
                  <a:gd name="connsiteX10" fmla="*/ 4899 w 111023"/>
                  <a:gd name="connsiteY10" fmla="*/ 38174 h 141435"/>
                  <a:gd name="connsiteX11" fmla="*/ 10816 w 111023"/>
                  <a:gd name="connsiteY11" fmla="*/ 18642 h 141435"/>
                  <a:gd name="connsiteX12" fmla="*/ 27867 w 111023"/>
                  <a:gd name="connsiteY12" fmla="*/ 4772 h 141435"/>
                  <a:gd name="connsiteX13" fmla="*/ 54780 w 111023"/>
                  <a:gd name="connsiteY13" fmla="*/ 0 h 141435"/>
                  <a:gd name="connsiteX14" fmla="*/ 93527 w 111023"/>
                  <a:gd name="connsiteY14" fmla="*/ 11262 h 141435"/>
                  <a:gd name="connsiteX15" fmla="*/ 107206 w 111023"/>
                  <a:gd name="connsiteY15" fmla="*/ 41356 h 141435"/>
                  <a:gd name="connsiteX16" fmla="*/ 79593 w 111023"/>
                  <a:gd name="connsiteY16" fmla="*/ 42564 h 141435"/>
                  <a:gd name="connsiteX17" fmla="*/ 72022 w 111023"/>
                  <a:gd name="connsiteY17" fmla="*/ 27422 h 141435"/>
                  <a:gd name="connsiteX18" fmla="*/ 54526 w 111023"/>
                  <a:gd name="connsiteY18" fmla="*/ 22841 h 141435"/>
                  <a:gd name="connsiteX19" fmla="*/ 35693 w 111023"/>
                  <a:gd name="connsiteY19" fmla="*/ 27804 h 141435"/>
                  <a:gd name="connsiteX20" fmla="*/ 31303 w 111023"/>
                  <a:gd name="connsiteY20" fmla="*/ 36266 h 141435"/>
                  <a:gd name="connsiteX21" fmla="*/ 35375 w 111023"/>
                  <a:gd name="connsiteY21" fmla="*/ 44537 h 141435"/>
                  <a:gd name="connsiteX22" fmla="*/ 60697 w 111023"/>
                  <a:gd name="connsiteY22" fmla="*/ 53699 h 141435"/>
                  <a:gd name="connsiteX23" fmla="*/ 90473 w 111023"/>
                  <a:gd name="connsiteY23" fmla="*/ 63560 h 141435"/>
                  <a:gd name="connsiteX24" fmla="*/ 105552 w 111023"/>
                  <a:gd name="connsiteY24" fmla="*/ 77430 h 141435"/>
                  <a:gd name="connsiteX25" fmla="*/ 111024 w 111023"/>
                  <a:gd name="connsiteY25" fmla="*/ 99190 h 141435"/>
                  <a:gd name="connsiteX26" fmla="*/ 104470 w 111023"/>
                  <a:gd name="connsiteY26" fmla="*/ 121204 h 141435"/>
                  <a:gd name="connsiteX27" fmla="*/ 86020 w 111023"/>
                  <a:gd name="connsiteY27" fmla="*/ 136473 h 141435"/>
                  <a:gd name="connsiteX28" fmla="*/ 56307 w 111023"/>
                  <a:gd name="connsiteY28" fmla="*/ 141436 h 141435"/>
                  <a:gd name="connsiteX29" fmla="*/ 16542 w 111023"/>
                  <a:gd name="connsiteY29" fmla="*/ 129475 h 141435"/>
                  <a:gd name="connsiteX30" fmla="*/ 0 w 111023"/>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23" h="141435">
                    <a:moveTo>
                      <a:pt x="0" y="94545"/>
                    </a:moveTo>
                    <a:lnTo>
                      <a:pt x="26849" y="91937"/>
                    </a:lnTo>
                    <a:cubicBezTo>
                      <a:pt x="28440" y="100971"/>
                      <a:pt x="31748" y="107588"/>
                      <a:pt x="36647" y="111787"/>
                    </a:cubicBezTo>
                    <a:cubicBezTo>
                      <a:pt x="41546" y="115986"/>
                      <a:pt x="48227" y="118150"/>
                      <a:pt x="56625" y="118150"/>
                    </a:cubicBezTo>
                    <a:cubicBezTo>
                      <a:pt x="65533" y="118150"/>
                      <a:pt x="72213" y="116304"/>
                      <a:pt x="76730" y="112487"/>
                    </a:cubicBezTo>
                    <a:cubicBezTo>
                      <a:pt x="81248" y="108733"/>
                      <a:pt x="83475" y="104343"/>
                      <a:pt x="83475" y="99317"/>
                    </a:cubicBezTo>
                    <a:cubicBezTo>
                      <a:pt x="83475" y="96072"/>
                      <a:pt x="82520" y="93336"/>
                      <a:pt x="80611" y="91046"/>
                    </a:cubicBezTo>
                    <a:cubicBezTo>
                      <a:pt x="78703" y="88755"/>
                      <a:pt x="75394" y="86783"/>
                      <a:pt x="70686" y="85129"/>
                    </a:cubicBezTo>
                    <a:cubicBezTo>
                      <a:pt x="67441" y="83984"/>
                      <a:pt x="60125" y="82011"/>
                      <a:pt x="48609" y="79148"/>
                    </a:cubicBezTo>
                    <a:cubicBezTo>
                      <a:pt x="33848" y="75458"/>
                      <a:pt x="23414" y="71004"/>
                      <a:pt x="17497" y="65660"/>
                    </a:cubicBezTo>
                    <a:cubicBezTo>
                      <a:pt x="9098" y="58152"/>
                      <a:pt x="4899" y="48990"/>
                      <a:pt x="4899" y="38174"/>
                    </a:cubicBezTo>
                    <a:cubicBezTo>
                      <a:pt x="4899" y="31239"/>
                      <a:pt x="6871" y="24686"/>
                      <a:pt x="10816" y="18642"/>
                    </a:cubicBezTo>
                    <a:cubicBezTo>
                      <a:pt x="14761" y="12598"/>
                      <a:pt x="20423" y="7953"/>
                      <a:pt x="27867" y="4772"/>
                    </a:cubicBezTo>
                    <a:cubicBezTo>
                      <a:pt x="35311" y="1591"/>
                      <a:pt x="44282" y="0"/>
                      <a:pt x="54780" y="0"/>
                    </a:cubicBezTo>
                    <a:cubicBezTo>
                      <a:pt x="71959" y="0"/>
                      <a:pt x="84811" y="3754"/>
                      <a:pt x="93527" y="11262"/>
                    </a:cubicBezTo>
                    <a:cubicBezTo>
                      <a:pt x="102244" y="18769"/>
                      <a:pt x="106761" y="28822"/>
                      <a:pt x="107206" y="41356"/>
                    </a:cubicBezTo>
                    <a:lnTo>
                      <a:pt x="79593" y="42564"/>
                    </a:lnTo>
                    <a:cubicBezTo>
                      <a:pt x="78385" y="35566"/>
                      <a:pt x="75903" y="30476"/>
                      <a:pt x="72022" y="27422"/>
                    </a:cubicBezTo>
                    <a:cubicBezTo>
                      <a:pt x="68141" y="24368"/>
                      <a:pt x="62288" y="22841"/>
                      <a:pt x="54526" y="22841"/>
                    </a:cubicBezTo>
                    <a:cubicBezTo>
                      <a:pt x="46509" y="22841"/>
                      <a:pt x="40210" y="24495"/>
                      <a:pt x="35693" y="27804"/>
                    </a:cubicBezTo>
                    <a:cubicBezTo>
                      <a:pt x="32766" y="29903"/>
                      <a:pt x="31303" y="32766"/>
                      <a:pt x="31303" y="36266"/>
                    </a:cubicBezTo>
                    <a:cubicBezTo>
                      <a:pt x="31303" y="39510"/>
                      <a:pt x="32639" y="42246"/>
                      <a:pt x="35375" y="44537"/>
                    </a:cubicBezTo>
                    <a:cubicBezTo>
                      <a:pt x="38874" y="47463"/>
                      <a:pt x="47336" y="50517"/>
                      <a:pt x="60697" y="53699"/>
                    </a:cubicBezTo>
                    <a:cubicBezTo>
                      <a:pt x="74058" y="56880"/>
                      <a:pt x="84047" y="60125"/>
                      <a:pt x="90473" y="63560"/>
                    </a:cubicBezTo>
                    <a:cubicBezTo>
                      <a:pt x="96899" y="66932"/>
                      <a:pt x="101926" y="71577"/>
                      <a:pt x="105552" y="77430"/>
                    </a:cubicBezTo>
                    <a:cubicBezTo>
                      <a:pt x="109179" y="83284"/>
                      <a:pt x="111024" y="90537"/>
                      <a:pt x="111024" y="99190"/>
                    </a:cubicBezTo>
                    <a:cubicBezTo>
                      <a:pt x="111024" y="107015"/>
                      <a:pt x="108861" y="114332"/>
                      <a:pt x="104470" y="121204"/>
                    </a:cubicBezTo>
                    <a:cubicBezTo>
                      <a:pt x="100080" y="128075"/>
                      <a:pt x="93973" y="133101"/>
                      <a:pt x="86020" y="136473"/>
                    </a:cubicBezTo>
                    <a:cubicBezTo>
                      <a:pt x="78067" y="139782"/>
                      <a:pt x="68141" y="141436"/>
                      <a:pt x="56307" y="141436"/>
                    </a:cubicBezTo>
                    <a:cubicBezTo>
                      <a:pt x="39065" y="141436"/>
                      <a:pt x="25768" y="137428"/>
                      <a:pt x="16542" y="129475"/>
                    </a:cubicBezTo>
                    <a:cubicBezTo>
                      <a:pt x="7317" y="121522"/>
                      <a:pt x="1781" y="109879"/>
                      <a:pt x="0" y="94545"/>
                    </a:cubicBezTo>
                    <a:close/>
                  </a:path>
                </a:pathLst>
              </a:custGeom>
              <a:solidFill>
                <a:srgbClr val="084F45"/>
              </a:solidFill>
              <a:ln w="6361" cap="flat">
                <a:noFill/>
                <a:prstDash val="solid"/>
                <a:miter/>
              </a:ln>
            </p:spPr>
            <p:txBody>
              <a:bodyPr rtlCol="0" anchor="ctr"/>
              <a:lstStyle/>
              <a:p>
                <a:endParaRPr lang="da-DK"/>
              </a:p>
            </p:txBody>
          </p:sp>
          <p:sp>
            <p:nvSpPr>
              <p:cNvPr id="72" name="Freeform: Shape 71">
                <a:extLst>
                  <a:ext uri="{FF2B5EF4-FFF2-40B4-BE49-F238E27FC236}">
                    <a16:creationId xmlns:a16="http://schemas.microsoft.com/office/drawing/2014/main" id="{81DBB95D-3D62-4E95-B349-9ADCBC27C30C}"/>
                  </a:ext>
                </a:extLst>
              </p:cNvPr>
              <p:cNvSpPr/>
              <p:nvPr/>
            </p:nvSpPr>
            <p:spPr>
              <a:xfrm>
                <a:off x="1689217" y="3239718"/>
                <a:ext cx="27612" cy="136600"/>
              </a:xfrm>
              <a:custGeom>
                <a:avLst/>
                <a:gdLst>
                  <a:gd name="connsiteX0" fmla="*/ 0 w 27612"/>
                  <a:gd name="connsiteY0" fmla="*/ 136601 h 136600"/>
                  <a:gd name="connsiteX1" fmla="*/ 0 w 27612"/>
                  <a:gd name="connsiteY1" fmla="*/ 0 h 136600"/>
                  <a:gd name="connsiteX2" fmla="*/ 27613 w 27612"/>
                  <a:gd name="connsiteY2" fmla="*/ 0 h 136600"/>
                  <a:gd name="connsiteX3" fmla="*/ 27613 w 27612"/>
                  <a:gd name="connsiteY3" fmla="*/ 136601 h 136600"/>
                  <a:gd name="connsiteX4" fmla="*/ 0 w 27612"/>
                  <a:gd name="connsiteY4" fmla="*/ 136601 h 1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12" h="136600">
                    <a:moveTo>
                      <a:pt x="0" y="136601"/>
                    </a:moveTo>
                    <a:lnTo>
                      <a:pt x="0" y="0"/>
                    </a:lnTo>
                    <a:lnTo>
                      <a:pt x="27613" y="0"/>
                    </a:lnTo>
                    <a:lnTo>
                      <a:pt x="27613" y="136601"/>
                    </a:lnTo>
                    <a:lnTo>
                      <a:pt x="0" y="136601"/>
                    </a:lnTo>
                    <a:close/>
                  </a:path>
                </a:pathLst>
              </a:custGeom>
              <a:solidFill>
                <a:srgbClr val="084F45"/>
              </a:solidFill>
              <a:ln w="6361" cap="flat">
                <a:noFill/>
                <a:prstDash val="solid"/>
                <a:miter/>
              </a:ln>
            </p:spPr>
            <p:txBody>
              <a:bodyPr rtlCol="0" anchor="ctr"/>
              <a:lstStyle/>
              <a:p>
                <a:endParaRPr lang="da-DK"/>
              </a:p>
            </p:txBody>
          </p:sp>
          <p:sp>
            <p:nvSpPr>
              <p:cNvPr id="73" name="Freeform: Shape 72">
                <a:extLst>
                  <a:ext uri="{FF2B5EF4-FFF2-40B4-BE49-F238E27FC236}">
                    <a16:creationId xmlns:a16="http://schemas.microsoft.com/office/drawing/2014/main" id="{F5B75A5A-13E4-4EE2-B7D5-814F76D13E3A}"/>
                  </a:ext>
                </a:extLst>
              </p:cNvPr>
              <p:cNvSpPr/>
              <p:nvPr/>
            </p:nvSpPr>
            <p:spPr>
              <a:xfrm>
                <a:off x="1736044" y="3237301"/>
                <a:ext cx="111087" cy="141435"/>
              </a:xfrm>
              <a:custGeom>
                <a:avLst/>
                <a:gdLst>
                  <a:gd name="connsiteX0" fmla="*/ 0 w 111087"/>
                  <a:gd name="connsiteY0" fmla="*/ 94545 h 141435"/>
                  <a:gd name="connsiteX1" fmla="*/ 26849 w 111087"/>
                  <a:gd name="connsiteY1" fmla="*/ 91937 h 141435"/>
                  <a:gd name="connsiteX2" fmla="*/ 36711 w 111087"/>
                  <a:gd name="connsiteY2" fmla="*/ 111787 h 141435"/>
                  <a:gd name="connsiteX3" fmla="*/ 56689 w 111087"/>
                  <a:gd name="connsiteY3" fmla="*/ 118150 h 141435"/>
                  <a:gd name="connsiteX4" fmla="*/ 76794 w 111087"/>
                  <a:gd name="connsiteY4" fmla="*/ 112487 h 141435"/>
                  <a:gd name="connsiteX5" fmla="*/ 83538 w 111087"/>
                  <a:gd name="connsiteY5" fmla="*/ 99317 h 141435"/>
                  <a:gd name="connsiteX6" fmla="*/ 80675 w 111087"/>
                  <a:gd name="connsiteY6" fmla="*/ 91046 h 141435"/>
                  <a:gd name="connsiteX7" fmla="*/ 70750 w 111087"/>
                  <a:gd name="connsiteY7" fmla="*/ 85129 h 141435"/>
                  <a:gd name="connsiteX8" fmla="*/ 48672 w 111087"/>
                  <a:gd name="connsiteY8" fmla="*/ 79148 h 141435"/>
                  <a:gd name="connsiteX9" fmla="*/ 17560 w 111087"/>
                  <a:gd name="connsiteY9" fmla="*/ 65660 h 141435"/>
                  <a:gd name="connsiteX10" fmla="*/ 4963 w 111087"/>
                  <a:gd name="connsiteY10" fmla="*/ 38174 h 141435"/>
                  <a:gd name="connsiteX11" fmla="*/ 10880 w 111087"/>
                  <a:gd name="connsiteY11" fmla="*/ 18642 h 141435"/>
                  <a:gd name="connsiteX12" fmla="*/ 27931 w 111087"/>
                  <a:gd name="connsiteY12" fmla="*/ 4772 h 141435"/>
                  <a:gd name="connsiteX13" fmla="*/ 54844 w 111087"/>
                  <a:gd name="connsiteY13" fmla="*/ 0 h 141435"/>
                  <a:gd name="connsiteX14" fmla="*/ 93591 w 111087"/>
                  <a:gd name="connsiteY14" fmla="*/ 11262 h 141435"/>
                  <a:gd name="connsiteX15" fmla="*/ 107270 w 111087"/>
                  <a:gd name="connsiteY15" fmla="*/ 41356 h 141435"/>
                  <a:gd name="connsiteX16" fmla="*/ 79657 w 111087"/>
                  <a:gd name="connsiteY16" fmla="*/ 42564 h 141435"/>
                  <a:gd name="connsiteX17" fmla="*/ 72086 w 111087"/>
                  <a:gd name="connsiteY17" fmla="*/ 27422 h 141435"/>
                  <a:gd name="connsiteX18" fmla="*/ 54589 w 111087"/>
                  <a:gd name="connsiteY18" fmla="*/ 22841 h 141435"/>
                  <a:gd name="connsiteX19" fmla="*/ 35757 w 111087"/>
                  <a:gd name="connsiteY19" fmla="*/ 27804 h 141435"/>
                  <a:gd name="connsiteX20" fmla="*/ 31367 w 111087"/>
                  <a:gd name="connsiteY20" fmla="*/ 36266 h 141435"/>
                  <a:gd name="connsiteX21" fmla="*/ 35439 w 111087"/>
                  <a:gd name="connsiteY21" fmla="*/ 44537 h 141435"/>
                  <a:gd name="connsiteX22" fmla="*/ 60761 w 111087"/>
                  <a:gd name="connsiteY22" fmla="*/ 53699 h 141435"/>
                  <a:gd name="connsiteX23" fmla="*/ 90537 w 111087"/>
                  <a:gd name="connsiteY23" fmla="*/ 63560 h 141435"/>
                  <a:gd name="connsiteX24" fmla="*/ 105616 w 111087"/>
                  <a:gd name="connsiteY24" fmla="*/ 77430 h 141435"/>
                  <a:gd name="connsiteX25" fmla="*/ 111087 w 111087"/>
                  <a:gd name="connsiteY25" fmla="*/ 99190 h 141435"/>
                  <a:gd name="connsiteX26" fmla="*/ 104534 w 111087"/>
                  <a:gd name="connsiteY26" fmla="*/ 121204 h 141435"/>
                  <a:gd name="connsiteX27" fmla="*/ 86083 w 111087"/>
                  <a:gd name="connsiteY27" fmla="*/ 136473 h 141435"/>
                  <a:gd name="connsiteX28" fmla="*/ 56371 w 111087"/>
                  <a:gd name="connsiteY28" fmla="*/ 141436 h 141435"/>
                  <a:gd name="connsiteX29" fmla="*/ 16542 w 111087"/>
                  <a:gd name="connsiteY29" fmla="*/ 129475 h 141435"/>
                  <a:gd name="connsiteX30" fmla="*/ 0 w 111087"/>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87" h="141435">
                    <a:moveTo>
                      <a:pt x="0" y="94545"/>
                    </a:moveTo>
                    <a:lnTo>
                      <a:pt x="26849" y="91937"/>
                    </a:lnTo>
                    <a:cubicBezTo>
                      <a:pt x="28440" y="100971"/>
                      <a:pt x="31748" y="107588"/>
                      <a:pt x="36711" y="111787"/>
                    </a:cubicBezTo>
                    <a:cubicBezTo>
                      <a:pt x="41674" y="115986"/>
                      <a:pt x="48291" y="118150"/>
                      <a:pt x="56689" y="118150"/>
                    </a:cubicBezTo>
                    <a:cubicBezTo>
                      <a:pt x="65596" y="118150"/>
                      <a:pt x="72277" y="116304"/>
                      <a:pt x="76794" y="112487"/>
                    </a:cubicBezTo>
                    <a:cubicBezTo>
                      <a:pt x="81311" y="108733"/>
                      <a:pt x="83538" y="104343"/>
                      <a:pt x="83538" y="99317"/>
                    </a:cubicBezTo>
                    <a:cubicBezTo>
                      <a:pt x="83538" y="96072"/>
                      <a:pt x="82584" y="93336"/>
                      <a:pt x="80675" y="91046"/>
                    </a:cubicBezTo>
                    <a:cubicBezTo>
                      <a:pt x="78766" y="88755"/>
                      <a:pt x="75458" y="86783"/>
                      <a:pt x="70750" y="85129"/>
                    </a:cubicBezTo>
                    <a:cubicBezTo>
                      <a:pt x="67505" y="83984"/>
                      <a:pt x="60125" y="82011"/>
                      <a:pt x="48672" y="79148"/>
                    </a:cubicBezTo>
                    <a:cubicBezTo>
                      <a:pt x="33912" y="75458"/>
                      <a:pt x="23477" y="71004"/>
                      <a:pt x="17560" y="65660"/>
                    </a:cubicBezTo>
                    <a:cubicBezTo>
                      <a:pt x="9162" y="58152"/>
                      <a:pt x="4963" y="48990"/>
                      <a:pt x="4963" y="38174"/>
                    </a:cubicBezTo>
                    <a:cubicBezTo>
                      <a:pt x="4963" y="31239"/>
                      <a:pt x="6935" y="24686"/>
                      <a:pt x="10880" y="18642"/>
                    </a:cubicBezTo>
                    <a:cubicBezTo>
                      <a:pt x="14824" y="12598"/>
                      <a:pt x="20487" y="7953"/>
                      <a:pt x="27931" y="4772"/>
                    </a:cubicBezTo>
                    <a:cubicBezTo>
                      <a:pt x="35375" y="1591"/>
                      <a:pt x="44346" y="0"/>
                      <a:pt x="54844" y="0"/>
                    </a:cubicBezTo>
                    <a:cubicBezTo>
                      <a:pt x="72022" y="0"/>
                      <a:pt x="84874" y="3754"/>
                      <a:pt x="93591" y="11262"/>
                    </a:cubicBezTo>
                    <a:cubicBezTo>
                      <a:pt x="102307" y="18769"/>
                      <a:pt x="106825" y="28822"/>
                      <a:pt x="107270" y="41356"/>
                    </a:cubicBezTo>
                    <a:lnTo>
                      <a:pt x="79657" y="42564"/>
                    </a:lnTo>
                    <a:cubicBezTo>
                      <a:pt x="78448" y="35566"/>
                      <a:pt x="75967" y="30476"/>
                      <a:pt x="72086" y="27422"/>
                    </a:cubicBezTo>
                    <a:cubicBezTo>
                      <a:pt x="68205" y="24368"/>
                      <a:pt x="62351" y="22841"/>
                      <a:pt x="54589" y="22841"/>
                    </a:cubicBezTo>
                    <a:cubicBezTo>
                      <a:pt x="46573" y="22841"/>
                      <a:pt x="40274" y="24495"/>
                      <a:pt x="35757" y="27804"/>
                    </a:cubicBezTo>
                    <a:cubicBezTo>
                      <a:pt x="32830" y="29903"/>
                      <a:pt x="31367" y="32766"/>
                      <a:pt x="31367" y="36266"/>
                    </a:cubicBezTo>
                    <a:cubicBezTo>
                      <a:pt x="31367" y="39510"/>
                      <a:pt x="32703" y="42246"/>
                      <a:pt x="35439" y="44537"/>
                    </a:cubicBezTo>
                    <a:cubicBezTo>
                      <a:pt x="38938" y="47463"/>
                      <a:pt x="47400" y="50517"/>
                      <a:pt x="60761" y="53699"/>
                    </a:cubicBezTo>
                    <a:cubicBezTo>
                      <a:pt x="74122" y="56880"/>
                      <a:pt x="84111" y="60125"/>
                      <a:pt x="90537" y="63560"/>
                    </a:cubicBezTo>
                    <a:cubicBezTo>
                      <a:pt x="96963" y="66932"/>
                      <a:pt x="101989" y="71577"/>
                      <a:pt x="105616" y="77430"/>
                    </a:cubicBezTo>
                    <a:cubicBezTo>
                      <a:pt x="109242" y="83284"/>
                      <a:pt x="111087" y="90537"/>
                      <a:pt x="111087" y="99190"/>
                    </a:cubicBezTo>
                    <a:cubicBezTo>
                      <a:pt x="111087" y="107015"/>
                      <a:pt x="108924" y="114332"/>
                      <a:pt x="104534" y="121204"/>
                    </a:cubicBezTo>
                    <a:cubicBezTo>
                      <a:pt x="100144" y="128075"/>
                      <a:pt x="94036" y="133101"/>
                      <a:pt x="86083" y="136473"/>
                    </a:cubicBezTo>
                    <a:cubicBezTo>
                      <a:pt x="78130" y="139782"/>
                      <a:pt x="68205" y="141436"/>
                      <a:pt x="56371" y="141436"/>
                    </a:cubicBezTo>
                    <a:cubicBezTo>
                      <a:pt x="39129" y="141436"/>
                      <a:pt x="25831" y="137428"/>
                      <a:pt x="16542" y="129475"/>
                    </a:cubicBezTo>
                    <a:cubicBezTo>
                      <a:pt x="7380" y="121522"/>
                      <a:pt x="1845" y="109879"/>
                      <a:pt x="0" y="94545"/>
                    </a:cubicBezTo>
                    <a:close/>
                  </a:path>
                </a:pathLst>
              </a:custGeom>
              <a:solidFill>
                <a:srgbClr val="084F45"/>
              </a:solidFill>
              <a:ln w="6361" cap="flat">
                <a:noFill/>
                <a:prstDash val="solid"/>
                <a:miter/>
              </a:ln>
            </p:spPr>
            <p:txBody>
              <a:bodyPr rtlCol="0" anchor="ctr"/>
              <a:lstStyle/>
              <a:p>
                <a:endParaRPr lang="da-DK"/>
              </a:p>
            </p:txBody>
          </p:sp>
        </p:grpSp>
        <p:grpSp>
          <p:nvGrpSpPr>
            <p:cNvPr id="10" name="Graphic 5">
              <a:extLst>
                <a:ext uri="{FF2B5EF4-FFF2-40B4-BE49-F238E27FC236}">
                  <a16:creationId xmlns:a16="http://schemas.microsoft.com/office/drawing/2014/main" id="{09307607-EE28-4912-B147-0A9CEC0F07A2}"/>
                </a:ext>
              </a:extLst>
            </p:cNvPr>
            <p:cNvGrpSpPr/>
            <p:nvPr/>
          </p:nvGrpSpPr>
          <p:grpSpPr>
            <a:xfrm>
              <a:off x="1202622" y="3457567"/>
              <a:ext cx="491876" cy="224401"/>
              <a:chOff x="1202622" y="3457567"/>
              <a:chExt cx="491876" cy="224401"/>
            </a:xfrm>
            <a:solidFill>
              <a:srgbClr val="084F45"/>
            </a:solidFill>
          </p:grpSpPr>
          <p:sp>
            <p:nvSpPr>
              <p:cNvPr id="19" name="Freeform: Shape 18">
                <a:extLst>
                  <a:ext uri="{FF2B5EF4-FFF2-40B4-BE49-F238E27FC236}">
                    <a16:creationId xmlns:a16="http://schemas.microsoft.com/office/drawing/2014/main" id="{28C31192-3221-46CD-9DD4-9C93DA10C02B}"/>
                  </a:ext>
                </a:extLst>
              </p:cNvPr>
              <p:cNvSpPr/>
              <p:nvPr/>
            </p:nvSpPr>
            <p:spPr>
              <a:xfrm>
                <a:off x="1202622" y="3457567"/>
                <a:ext cx="28503" cy="45554"/>
              </a:xfrm>
              <a:custGeom>
                <a:avLst/>
                <a:gdLst>
                  <a:gd name="connsiteX0" fmla="*/ 0 w 28503"/>
                  <a:gd name="connsiteY0" fmla="*/ 45555 h 45554"/>
                  <a:gd name="connsiteX1" fmla="*/ 0 w 28503"/>
                  <a:gd name="connsiteY1" fmla="*/ 0 h 45554"/>
                  <a:gd name="connsiteX2" fmla="*/ 6044 w 28503"/>
                  <a:gd name="connsiteY2" fmla="*/ 0 h 45554"/>
                  <a:gd name="connsiteX3" fmla="*/ 6044 w 28503"/>
                  <a:gd name="connsiteY3" fmla="*/ 40147 h 45554"/>
                  <a:gd name="connsiteX4" fmla="*/ 28504 w 28503"/>
                  <a:gd name="connsiteY4" fmla="*/ 40147 h 45554"/>
                  <a:gd name="connsiteX5" fmla="*/ 28504 w 28503"/>
                  <a:gd name="connsiteY5" fmla="*/ 45491 h 45554"/>
                  <a:gd name="connsiteX6" fmla="*/ 0 w 28503"/>
                  <a:gd name="connsiteY6"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03" h="45554">
                    <a:moveTo>
                      <a:pt x="0" y="45555"/>
                    </a:moveTo>
                    <a:lnTo>
                      <a:pt x="0" y="0"/>
                    </a:lnTo>
                    <a:lnTo>
                      <a:pt x="6044" y="0"/>
                    </a:lnTo>
                    <a:lnTo>
                      <a:pt x="6044" y="40147"/>
                    </a:lnTo>
                    <a:lnTo>
                      <a:pt x="28504" y="40147"/>
                    </a:lnTo>
                    <a:lnTo>
                      <a:pt x="28504" y="45491"/>
                    </a:lnTo>
                    <a:lnTo>
                      <a:pt x="0" y="45491"/>
                    </a:lnTo>
                    <a:close/>
                  </a:path>
                </a:pathLst>
              </a:custGeom>
              <a:solidFill>
                <a:srgbClr val="084F45"/>
              </a:solidFill>
              <a:ln w="6361" cap="flat">
                <a:noFill/>
                <a:prstDash val="solid"/>
                <a:miter/>
              </a:ln>
            </p:spPr>
            <p:txBody>
              <a:bodyPr rtlCol="0" anchor="ctr"/>
              <a:lstStyle/>
              <a:p>
                <a:endParaRPr lang="da-DK"/>
              </a:p>
            </p:txBody>
          </p:sp>
          <p:sp>
            <p:nvSpPr>
              <p:cNvPr id="20" name="Freeform: Shape 19">
                <a:extLst>
                  <a:ext uri="{FF2B5EF4-FFF2-40B4-BE49-F238E27FC236}">
                    <a16:creationId xmlns:a16="http://schemas.microsoft.com/office/drawing/2014/main" id="{2B4D14B4-E40A-453A-9F6A-CB0BC9E2FC94}"/>
                  </a:ext>
                </a:extLst>
              </p:cNvPr>
              <p:cNvSpPr/>
              <p:nvPr/>
            </p:nvSpPr>
            <p:spPr>
              <a:xfrm>
                <a:off x="1235770"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F11A250B-9B14-4154-A164-ECDBA3DD8FDB}"/>
                  </a:ext>
                </a:extLst>
              </p:cNvPr>
              <p:cNvSpPr/>
              <p:nvPr/>
            </p:nvSpPr>
            <p:spPr>
              <a:xfrm>
                <a:off x="126993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07 w 16033"/>
                  <a:gd name="connsiteY11" fmla="*/ 0 h 44918"/>
                  <a:gd name="connsiteX12" fmla="*/ 9607 w 16033"/>
                  <a:gd name="connsiteY12" fmla="*/ 11516 h 44918"/>
                  <a:gd name="connsiteX13" fmla="*/ 15206 w 16033"/>
                  <a:gd name="connsiteY13" fmla="*/ 11516 h 44918"/>
                  <a:gd name="connsiteX14" fmla="*/ 15206 w 16033"/>
                  <a:gd name="connsiteY14" fmla="*/ 15842 h 44918"/>
                  <a:gd name="connsiteX15" fmla="*/ 9607 w 16033"/>
                  <a:gd name="connsiteY15" fmla="*/ 15842 h 44918"/>
                  <a:gd name="connsiteX16" fmla="*/ 9607 w 16033"/>
                  <a:gd name="connsiteY16" fmla="*/ 35120 h 44918"/>
                  <a:gd name="connsiteX17" fmla="*/ 9925 w 16033"/>
                  <a:gd name="connsiteY17" fmla="*/ 38174 h 44918"/>
                  <a:gd name="connsiteX18" fmla="*/ 10880 w 16033"/>
                  <a:gd name="connsiteY18" fmla="*/ 39256 h 44918"/>
                  <a:gd name="connsiteX19" fmla="*/ 12788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07" y="0"/>
                    </a:lnTo>
                    <a:lnTo>
                      <a:pt x="9607" y="11516"/>
                    </a:lnTo>
                    <a:lnTo>
                      <a:pt x="15206" y="11516"/>
                    </a:lnTo>
                    <a:lnTo>
                      <a:pt x="15206" y="15842"/>
                    </a:lnTo>
                    <a:lnTo>
                      <a:pt x="9607" y="15842"/>
                    </a:lnTo>
                    <a:lnTo>
                      <a:pt x="9607" y="35120"/>
                    </a:lnTo>
                    <a:cubicBezTo>
                      <a:pt x="9607" y="36711"/>
                      <a:pt x="9734" y="37729"/>
                      <a:pt x="9925" y="38174"/>
                    </a:cubicBezTo>
                    <a:cubicBezTo>
                      <a:pt x="10116" y="38620"/>
                      <a:pt x="10434" y="39001"/>
                      <a:pt x="10880" y="39256"/>
                    </a:cubicBezTo>
                    <a:cubicBezTo>
                      <a:pt x="11325" y="39510"/>
                      <a:pt x="11961" y="39638"/>
                      <a:pt x="12788"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D829689-5C03-4F33-9338-234966059962}"/>
                  </a:ext>
                </a:extLst>
              </p:cNvPr>
              <p:cNvSpPr/>
              <p:nvPr/>
            </p:nvSpPr>
            <p:spPr>
              <a:xfrm>
                <a:off x="1287623"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8A5C464F-6112-4E69-A6C9-1D474AF2B586}"/>
                  </a:ext>
                </a:extLst>
              </p:cNvPr>
              <p:cNvSpPr/>
              <p:nvPr/>
            </p:nvSpPr>
            <p:spPr>
              <a:xfrm>
                <a:off x="1306456" y="3469401"/>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25" name="Freeform: Shape 24">
                <a:extLst>
                  <a:ext uri="{FF2B5EF4-FFF2-40B4-BE49-F238E27FC236}">
                    <a16:creationId xmlns:a16="http://schemas.microsoft.com/office/drawing/2014/main" id="{36DD6A76-0520-48AE-B957-A61CA7D34D53}"/>
                  </a:ext>
                </a:extLst>
              </p:cNvPr>
              <p:cNvSpPr/>
              <p:nvPr/>
            </p:nvSpPr>
            <p:spPr>
              <a:xfrm>
                <a:off x="1343612" y="3469337"/>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3"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26" name="Freeform: Shape 25">
                <a:extLst>
                  <a:ext uri="{FF2B5EF4-FFF2-40B4-BE49-F238E27FC236}">
                    <a16:creationId xmlns:a16="http://schemas.microsoft.com/office/drawing/2014/main" id="{107BD362-8716-4FA4-8FFA-3083497AD0D6}"/>
                  </a:ext>
                </a:extLst>
              </p:cNvPr>
              <p:cNvSpPr/>
              <p:nvPr/>
            </p:nvSpPr>
            <p:spPr>
              <a:xfrm>
                <a:off x="1363081"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663 w 30412"/>
                  <a:gd name="connsiteY11" fmla="*/ 18642 h 34484"/>
                  <a:gd name="connsiteX12" fmla="*/ 8716 w 30412"/>
                  <a:gd name="connsiteY12" fmla="*/ 26976 h 34484"/>
                  <a:gd name="connsiteX13" fmla="*/ 15588 w 30412"/>
                  <a:gd name="connsiteY13" fmla="*/ 29840 h 34484"/>
                  <a:gd name="connsiteX14" fmla="*/ 20869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663" y="18642"/>
                    </a:lnTo>
                    <a:cubicBezTo>
                      <a:pt x="5853" y="22268"/>
                      <a:pt x="6871" y="25068"/>
                      <a:pt x="8716" y="26976"/>
                    </a:cubicBezTo>
                    <a:cubicBezTo>
                      <a:pt x="10562" y="28885"/>
                      <a:pt x="12852" y="29840"/>
                      <a:pt x="15588" y="29840"/>
                    </a:cubicBezTo>
                    <a:cubicBezTo>
                      <a:pt x="17624" y="29840"/>
                      <a:pt x="19405" y="29331"/>
                      <a:pt x="20869"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27" name="Freeform: Shape 26">
                <a:extLst>
                  <a:ext uri="{FF2B5EF4-FFF2-40B4-BE49-F238E27FC236}">
                    <a16:creationId xmlns:a16="http://schemas.microsoft.com/office/drawing/2014/main" id="{3E20457A-586D-4BFF-A950-66A1E43251DD}"/>
                  </a:ext>
                </a:extLst>
              </p:cNvPr>
              <p:cNvSpPr/>
              <p:nvPr/>
            </p:nvSpPr>
            <p:spPr>
              <a:xfrm>
                <a:off x="1415698" y="3469337"/>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28" name="Freeform: Shape 27">
                <a:extLst>
                  <a:ext uri="{FF2B5EF4-FFF2-40B4-BE49-F238E27FC236}">
                    <a16:creationId xmlns:a16="http://schemas.microsoft.com/office/drawing/2014/main" id="{71F06945-ADA2-411E-ACDD-6A72B1460E5C}"/>
                  </a:ext>
                </a:extLst>
              </p:cNvPr>
              <p:cNvSpPr/>
              <p:nvPr/>
            </p:nvSpPr>
            <p:spPr>
              <a:xfrm>
                <a:off x="144674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8"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9" name="Freeform: Shape 28">
                <a:extLst>
                  <a:ext uri="{FF2B5EF4-FFF2-40B4-BE49-F238E27FC236}">
                    <a16:creationId xmlns:a16="http://schemas.microsoft.com/office/drawing/2014/main" id="{FAADC1BD-5FC6-47B8-BEAA-19D3D0BCC040}"/>
                  </a:ext>
                </a:extLst>
              </p:cNvPr>
              <p:cNvSpPr/>
              <p:nvPr/>
            </p:nvSpPr>
            <p:spPr>
              <a:xfrm>
                <a:off x="1467297" y="3470164"/>
                <a:ext cx="26658" cy="33720"/>
              </a:xfrm>
              <a:custGeom>
                <a:avLst/>
                <a:gdLst>
                  <a:gd name="connsiteX0" fmla="*/ 21696 w 26658"/>
                  <a:gd name="connsiteY0" fmla="*/ 32957 h 33720"/>
                  <a:gd name="connsiteX1" fmla="*/ 21696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696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696" y="32957"/>
                    </a:moveTo>
                    <a:lnTo>
                      <a:pt x="21696" y="28122"/>
                    </a:lnTo>
                    <a:cubicBezTo>
                      <a:pt x="19151" y="31876"/>
                      <a:pt x="15651"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35" y="25704"/>
                      <a:pt x="6999" y="26849"/>
                      <a:pt x="8144" y="27676"/>
                    </a:cubicBezTo>
                    <a:cubicBezTo>
                      <a:pt x="9289" y="28504"/>
                      <a:pt x="10689" y="28949"/>
                      <a:pt x="12343" y="28949"/>
                    </a:cubicBezTo>
                    <a:cubicBezTo>
                      <a:pt x="13997" y="28949"/>
                      <a:pt x="15588" y="28504"/>
                      <a:pt x="17051" y="27676"/>
                    </a:cubicBezTo>
                    <a:cubicBezTo>
                      <a:pt x="18514" y="26849"/>
                      <a:pt x="19532" y="25640"/>
                      <a:pt x="20169" y="24177"/>
                    </a:cubicBezTo>
                    <a:cubicBezTo>
                      <a:pt x="20805" y="22714"/>
                      <a:pt x="21059" y="20551"/>
                      <a:pt x="21059" y="17751"/>
                    </a:cubicBezTo>
                    <a:lnTo>
                      <a:pt x="21059" y="64"/>
                    </a:lnTo>
                    <a:lnTo>
                      <a:pt x="26658" y="64"/>
                    </a:lnTo>
                    <a:lnTo>
                      <a:pt x="26658" y="33085"/>
                    </a:lnTo>
                    <a:lnTo>
                      <a:pt x="21696" y="33085"/>
                    </a:lnTo>
                    <a:close/>
                  </a:path>
                </a:pathLst>
              </a:custGeom>
              <a:solidFill>
                <a:srgbClr val="084F45"/>
              </a:solidFill>
              <a:ln w="6361" cap="flat">
                <a:noFill/>
                <a:prstDash val="solid"/>
                <a:miter/>
              </a:ln>
            </p:spPr>
            <p:txBody>
              <a:bodyPr rtlCol="0" anchor="ctr"/>
              <a:lstStyle/>
              <a:p>
                <a:endParaRPr lang="da-DK"/>
              </a:p>
            </p:txBody>
          </p:sp>
          <p:sp>
            <p:nvSpPr>
              <p:cNvPr id="30" name="Freeform: Shape 29">
                <a:extLst>
                  <a:ext uri="{FF2B5EF4-FFF2-40B4-BE49-F238E27FC236}">
                    <a16:creationId xmlns:a16="http://schemas.microsoft.com/office/drawing/2014/main" id="{18464ACF-6D75-487E-9713-F70E0AB427F1}"/>
                  </a:ext>
                </a:extLst>
              </p:cNvPr>
              <p:cNvSpPr/>
              <p:nvPr/>
            </p:nvSpPr>
            <p:spPr>
              <a:xfrm>
                <a:off x="1500700" y="3457567"/>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8"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solidFill>
                <a:srgbClr val="084F45"/>
              </a:solidFill>
              <a:ln w="6361" cap="flat">
                <a:noFill/>
                <a:prstDash val="solid"/>
                <a:miter/>
              </a:ln>
            </p:spPr>
            <p:txBody>
              <a:bodyPr rtlCol="0" anchor="ctr"/>
              <a:lstStyle/>
              <a:p>
                <a:endParaRPr lang="da-DK"/>
              </a:p>
            </p:txBody>
          </p:sp>
          <p:sp>
            <p:nvSpPr>
              <p:cNvPr id="31" name="Freeform: Shape 30">
                <a:extLst>
                  <a:ext uri="{FF2B5EF4-FFF2-40B4-BE49-F238E27FC236}">
                    <a16:creationId xmlns:a16="http://schemas.microsoft.com/office/drawing/2014/main" id="{5B3AFFFE-7749-4587-827D-ACABF83416A1}"/>
                  </a:ext>
                </a:extLst>
              </p:cNvPr>
              <p:cNvSpPr/>
              <p:nvPr/>
            </p:nvSpPr>
            <p:spPr>
              <a:xfrm>
                <a:off x="1538238"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2" name="Freeform: Shape 31">
                <a:extLst>
                  <a:ext uri="{FF2B5EF4-FFF2-40B4-BE49-F238E27FC236}">
                    <a16:creationId xmlns:a16="http://schemas.microsoft.com/office/drawing/2014/main" id="{F40778D0-8E13-4C07-8DF3-F8385934D2BD}"/>
                  </a:ext>
                </a:extLst>
              </p:cNvPr>
              <p:cNvSpPr/>
              <p:nvPr/>
            </p:nvSpPr>
            <p:spPr>
              <a:xfrm>
                <a:off x="1550517"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33" name="Freeform: Shape 32">
                <a:extLst>
                  <a:ext uri="{FF2B5EF4-FFF2-40B4-BE49-F238E27FC236}">
                    <a16:creationId xmlns:a16="http://schemas.microsoft.com/office/drawing/2014/main" id="{34E3C99E-7C64-4BD2-8F78-79272CEB799D}"/>
                  </a:ext>
                </a:extLst>
              </p:cNvPr>
              <p:cNvSpPr/>
              <p:nvPr/>
            </p:nvSpPr>
            <p:spPr>
              <a:xfrm>
                <a:off x="1587546" y="3457567"/>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4" name="Freeform: Shape 33">
                <a:extLst>
                  <a:ext uri="{FF2B5EF4-FFF2-40B4-BE49-F238E27FC236}">
                    <a16:creationId xmlns:a16="http://schemas.microsoft.com/office/drawing/2014/main" id="{4A4BBB5B-0B62-479A-BDA7-D80CC4460D8F}"/>
                  </a:ext>
                </a:extLst>
              </p:cNvPr>
              <p:cNvSpPr/>
              <p:nvPr/>
            </p:nvSpPr>
            <p:spPr>
              <a:xfrm>
                <a:off x="1601862"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5" name="Freeform: Shape 34">
                <a:extLst>
                  <a:ext uri="{FF2B5EF4-FFF2-40B4-BE49-F238E27FC236}">
                    <a16:creationId xmlns:a16="http://schemas.microsoft.com/office/drawing/2014/main" id="{A68C56E8-5FA4-48AA-89B1-48C70670877D}"/>
                  </a:ext>
                </a:extLst>
              </p:cNvPr>
              <p:cNvSpPr/>
              <p:nvPr/>
            </p:nvSpPr>
            <p:spPr>
              <a:xfrm>
                <a:off x="1612614" y="3470100"/>
                <a:ext cx="30221" cy="33020"/>
              </a:xfrm>
              <a:custGeom>
                <a:avLst/>
                <a:gdLst>
                  <a:gd name="connsiteX0" fmla="*/ 12534 w 30221"/>
                  <a:gd name="connsiteY0" fmla="*/ 33021 h 33020"/>
                  <a:gd name="connsiteX1" fmla="*/ 0 w 30221"/>
                  <a:gd name="connsiteY1" fmla="*/ 0 h 33020"/>
                  <a:gd name="connsiteX2" fmla="*/ 5917 w 30221"/>
                  <a:gd name="connsiteY2" fmla="*/ 0 h 33020"/>
                  <a:gd name="connsiteX3" fmla="*/ 12979 w 30221"/>
                  <a:gd name="connsiteY3" fmla="*/ 19787 h 33020"/>
                  <a:gd name="connsiteX4" fmla="*/ 15079 w 30221"/>
                  <a:gd name="connsiteY4" fmla="*/ 26404 h 33020"/>
                  <a:gd name="connsiteX5" fmla="*/ 17178 w 30221"/>
                  <a:gd name="connsiteY5" fmla="*/ 20105 h 33020"/>
                  <a:gd name="connsiteX6" fmla="*/ 24495 w 30221"/>
                  <a:gd name="connsiteY6" fmla="*/ 0 h 33020"/>
                  <a:gd name="connsiteX7" fmla="*/ 30221 w 30221"/>
                  <a:gd name="connsiteY7" fmla="*/ 0 h 33020"/>
                  <a:gd name="connsiteX8" fmla="*/ 17751 w 30221"/>
                  <a:gd name="connsiteY8" fmla="*/ 33021 h 33020"/>
                  <a:gd name="connsiteX9" fmla="*/ 12534 w 30221"/>
                  <a:gd name="connsiteY9" fmla="*/ 33021 h 3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21" h="33020">
                    <a:moveTo>
                      <a:pt x="12534" y="33021"/>
                    </a:moveTo>
                    <a:lnTo>
                      <a:pt x="0" y="0"/>
                    </a:lnTo>
                    <a:lnTo>
                      <a:pt x="5917" y="0"/>
                    </a:lnTo>
                    <a:lnTo>
                      <a:pt x="12979" y="19787"/>
                    </a:lnTo>
                    <a:cubicBezTo>
                      <a:pt x="13743" y="21887"/>
                      <a:pt x="14443" y="24114"/>
                      <a:pt x="15079" y="26404"/>
                    </a:cubicBezTo>
                    <a:cubicBezTo>
                      <a:pt x="15588" y="24686"/>
                      <a:pt x="16288" y="22587"/>
                      <a:pt x="17178" y="20105"/>
                    </a:cubicBezTo>
                    <a:lnTo>
                      <a:pt x="24495" y="0"/>
                    </a:lnTo>
                    <a:lnTo>
                      <a:pt x="30221" y="0"/>
                    </a:lnTo>
                    <a:lnTo>
                      <a:pt x="17751" y="33021"/>
                    </a:lnTo>
                    <a:lnTo>
                      <a:pt x="12534" y="33021"/>
                    </a:lnTo>
                    <a:close/>
                  </a:path>
                </a:pathLst>
              </a:custGeom>
              <a:solidFill>
                <a:srgbClr val="084F45"/>
              </a:solidFill>
              <a:ln w="6361" cap="flat">
                <a:noFill/>
                <a:prstDash val="solid"/>
                <a:miter/>
              </a:ln>
            </p:spPr>
            <p:txBody>
              <a:bodyPr rtlCol="0" anchor="ctr"/>
              <a:lstStyle/>
              <a:p>
                <a:endParaRPr lang="da-DK"/>
              </a:p>
            </p:txBody>
          </p:sp>
          <p:sp>
            <p:nvSpPr>
              <p:cNvPr id="36" name="Freeform: Shape 35">
                <a:extLst>
                  <a:ext uri="{FF2B5EF4-FFF2-40B4-BE49-F238E27FC236}">
                    <a16:creationId xmlns:a16="http://schemas.microsoft.com/office/drawing/2014/main" id="{F82E92B3-61BD-4069-93FB-B25A986D7864}"/>
                  </a:ext>
                </a:extLst>
              </p:cNvPr>
              <p:cNvSpPr/>
              <p:nvPr/>
            </p:nvSpPr>
            <p:spPr>
              <a:xfrm>
                <a:off x="1644617" y="3496759"/>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sp>
            <p:nvSpPr>
              <p:cNvPr id="37" name="Freeform: Shape 36">
                <a:extLst>
                  <a:ext uri="{FF2B5EF4-FFF2-40B4-BE49-F238E27FC236}">
                    <a16:creationId xmlns:a16="http://schemas.microsoft.com/office/drawing/2014/main" id="{69C69B18-8665-4D33-BD96-BA281E91CBE6}"/>
                  </a:ext>
                </a:extLst>
              </p:cNvPr>
              <p:cNvSpPr/>
              <p:nvPr/>
            </p:nvSpPr>
            <p:spPr>
              <a:xfrm>
                <a:off x="1203194" y="3540278"/>
                <a:ext cx="30730" cy="45554"/>
              </a:xfrm>
              <a:custGeom>
                <a:avLst/>
                <a:gdLst>
                  <a:gd name="connsiteX0" fmla="*/ 0 w 30730"/>
                  <a:gd name="connsiteY0" fmla="*/ 45555 h 45554"/>
                  <a:gd name="connsiteX1" fmla="*/ 0 w 30730"/>
                  <a:gd name="connsiteY1" fmla="*/ 0 h 45554"/>
                  <a:gd name="connsiteX2" fmla="*/ 30730 w 30730"/>
                  <a:gd name="connsiteY2" fmla="*/ 0 h 45554"/>
                  <a:gd name="connsiteX3" fmla="*/ 30730 w 30730"/>
                  <a:gd name="connsiteY3" fmla="*/ 5344 h 45554"/>
                  <a:gd name="connsiteX4" fmla="*/ 6044 w 30730"/>
                  <a:gd name="connsiteY4" fmla="*/ 5344 h 45554"/>
                  <a:gd name="connsiteX5" fmla="*/ 6044 w 30730"/>
                  <a:gd name="connsiteY5" fmla="*/ 19469 h 45554"/>
                  <a:gd name="connsiteX6" fmla="*/ 27422 w 30730"/>
                  <a:gd name="connsiteY6" fmla="*/ 19469 h 45554"/>
                  <a:gd name="connsiteX7" fmla="*/ 27422 w 30730"/>
                  <a:gd name="connsiteY7" fmla="*/ 24813 h 45554"/>
                  <a:gd name="connsiteX8" fmla="*/ 6044 w 30730"/>
                  <a:gd name="connsiteY8" fmla="*/ 24813 h 45554"/>
                  <a:gd name="connsiteX9" fmla="*/ 6044 w 30730"/>
                  <a:gd name="connsiteY9" fmla="*/ 45491 h 45554"/>
                  <a:gd name="connsiteX10" fmla="*/ 0 w 30730"/>
                  <a:gd name="connsiteY10"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30" h="45554">
                    <a:moveTo>
                      <a:pt x="0" y="45555"/>
                    </a:moveTo>
                    <a:lnTo>
                      <a:pt x="0" y="0"/>
                    </a:lnTo>
                    <a:lnTo>
                      <a:pt x="30730" y="0"/>
                    </a:lnTo>
                    <a:lnTo>
                      <a:pt x="30730" y="5344"/>
                    </a:lnTo>
                    <a:lnTo>
                      <a:pt x="6044" y="5344"/>
                    </a:lnTo>
                    <a:lnTo>
                      <a:pt x="6044" y="19469"/>
                    </a:lnTo>
                    <a:lnTo>
                      <a:pt x="27422" y="19469"/>
                    </a:lnTo>
                    <a:lnTo>
                      <a:pt x="27422" y="24813"/>
                    </a:lnTo>
                    <a:lnTo>
                      <a:pt x="6044" y="24813"/>
                    </a:lnTo>
                    <a:lnTo>
                      <a:pt x="6044" y="45491"/>
                    </a:lnTo>
                    <a:lnTo>
                      <a:pt x="0" y="45491"/>
                    </a:lnTo>
                    <a:close/>
                  </a:path>
                </a:pathLst>
              </a:custGeom>
              <a:solidFill>
                <a:srgbClr val="084F45"/>
              </a:solidFill>
              <a:ln w="6361" cap="flat">
                <a:noFill/>
                <a:prstDash val="solid"/>
                <a:miter/>
              </a:ln>
            </p:spPr>
            <p:txBody>
              <a:bodyPr rtlCol="0" anchor="ctr"/>
              <a:lstStyle/>
              <a:p>
                <a:endParaRPr lang="da-DK"/>
              </a:p>
            </p:txBody>
          </p:sp>
          <p:sp>
            <p:nvSpPr>
              <p:cNvPr id="38" name="Freeform: Shape 37">
                <a:extLst>
                  <a:ext uri="{FF2B5EF4-FFF2-40B4-BE49-F238E27FC236}">
                    <a16:creationId xmlns:a16="http://schemas.microsoft.com/office/drawing/2014/main" id="{2F837863-9B2C-4419-A128-5E75C204B9A1}"/>
                  </a:ext>
                </a:extLst>
              </p:cNvPr>
              <p:cNvSpPr/>
              <p:nvPr/>
            </p:nvSpPr>
            <p:spPr>
              <a:xfrm>
                <a:off x="1238824" y="3551921"/>
                <a:ext cx="51853" cy="34611"/>
              </a:xfrm>
              <a:custGeom>
                <a:avLst/>
                <a:gdLst>
                  <a:gd name="connsiteX0" fmla="*/ 51853 w 51853"/>
                  <a:gd name="connsiteY0" fmla="*/ 23795 h 34611"/>
                  <a:gd name="connsiteX1" fmla="*/ 46573 w 51853"/>
                  <a:gd name="connsiteY1" fmla="*/ 31812 h 34611"/>
                  <a:gd name="connsiteX2" fmla="*/ 37284 w 51853"/>
                  <a:gd name="connsiteY2" fmla="*/ 34611 h 34611"/>
                  <a:gd name="connsiteX3" fmla="*/ 30349 w 51853"/>
                  <a:gd name="connsiteY3" fmla="*/ 33148 h 34611"/>
                  <a:gd name="connsiteX4" fmla="*/ 25004 w 51853"/>
                  <a:gd name="connsiteY4" fmla="*/ 28503 h 34611"/>
                  <a:gd name="connsiteX5" fmla="*/ 18451 w 51853"/>
                  <a:gd name="connsiteY5" fmla="*/ 33148 h 34611"/>
                  <a:gd name="connsiteX6" fmla="*/ 11325 w 51853"/>
                  <a:gd name="connsiteY6" fmla="*/ 34611 h 34611"/>
                  <a:gd name="connsiteX7" fmla="*/ 2990 w 51853"/>
                  <a:gd name="connsiteY7" fmla="*/ 31875 h 34611"/>
                  <a:gd name="connsiteX8" fmla="*/ 0 w 51853"/>
                  <a:gd name="connsiteY8" fmla="*/ 25195 h 34611"/>
                  <a:gd name="connsiteX9" fmla="*/ 1527 w 51853"/>
                  <a:gd name="connsiteY9" fmla="*/ 20169 h 34611"/>
                  <a:gd name="connsiteX10" fmla="*/ 5790 w 51853"/>
                  <a:gd name="connsiteY10" fmla="*/ 16606 h 34611"/>
                  <a:gd name="connsiteX11" fmla="*/ 14570 w 51853"/>
                  <a:gd name="connsiteY11" fmla="*/ 14633 h 34611"/>
                  <a:gd name="connsiteX12" fmla="*/ 22396 w 51853"/>
                  <a:gd name="connsiteY12" fmla="*/ 13107 h 34611"/>
                  <a:gd name="connsiteX13" fmla="*/ 22459 w 51853"/>
                  <a:gd name="connsiteY13" fmla="*/ 11834 h 34611"/>
                  <a:gd name="connsiteX14" fmla="*/ 20805 w 51853"/>
                  <a:gd name="connsiteY14" fmla="*/ 6362 h 34611"/>
                  <a:gd name="connsiteX15" fmla="*/ 15079 w 51853"/>
                  <a:gd name="connsiteY15" fmla="*/ 4772 h 34611"/>
                  <a:gd name="connsiteX16" fmla="*/ 10498 w 51853"/>
                  <a:gd name="connsiteY16" fmla="*/ 5408 h 34611"/>
                  <a:gd name="connsiteX17" fmla="*/ 7762 w 51853"/>
                  <a:gd name="connsiteY17" fmla="*/ 7253 h 34611"/>
                  <a:gd name="connsiteX18" fmla="*/ 6299 w 51853"/>
                  <a:gd name="connsiteY18" fmla="*/ 11070 h 34611"/>
                  <a:gd name="connsiteX19" fmla="*/ 891 w 51853"/>
                  <a:gd name="connsiteY19" fmla="*/ 10434 h 34611"/>
                  <a:gd name="connsiteX20" fmla="*/ 3372 w 51853"/>
                  <a:gd name="connsiteY20" fmla="*/ 4644 h 34611"/>
                  <a:gd name="connsiteX21" fmla="*/ 8017 w 51853"/>
                  <a:gd name="connsiteY21" fmla="*/ 1272 h 34611"/>
                  <a:gd name="connsiteX22" fmla="*/ 15142 w 51853"/>
                  <a:gd name="connsiteY22" fmla="*/ 63 h 34611"/>
                  <a:gd name="connsiteX23" fmla="*/ 23477 w 51853"/>
                  <a:gd name="connsiteY23" fmla="*/ 1591 h 34611"/>
                  <a:gd name="connsiteX24" fmla="*/ 26531 w 51853"/>
                  <a:gd name="connsiteY24" fmla="*/ 4454 h 34611"/>
                  <a:gd name="connsiteX25" fmla="*/ 31048 w 51853"/>
                  <a:gd name="connsiteY25" fmla="*/ 1145 h 34611"/>
                  <a:gd name="connsiteX26" fmla="*/ 37156 w 51853"/>
                  <a:gd name="connsiteY26" fmla="*/ 0 h 34611"/>
                  <a:gd name="connsiteX27" fmla="*/ 45491 w 51853"/>
                  <a:gd name="connsiteY27" fmla="*/ 2418 h 34611"/>
                  <a:gd name="connsiteX28" fmla="*/ 50326 w 51853"/>
                  <a:gd name="connsiteY28" fmla="*/ 8844 h 34611"/>
                  <a:gd name="connsiteX29" fmla="*/ 51853 w 51853"/>
                  <a:gd name="connsiteY29" fmla="*/ 16733 h 34611"/>
                  <a:gd name="connsiteX30" fmla="*/ 51790 w 51853"/>
                  <a:gd name="connsiteY30" fmla="*/ 18642 h 34611"/>
                  <a:gd name="connsiteX31" fmla="*/ 28122 w 51853"/>
                  <a:gd name="connsiteY31" fmla="*/ 18642 h 34611"/>
                  <a:gd name="connsiteX32" fmla="*/ 29203 w 51853"/>
                  <a:gd name="connsiteY32" fmla="*/ 25131 h 34611"/>
                  <a:gd name="connsiteX33" fmla="*/ 32512 w 51853"/>
                  <a:gd name="connsiteY33" fmla="*/ 28503 h 34611"/>
                  <a:gd name="connsiteX34" fmla="*/ 37538 w 51853"/>
                  <a:gd name="connsiteY34" fmla="*/ 29840 h 34611"/>
                  <a:gd name="connsiteX35" fmla="*/ 42946 w 51853"/>
                  <a:gd name="connsiteY35" fmla="*/ 27994 h 34611"/>
                  <a:gd name="connsiteX36" fmla="*/ 46000 w 51853"/>
                  <a:gd name="connsiteY36" fmla="*/ 22841 h 34611"/>
                  <a:gd name="connsiteX37" fmla="*/ 51853 w 51853"/>
                  <a:gd name="connsiteY37" fmla="*/ 23795 h 34611"/>
                  <a:gd name="connsiteX38" fmla="*/ 22650 w 51853"/>
                  <a:gd name="connsiteY38" fmla="*/ 17306 h 34611"/>
                  <a:gd name="connsiteX39" fmla="*/ 12661 w 51853"/>
                  <a:gd name="connsiteY39" fmla="*/ 19596 h 34611"/>
                  <a:gd name="connsiteX40" fmla="*/ 7889 w 51853"/>
                  <a:gd name="connsiteY40" fmla="*/ 21187 h 34611"/>
                  <a:gd name="connsiteX41" fmla="*/ 6044 w 51853"/>
                  <a:gd name="connsiteY41" fmla="*/ 25004 h 34611"/>
                  <a:gd name="connsiteX42" fmla="*/ 7698 w 51853"/>
                  <a:gd name="connsiteY42" fmla="*/ 28694 h 34611"/>
                  <a:gd name="connsiteX43" fmla="*/ 12470 w 51853"/>
                  <a:gd name="connsiteY43" fmla="*/ 30221 h 34611"/>
                  <a:gd name="connsiteX44" fmla="*/ 18705 w 51853"/>
                  <a:gd name="connsiteY44" fmla="*/ 28440 h 34611"/>
                  <a:gd name="connsiteX45" fmla="*/ 22141 w 51853"/>
                  <a:gd name="connsiteY45" fmla="*/ 24050 h 34611"/>
                  <a:gd name="connsiteX46" fmla="*/ 22650 w 51853"/>
                  <a:gd name="connsiteY46" fmla="*/ 17306 h 34611"/>
                  <a:gd name="connsiteX47" fmla="*/ 28122 w 51853"/>
                  <a:gd name="connsiteY47" fmla="*/ 14188 h 34611"/>
                  <a:gd name="connsiteX48" fmla="*/ 46255 w 51853"/>
                  <a:gd name="connsiteY48" fmla="*/ 14188 h 34611"/>
                  <a:gd name="connsiteX49" fmla="*/ 43455 w 51853"/>
                  <a:gd name="connsiteY49" fmla="*/ 6999 h 34611"/>
                  <a:gd name="connsiteX50" fmla="*/ 37284 w 51853"/>
                  <a:gd name="connsiteY50" fmla="*/ 4708 h 34611"/>
                  <a:gd name="connsiteX51" fmla="*/ 30858 w 51853"/>
                  <a:gd name="connsiteY51" fmla="*/ 7190 h 34611"/>
                  <a:gd name="connsiteX52" fmla="*/ 28122 w 51853"/>
                  <a:gd name="connsiteY52" fmla="*/ 14188 h 3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853" h="34611">
                    <a:moveTo>
                      <a:pt x="51853" y="23795"/>
                    </a:moveTo>
                    <a:cubicBezTo>
                      <a:pt x="50835" y="27231"/>
                      <a:pt x="49054" y="29903"/>
                      <a:pt x="46573" y="31812"/>
                    </a:cubicBezTo>
                    <a:cubicBezTo>
                      <a:pt x="44091" y="33721"/>
                      <a:pt x="40974" y="34611"/>
                      <a:pt x="37284" y="34611"/>
                    </a:cubicBezTo>
                    <a:cubicBezTo>
                      <a:pt x="34675" y="34611"/>
                      <a:pt x="32321" y="34102"/>
                      <a:pt x="30349" y="33148"/>
                    </a:cubicBezTo>
                    <a:cubicBezTo>
                      <a:pt x="28376" y="32194"/>
                      <a:pt x="26595" y="30603"/>
                      <a:pt x="25004" y="28503"/>
                    </a:cubicBezTo>
                    <a:cubicBezTo>
                      <a:pt x="22841" y="30603"/>
                      <a:pt x="20678" y="32194"/>
                      <a:pt x="18451" y="33148"/>
                    </a:cubicBezTo>
                    <a:cubicBezTo>
                      <a:pt x="16224" y="34102"/>
                      <a:pt x="13870" y="34611"/>
                      <a:pt x="11325" y="34611"/>
                    </a:cubicBezTo>
                    <a:cubicBezTo>
                      <a:pt x="7762" y="34611"/>
                      <a:pt x="4963" y="33721"/>
                      <a:pt x="2990" y="31875"/>
                    </a:cubicBezTo>
                    <a:cubicBezTo>
                      <a:pt x="1018" y="30030"/>
                      <a:pt x="0" y="27804"/>
                      <a:pt x="0" y="25195"/>
                    </a:cubicBezTo>
                    <a:cubicBezTo>
                      <a:pt x="0" y="23414"/>
                      <a:pt x="509" y="21759"/>
                      <a:pt x="1527" y="20169"/>
                    </a:cubicBezTo>
                    <a:cubicBezTo>
                      <a:pt x="2545" y="18578"/>
                      <a:pt x="4008" y="17433"/>
                      <a:pt x="5790" y="16606"/>
                    </a:cubicBezTo>
                    <a:cubicBezTo>
                      <a:pt x="7571" y="15779"/>
                      <a:pt x="10562" y="15143"/>
                      <a:pt x="14570" y="14633"/>
                    </a:cubicBezTo>
                    <a:cubicBezTo>
                      <a:pt x="17687" y="14188"/>
                      <a:pt x="20296" y="13679"/>
                      <a:pt x="22396" y="13107"/>
                    </a:cubicBezTo>
                    <a:cubicBezTo>
                      <a:pt x="22396" y="12597"/>
                      <a:pt x="22459" y="12152"/>
                      <a:pt x="22459" y="11834"/>
                    </a:cubicBezTo>
                    <a:cubicBezTo>
                      <a:pt x="22459" y="9225"/>
                      <a:pt x="21887" y="7380"/>
                      <a:pt x="20805" y="6362"/>
                    </a:cubicBezTo>
                    <a:cubicBezTo>
                      <a:pt x="19723" y="5344"/>
                      <a:pt x="17815" y="4772"/>
                      <a:pt x="15079" y="4772"/>
                    </a:cubicBezTo>
                    <a:cubicBezTo>
                      <a:pt x="13297" y="4772"/>
                      <a:pt x="11770" y="4963"/>
                      <a:pt x="10498" y="5408"/>
                    </a:cubicBezTo>
                    <a:cubicBezTo>
                      <a:pt x="9225" y="5853"/>
                      <a:pt x="8335" y="6490"/>
                      <a:pt x="7762" y="7253"/>
                    </a:cubicBezTo>
                    <a:cubicBezTo>
                      <a:pt x="7189" y="8080"/>
                      <a:pt x="6680" y="9353"/>
                      <a:pt x="6299" y="11070"/>
                    </a:cubicBezTo>
                    <a:lnTo>
                      <a:pt x="891" y="10434"/>
                    </a:lnTo>
                    <a:cubicBezTo>
                      <a:pt x="1463" y="8016"/>
                      <a:pt x="2290" y="6108"/>
                      <a:pt x="3372" y="4644"/>
                    </a:cubicBezTo>
                    <a:cubicBezTo>
                      <a:pt x="4454" y="3245"/>
                      <a:pt x="6044" y="2100"/>
                      <a:pt x="8017" y="1272"/>
                    </a:cubicBezTo>
                    <a:cubicBezTo>
                      <a:pt x="10053" y="445"/>
                      <a:pt x="12407" y="63"/>
                      <a:pt x="15142" y="63"/>
                    </a:cubicBezTo>
                    <a:cubicBezTo>
                      <a:pt x="18578" y="63"/>
                      <a:pt x="21378" y="573"/>
                      <a:pt x="23477" y="1591"/>
                    </a:cubicBezTo>
                    <a:cubicBezTo>
                      <a:pt x="24686" y="2163"/>
                      <a:pt x="25704" y="3181"/>
                      <a:pt x="26531" y="4454"/>
                    </a:cubicBezTo>
                    <a:cubicBezTo>
                      <a:pt x="27867" y="2990"/>
                      <a:pt x="29331" y="1909"/>
                      <a:pt x="31048" y="1145"/>
                    </a:cubicBezTo>
                    <a:cubicBezTo>
                      <a:pt x="32703" y="382"/>
                      <a:pt x="34739" y="0"/>
                      <a:pt x="37156" y="0"/>
                    </a:cubicBezTo>
                    <a:cubicBezTo>
                      <a:pt x="40528" y="0"/>
                      <a:pt x="43264" y="827"/>
                      <a:pt x="45491" y="2418"/>
                    </a:cubicBezTo>
                    <a:cubicBezTo>
                      <a:pt x="47718" y="4008"/>
                      <a:pt x="49309" y="6172"/>
                      <a:pt x="50326" y="8844"/>
                    </a:cubicBezTo>
                    <a:cubicBezTo>
                      <a:pt x="51344" y="11516"/>
                      <a:pt x="51853" y="14125"/>
                      <a:pt x="51853" y="16733"/>
                    </a:cubicBezTo>
                    <a:cubicBezTo>
                      <a:pt x="51853" y="17115"/>
                      <a:pt x="51853" y="17751"/>
                      <a:pt x="51790" y="18642"/>
                    </a:cubicBezTo>
                    <a:lnTo>
                      <a:pt x="28122" y="18642"/>
                    </a:lnTo>
                    <a:cubicBezTo>
                      <a:pt x="28185" y="21632"/>
                      <a:pt x="28503" y="23795"/>
                      <a:pt x="29203" y="25131"/>
                    </a:cubicBezTo>
                    <a:cubicBezTo>
                      <a:pt x="29903" y="26468"/>
                      <a:pt x="30985" y="27613"/>
                      <a:pt x="32512" y="28503"/>
                    </a:cubicBezTo>
                    <a:cubicBezTo>
                      <a:pt x="34039" y="29394"/>
                      <a:pt x="35693" y="29840"/>
                      <a:pt x="37538" y="29840"/>
                    </a:cubicBezTo>
                    <a:cubicBezTo>
                      <a:pt x="39638" y="29840"/>
                      <a:pt x="41483" y="29203"/>
                      <a:pt x="42946" y="27994"/>
                    </a:cubicBezTo>
                    <a:cubicBezTo>
                      <a:pt x="44409" y="26786"/>
                      <a:pt x="45427" y="25068"/>
                      <a:pt x="46000" y="22841"/>
                    </a:cubicBezTo>
                    <a:lnTo>
                      <a:pt x="51853" y="23795"/>
                    </a:lnTo>
                    <a:close/>
                    <a:moveTo>
                      <a:pt x="22650" y="17306"/>
                    </a:moveTo>
                    <a:cubicBezTo>
                      <a:pt x="20996" y="18005"/>
                      <a:pt x="17687" y="18769"/>
                      <a:pt x="12661" y="19596"/>
                    </a:cubicBezTo>
                    <a:cubicBezTo>
                      <a:pt x="10371" y="19978"/>
                      <a:pt x="8844" y="20487"/>
                      <a:pt x="7889" y="21187"/>
                    </a:cubicBezTo>
                    <a:cubicBezTo>
                      <a:pt x="6680" y="22141"/>
                      <a:pt x="6044" y="23414"/>
                      <a:pt x="6044" y="25004"/>
                    </a:cubicBezTo>
                    <a:cubicBezTo>
                      <a:pt x="6044" y="26468"/>
                      <a:pt x="6617" y="27740"/>
                      <a:pt x="7698" y="28694"/>
                    </a:cubicBezTo>
                    <a:cubicBezTo>
                      <a:pt x="8780" y="29712"/>
                      <a:pt x="10371" y="30221"/>
                      <a:pt x="12470" y="30221"/>
                    </a:cubicBezTo>
                    <a:cubicBezTo>
                      <a:pt x="14888" y="30221"/>
                      <a:pt x="16924" y="29649"/>
                      <a:pt x="18705" y="28440"/>
                    </a:cubicBezTo>
                    <a:cubicBezTo>
                      <a:pt x="20487" y="27231"/>
                      <a:pt x="21632" y="25768"/>
                      <a:pt x="22141" y="24050"/>
                    </a:cubicBezTo>
                    <a:cubicBezTo>
                      <a:pt x="22459" y="22968"/>
                      <a:pt x="22650" y="20741"/>
                      <a:pt x="22650" y="17306"/>
                    </a:cubicBezTo>
                    <a:close/>
                    <a:moveTo>
                      <a:pt x="28122" y="14188"/>
                    </a:moveTo>
                    <a:lnTo>
                      <a:pt x="46255" y="14188"/>
                    </a:lnTo>
                    <a:cubicBezTo>
                      <a:pt x="45936" y="10943"/>
                      <a:pt x="45046" y="8526"/>
                      <a:pt x="43455" y="6999"/>
                    </a:cubicBezTo>
                    <a:cubicBezTo>
                      <a:pt x="41865" y="5472"/>
                      <a:pt x="39829" y="4708"/>
                      <a:pt x="37284" y="4708"/>
                    </a:cubicBezTo>
                    <a:cubicBezTo>
                      <a:pt x="34675" y="4708"/>
                      <a:pt x="32512" y="5535"/>
                      <a:pt x="30858" y="7190"/>
                    </a:cubicBezTo>
                    <a:cubicBezTo>
                      <a:pt x="29203" y="8844"/>
                      <a:pt x="28313" y="11261"/>
                      <a:pt x="28122" y="14188"/>
                    </a:cubicBezTo>
                    <a:close/>
                  </a:path>
                </a:pathLst>
              </a:custGeom>
              <a:solidFill>
                <a:srgbClr val="084F45"/>
              </a:solidFill>
              <a:ln w="6361" cap="flat">
                <a:noFill/>
                <a:prstDash val="solid"/>
                <a:miter/>
              </a:ln>
            </p:spPr>
            <p:txBody>
              <a:bodyPr rtlCol="0" anchor="ctr"/>
              <a:lstStyle/>
              <a:p>
                <a:endParaRPr lang="da-DK"/>
              </a:p>
            </p:txBody>
          </p:sp>
          <p:sp>
            <p:nvSpPr>
              <p:cNvPr id="39" name="Freeform: Shape 38">
                <a:extLst>
                  <a:ext uri="{FF2B5EF4-FFF2-40B4-BE49-F238E27FC236}">
                    <a16:creationId xmlns:a16="http://schemas.microsoft.com/office/drawing/2014/main" id="{52DA121E-9491-477C-BE48-7A16BE388A6A}"/>
                  </a:ext>
                </a:extLst>
              </p:cNvPr>
              <p:cNvSpPr/>
              <p:nvPr/>
            </p:nvSpPr>
            <p:spPr>
              <a:xfrm>
                <a:off x="1297485"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40" name="Freeform: Shape 39">
                <a:extLst>
                  <a:ext uri="{FF2B5EF4-FFF2-40B4-BE49-F238E27FC236}">
                    <a16:creationId xmlns:a16="http://schemas.microsoft.com/office/drawing/2014/main" id="{1D309886-3AAD-4530-AB6D-28FA06FADAA9}"/>
                  </a:ext>
                </a:extLst>
              </p:cNvPr>
              <p:cNvSpPr/>
              <p:nvPr/>
            </p:nvSpPr>
            <p:spPr>
              <a:xfrm>
                <a:off x="1311609"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41" name="Freeform: Shape 40">
                <a:extLst>
                  <a:ext uri="{FF2B5EF4-FFF2-40B4-BE49-F238E27FC236}">
                    <a16:creationId xmlns:a16="http://schemas.microsoft.com/office/drawing/2014/main" id="{DF05CA6F-D75D-490D-A474-017C38A7B86D}"/>
                  </a:ext>
                </a:extLst>
              </p:cNvPr>
              <p:cNvSpPr/>
              <p:nvPr/>
            </p:nvSpPr>
            <p:spPr>
              <a:xfrm>
                <a:off x="1324016" y="3552112"/>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459" y="27167"/>
                      <a:pt x="23604"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42" name="Freeform: Shape 41">
                <a:extLst>
                  <a:ext uri="{FF2B5EF4-FFF2-40B4-BE49-F238E27FC236}">
                    <a16:creationId xmlns:a16="http://schemas.microsoft.com/office/drawing/2014/main" id="{5432CE93-9C52-4DEA-A874-27E4C696FE3C}"/>
                  </a:ext>
                </a:extLst>
              </p:cNvPr>
              <p:cNvSpPr/>
              <p:nvPr/>
            </p:nvSpPr>
            <p:spPr>
              <a:xfrm>
                <a:off x="1359009"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0" y="26976"/>
                      <a:pt x="8144" y="28122"/>
                    </a:cubicBezTo>
                    <a:cubicBezTo>
                      <a:pt x="9607" y="29267"/>
                      <a:pt x="11516" y="29903"/>
                      <a:pt x="14061" y="29903"/>
                    </a:cubicBezTo>
                    <a:cubicBezTo>
                      <a:pt x="16606" y="29903"/>
                      <a:pt x="18515" y="29394"/>
                      <a:pt x="19787" y="28313"/>
                    </a:cubicBezTo>
                    <a:cubicBezTo>
                      <a:pt x="21059" y="27295"/>
                      <a:pt x="21632" y="26022"/>
                      <a:pt x="21632" y="24622"/>
                    </a:cubicBezTo>
                    <a:cubicBezTo>
                      <a:pt x="21632" y="23350"/>
                      <a:pt x="21059"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2" y="12598"/>
                      <a:pt x="891" y="11134"/>
                      <a:pt x="891" y="9480"/>
                    </a:cubicBezTo>
                    <a:cubicBezTo>
                      <a:pt x="891" y="8017"/>
                      <a:pt x="1209" y="6617"/>
                      <a:pt x="1909" y="5408"/>
                    </a:cubicBezTo>
                    <a:cubicBezTo>
                      <a:pt x="2609" y="4136"/>
                      <a:pt x="3499" y="3118"/>
                      <a:pt x="4645" y="2291"/>
                    </a:cubicBezTo>
                    <a:cubicBezTo>
                      <a:pt x="5535" y="1654"/>
                      <a:pt x="6680"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43" name="Freeform: Shape 42">
                <a:extLst>
                  <a:ext uri="{FF2B5EF4-FFF2-40B4-BE49-F238E27FC236}">
                    <a16:creationId xmlns:a16="http://schemas.microsoft.com/office/drawing/2014/main" id="{7837FF92-87C7-4C05-9958-9FDEB0DFDAD6}"/>
                  </a:ext>
                </a:extLst>
              </p:cNvPr>
              <p:cNvSpPr/>
              <p:nvPr/>
            </p:nvSpPr>
            <p:spPr>
              <a:xfrm>
                <a:off x="1410735" y="3552048"/>
                <a:ext cx="28630" cy="46381"/>
              </a:xfrm>
              <a:custGeom>
                <a:avLst/>
                <a:gdLst>
                  <a:gd name="connsiteX0" fmla="*/ 0 w 28630"/>
                  <a:gd name="connsiteY0" fmla="*/ 46382 h 46381"/>
                  <a:gd name="connsiteX1" fmla="*/ 0 w 28630"/>
                  <a:gd name="connsiteY1" fmla="*/ 763 h 46381"/>
                  <a:gd name="connsiteX2" fmla="*/ 5090 w 28630"/>
                  <a:gd name="connsiteY2" fmla="*/ 763 h 46381"/>
                  <a:gd name="connsiteX3" fmla="*/ 5090 w 28630"/>
                  <a:gd name="connsiteY3" fmla="*/ 5026 h 46381"/>
                  <a:gd name="connsiteX4" fmla="*/ 9162 w 28630"/>
                  <a:gd name="connsiteY4" fmla="*/ 1273 h 46381"/>
                  <a:gd name="connsiteX5" fmla="*/ 14634 w 28630"/>
                  <a:gd name="connsiteY5" fmla="*/ 0 h 46381"/>
                  <a:gd name="connsiteX6" fmla="*/ 22078 w 28630"/>
                  <a:gd name="connsiteY6" fmla="*/ 2163 h 46381"/>
                  <a:gd name="connsiteX7" fmla="*/ 26977 w 28630"/>
                  <a:gd name="connsiteY7" fmla="*/ 8271 h 46381"/>
                  <a:gd name="connsiteX8" fmla="*/ 28631 w 28630"/>
                  <a:gd name="connsiteY8" fmla="*/ 16988 h 46381"/>
                  <a:gd name="connsiteX9" fmla="*/ 26786 w 28630"/>
                  <a:gd name="connsiteY9" fmla="*/ 26086 h 46381"/>
                  <a:gd name="connsiteX10" fmla="*/ 21505 w 28630"/>
                  <a:gd name="connsiteY10" fmla="*/ 32321 h 46381"/>
                  <a:gd name="connsiteX11" fmla="*/ 14252 w 28630"/>
                  <a:gd name="connsiteY11" fmla="*/ 34484 h 46381"/>
                  <a:gd name="connsiteX12" fmla="*/ 9225 w 28630"/>
                  <a:gd name="connsiteY12" fmla="*/ 33275 h 46381"/>
                  <a:gd name="connsiteX13" fmla="*/ 5599 w 28630"/>
                  <a:gd name="connsiteY13" fmla="*/ 30285 h 46381"/>
                  <a:gd name="connsiteX14" fmla="*/ 5599 w 28630"/>
                  <a:gd name="connsiteY14" fmla="*/ 46318 h 46381"/>
                  <a:gd name="connsiteX15" fmla="*/ 0 w 28630"/>
                  <a:gd name="connsiteY15" fmla="*/ 46318 h 46381"/>
                  <a:gd name="connsiteX16" fmla="*/ 5090 w 28630"/>
                  <a:gd name="connsiteY16" fmla="*/ 17433 h 46381"/>
                  <a:gd name="connsiteX17" fmla="*/ 7635 w 28630"/>
                  <a:gd name="connsiteY17" fmla="*/ 26849 h 46381"/>
                  <a:gd name="connsiteX18" fmla="*/ 13870 w 28630"/>
                  <a:gd name="connsiteY18" fmla="*/ 29903 h 46381"/>
                  <a:gd name="connsiteX19" fmla="*/ 20232 w 28630"/>
                  <a:gd name="connsiteY19" fmla="*/ 26722 h 46381"/>
                  <a:gd name="connsiteX20" fmla="*/ 22905 w 28630"/>
                  <a:gd name="connsiteY20" fmla="*/ 16924 h 46381"/>
                  <a:gd name="connsiteX21" fmla="*/ 20296 w 28630"/>
                  <a:gd name="connsiteY21" fmla="*/ 7508 h 46381"/>
                  <a:gd name="connsiteX22" fmla="*/ 14125 w 28630"/>
                  <a:gd name="connsiteY22" fmla="*/ 4390 h 46381"/>
                  <a:gd name="connsiteX23" fmla="*/ 7826 w 28630"/>
                  <a:gd name="connsiteY23" fmla="*/ 7762 h 46381"/>
                  <a:gd name="connsiteX24" fmla="*/ 5090 w 28630"/>
                  <a:gd name="connsiteY24" fmla="*/ 17433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630" h="46381">
                    <a:moveTo>
                      <a:pt x="0" y="46382"/>
                    </a:moveTo>
                    <a:lnTo>
                      <a:pt x="0" y="763"/>
                    </a:lnTo>
                    <a:lnTo>
                      <a:pt x="5090" y="763"/>
                    </a:lnTo>
                    <a:lnTo>
                      <a:pt x="5090" y="5026"/>
                    </a:lnTo>
                    <a:cubicBezTo>
                      <a:pt x="6299" y="3372"/>
                      <a:pt x="7635" y="2100"/>
                      <a:pt x="9162" y="1273"/>
                    </a:cubicBezTo>
                    <a:cubicBezTo>
                      <a:pt x="10689" y="445"/>
                      <a:pt x="12534" y="0"/>
                      <a:pt x="14634" y="0"/>
                    </a:cubicBezTo>
                    <a:cubicBezTo>
                      <a:pt x="17433" y="0"/>
                      <a:pt x="19914" y="700"/>
                      <a:pt x="22078" y="2163"/>
                    </a:cubicBezTo>
                    <a:cubicBezTo>
                      <a:pt x="24241" y="3627"/>
                      <a:pt x="25831" y="5663"/>
                      <a:pt x="26977" y="8271"/>
                    </a:cubicBezTo>
                    <a:cubicBezTo>
                      <a:pt x="28058" y="10943"/>
                      <a:pt x="28631" y="13806"/>
                      <a:pt x="28631" y="16988"/>
                    </a:cubicBezTo>
                    <a:cubicBezTo>
                      <a:pt x="28631" y="20360"/>
                      <a:pt x="28058" y="23414"/>
                      <a:pt x="26786" y="26086"/>
                    </a:cubicBezTo>
                    <a:cubicBezTo>
                      <a:pt x="25577" y="28758"/>
                      <a:pt x="23795" y="30858"/>
                      <a:pt x="21505" y="32321"/>
                    </a:cubicBezTo>
                    <a:cubicBezTo>
                      <a:pt x="19214" y="33784"/>
                      <a:pt x="16797" y="34484"/>
                      <a:pt x="14252" y="34484"/>
                    </a:cubicBezTo>
                    <a:cubicBezTo>
                      <a:pt x="12407" y="34484"/>
                      <a:pt x="10689" y="34103"/>
                      <a:pt x="9225" y="33275"/>
                    </a:cubicBezTo>
                    <a:cubicBezTo>
                      <a:pt x="7762" y="32448"/>
                      <a:pt x="6553" y="31494"/>
                      <a:pt x="5599" y="30285"/>
                    </a:cubicBezTo>
                    <a:lnTo>
                      <a:pt x="5599" y="46318"/>
                    </a:lnTo>
                    <a:lnTo>
                      <a:pt x="0" y="46318"/>
                    </a:lnTo>
                    <a:close/>
                    <a:moveTo>
                      <a:pt x="5090" y="17433"/>
                    </a:moveTo>
                    <a:cubicBezTo>
                      <a:pt x="5090" y="21696"/>
                      <a:pt x="5917" y="24813"/>
                      <a:pt x="7635" y="26849"/>
                    </a:cubicBezTo>
                    <a:cubicBezTo>
                      <a:pt x="9353" y="28885"/>
                      <a:pt x="11452" y="29903"/>
                      <a:pt x="13870" y="29903"/>
                    </a:cubicBezTo>
                    <a:cubicBezTo>
                      <a:pt x="16351" y="29903"/>
                      <a:pt x="18451" y="28822"/>
                      <a:pt x="20232" y="26722"/>
                    </a:cubicBezTo>
                    <a:cubicBezTo>
                      <a:pt x="22014" y="24622"/>
                      <a:pt x="22905" y="21378"/>
                      <a:pt x="22905" y="16924"/>
                    </a:cubicBezTo>
                    <a:cubicBezTo>
                      <a:pt x="22905" y="12725"/>
                      <a:pt x="22078" y="9544"/>
                      <a:pt x="20296" y="7508"/>
                    </a:cubicBezTo>
                    <a:cubicBezTo>
                      <a:pt x="18578" y="5408"/>
                      <a:pt x="16479" y="4390"/>
                      <a:pt x="14125" y="4390"/>
                    </a:cubicBezTo>
                    <a:cubicBezTo>
                      <a:pt x="11707" y="4390"/>
                      <a:pt x="9607" y="5472"/>
                      <a:pt x="7826" y="7762"/>
                    </a:cubicBezTo>
                    <a:cubicBezTo>
                      <a:pt x="5981" y="9989"/>
                      <a:pt x="5090" y="13170"/>
                      <a:pt x="5090" y="17433"/>
                    </a:cubicBezTo>
                    <a:close/>
                  </a:path>
                </a:pathLst>
              </a:custGeom>
              <a:solidFill>
                <a:srgbClr val="084F45"/>
              </a:solidFill>
              <a:ln w="6361" cap="flat">
                <a:noFill/>
                <a:prstDash val="solid"/>
                <a:miter/>
              </a:ln>
            </p:spPr>
            <p:txBody>
              <a:bodyPr rtlCol="0" anchor="ctr"/>
              <a:lstStyle/>
              <a:p>
                <a:endParaRPr lang="da-DK"/>
              </a:p>
            </p:txBody>
          </p:sp>
          <p:sp>
            <p:nvSpPr>
              <p:cNvPr id="45" name="Freeform: Shape 44">
                <a:extLst>
                  <a:ext uri="{FF2B5EF4-FFF2-40B4-BE49-F238E27FC236}">
                    <a16:creationId xmlns:a16="http://schemas.microsoft.com/office/drawing/2014/main" id="{89E16DA0-FE3A-424A-BE01-A2197609784D}"/>
                  </a:ext>
                </a:extLst>
              </p:cNvPr>
              <p:cNvSpPr/>
              <p:nvPr/>
            </p:nvSpPr>
            <p:spPr>
              <a:xfrm>
                <a:off x="144604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46" name="Freeform: Shape 45">
                <a:extLst>
                  <a:ext uri="{FF2B5EF4-FFF2-40B4-BE49-F238E27FC236}">
                    <a16:creationId xmlns:a16="http://schemas.microsoft.com/office/drawing/2014/main" id="{1BF81419-E75A-46FA-B622-DF83D8246343}"/>
                  </a:ext>
                </a:extLst>
              </p:cNvPr>
              <p:cNvSpPr/>
              <p:nvPr/>
            </p:nvSpPr>
            <p:spPr>
              <a:xfrm>
                <a:off x="1465197" y="3552048"/>
                <a:ext cx="30921" cy="34547"/>
              </a:xfrm>
              <a:custGeom>
                <a:avLst/>
                <a:gdLst>
                  <a:gd name="connsiteX0" fmla="*/ 0 w 30921"/>
                  <a:gd name="connsiteY0" fmla="*/ 17242 h 34547"/>
                  <a:gd name="connsiteX1" fmla="*/ 5090 w 30921"/>
                  <a:gd name="connsiteY1" fmla="*/ 3690 h 34547"/>
                  <a:gd name="connsiteX2" fmla="*/ 15461 w 30921"/>
                  <a:gd name="connsiteY2" fmla="*/ 0 h 34547"/>
                  <a:gd name="connsiteX3" fmla="*/ 26595 w 30921"/>
                  <a:gd name="connsiteY3" fmla="*/ 4454 h 34547"/>
                  <a:gd name="connsiteX4" fmla="*/ 30921 w 30921"/>
                  <a:gd name="connsiteY4" fmla="*/ 16797 h 34547"/>
                  <a:gd name="connsiteX5" fmla="*/ 29012 w 30921"/>
                  <a:gd name="connsiteY5" fmla="*/ 26849 h 34547"/>
                  <a:gd name="connsiteX6" fmla="*/ 23477 w 30921"/>
                  <a:gd name="connsiteY6" fmla="*/ 32512 h 34547"/>
                  <a:gd name="connsiteX7" fmla="*/ 15524 w 30921"/>
                  <a:gd name="connsiteY7" fmla="*/ 34548 h 34547"/>
                  <a:gd name="connsiteX8" fmla="*/ 4326 w 30921"/>
                  <a:gd name="connsiteY8" fmla="*/ 30094 h 34547"/>
                  <a:gd name="connsiteX9" fmla="*/ 0 w 30921"/>
                  <a:gd name="connsiteY9" fmla="*/ 17242 h 34547"/>
                  <a:gd name="connsiteX10" fmla="*/ 5790 w 30921"/>
                  <a:gd name="connsiteY10" fmla="*/ 17242 h 34547"/>
                  <a:gd name="connsiteX11" fmla="*/ 8526 w 30921"/>
                  <a:gd name="connsiteY11" fmla="*/ 26722 h 34547"/>
                  <a:gd name="connsiteX12" fmla="*/ 15461 w 30921"/>
                  <a:gd name="connsiteY12" fmla="*/ 29903 h 34547"/>
                  <a:gd name="connsiteX13" fmla="*/ 22396 w 30921"/>
                  <a:gd name="connsiteY13" fmla="*/ 26722 h 34547"/>
                  <a:gd name="connsiteX14" fmla="*/ 25131 w 30921"/>
                  <a:gd name="connsiteY14" fmla="*/ 17051 h 34547"/>
                  <a:gd name="connsiteX15" fmla="*/ 22332 w 30921"/>
                  <a:gd name="connsiteY15" fmla="*/ 7762 h 34547"/>
                  <a:gd name="connsiteX16" fmla="*/ 15397 w 30921"/>
                  <a:gd name="connsiteY16" fmla="*/ 4581 h 34547"/>
                  <a:gd name="connsiteX17" fmla="*/ 8462 w 30921"/>
                  <a:gd name="connsiteY17" fmla="*/ 7698 h 34547"/>
                  <a:gd name="connsiteX18" fmla="*/ 5790 w 30921"/>
                  <a:gd name="connsiteY18" fmla="*/ 17242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921" h="34547">
                    <a:moveTo>
                      <a:pt x="0" y="17242"/>
                    </a:moveTo>
                    <a:cubicBezTo>
                      <a:pt x="0" y="11134"/>
                      <a:pt x="1718" y="6617"/>
                      <a:pt x="5090" y="3690"/>
                    </a:cubicBezTo>
                    <a:cubicBezTo>
                      <a:pt x="7953" y="1273"/>
                      <a:pt x="11389" y="0"/>
                      <a:pt x="15461" y="0"/>
                    </a:cubicBezTo>
                    <a:cubicBezTo>
                      <a:pt x="19978" y="0"/>
                      <a:pt x="23732" y="1463"/>
                      <a:pt x="26595" y="4454"/>
                    </a:cubicBezTo>
                    <a:cubicBezTo>
                      <a:pt x="29458" y="7444"/>
                      <a:pt x="30921" y="11516"/>
                      <a:pt x="30921" y="16797"/>
                    </a:cubicBezTo>
                    <a:cubicBezTo>
                      <a:pt x="30921" y="21059"/>
                      <a:pt x="30285" y="24368"/>
                      <a:pt x="29012" y="26849"/>
                    </a:cubicBezTo>
                    <a:cubicBezTo>
                      <a:pt x="27740" y="29267"/>
                      <a:pt x="25895" y="31176"/>
                      <a:pt x="23477" y="32512"/>
                    </a:cubicBezTo>
                    <a:cubicBezTo>
                      <a:pt x="21059" y="33848"/>
                      <a:pt x="18387" y="34548"/>
                      <a:pt x="15524" y="34548"/>
                    </a:cubicBezTo>
                    <a:cubicBezTo>
                      <a:pt x="10880" y="34548"/>
                      <a:pt x="7189" y="33085"/>
                      <a:pt x="4326" y="30094"/>
                    </a:cubicBezTo>
                    <a:cubicBezTo>
                      <a:pt x="1463" y="27104"/>
                      <a:pt x="0" y="22841"/>
                      <a:pt x="0" y="17242"/>
                    </a:cubicBezTo>
                    <a:close/>
                    <a:moveTo>
                      <a:pt x="5790" y="17242"/>
                    </a:moveTo>
                    <a:cubicBezTo>
                      <a:pt x="5790" y="21441"/>
                      <a:pt x="6681" y="24622"/>
                      <a:pt x="8526" y="26722"/>
                    </a:cubicBezTo>
                    <a:cubicBezTo>
                      <a:pt x="10371" y="28822"/>
                      <a:pt x="12661" y="29903"/>
                      <a:pt x="15461" y="29903"/>
                    </a:cubicBezTo>
                    <a:cubicBezTo>
                      <a:pt x="18260" y="29903"/>
                      <a:pt x="20550" y="28822"/>
                      <a:pt x="22396" y="26722"/>
                    </a:cubicBezTo>
                    <a:cubicBezTo>
                      <a:pt x="24241" y="24622"/>
                      <a:pt x="25131" y="21378"/>
                      <a:pt x="25131" y="17051"/>
                    </a:cubicBezTo>
                    <a:cubicBezTo>
                      <a:pt x="25131" y="12979"/>
                      <a:pt x="24241" y="9862"/>
                      <a:pt x="22332" y="7762"/>
                    </a:cubicBezTo>
                    <a:cubicBezTo>
                      <a:pt x="20487" y="5663"/>
                      <a:pt x="18196" y="4581"/>
                      <a:pt x="15397" y="4581"/>
                    </a:cubicBezTo>
                    <a:cubicBezTo>
                      <a:pt x="12598" y="4581"/>
                      <a:pt x="10307" y="5599"/>
                      <a:pt x="8462" y="7698"/>
                    </a:cubicBezTo>
                    <a:cubicBezTo>
                      <a:pt x="6681" y="9862"/>
                      <a:pt x="5790" y="13043"/>
                      <a:pt x="5790" y="17242"/>
                    </a:cubicBezTo>
                    <a:close/>
                  </a:path>
                </a:pathLst>
              </a:custGeom>
              <a:solidFill>
                <a:srgbClr val="084F45"/>
              </a:solidFill>
              <a:ln w="6361" cap="flat">
                <a:noFill/>
                <a:prstDash val="solid"/>
                <a:miter/>
              </a:ln>
            </p:spPr>
            <p:txBody>
              <a:bodyPr rtlCol="0" anchor="ctr"/>
              <a:lstStyle/>
              <a:p>
                <a:endParaRPr lang="da-DK"/>
              </a:p>
            </p:txBody>
          </p:sp>
          <p:sp>
            <p:nvSpPr>
              <p:cNvPr id="47" name="Freeform: Shape 46">
                <a:extLst>
                  <a:ext uri="{FF2B5EF4-FFF2-40B4-BE49-F238E27FC236}">
                    <a16:creationId xmlns:a16="http://schemas.microsoft.com/office/drawing/2014/main" id="{E39235D4-8417-4879-8E35-5AAD65AC4733}"/>
                  </a:ext>
                </a:extLst>
              </p:cNvPr>
              <p:cNvSpPr/>
              <p:nvPr/>
            </p:nvSpPr>
            <p:spPr>
              <a:xfrm>
                <a:off x="1501018" y="3552048"/>
                <a:ext cx="28694" cy="34484"/>
              </a:xfrm>
              <a:custGeom>
                <a:avLst/>
                <a:gdLst>
                  <a:gd name="connsiteX0" fmla="*/ 23223 w 28694"/>
                  <a:gd name="connsiteY0" fmla="*/ 21696 h 34484"/>
                  <a:gd name="connsiteX1" fmla="*/ 28694 w 28694"/>
                  <a:gd name="connsiteY1" fmla="*/ 22396 h 34484"/>
                  <a:gd name="connsiteX2" fmla="*/ 24114 w 28694"/>
                  <a:gd name="connsiteY2" fmla="*/ 31303 h 34484"/>
                  <a:gd name="connsiteX3" fmla="*/ 15015 w 28694"/>
                  <a:gd name="connsiteY3" fmla="*/ 34484 h 34484"/>
                  <a:gd name="connsiteX4" fmla="*/ 4136 w 28694"/>
                  <a:gd name="connsiteY4" fmla="*/ 30030 h 34484"/>
                  <a:gd name="connsiteX5" fmla="*/ 0 w 28694"/>
                  <a:gd name="connsiteY5" fmla="*/ 17369 h 34484"/>
                  <a:gd name="connsiteX6" fmla="*/ 1782 w 28694"/>
                  <a:gd name="connsiteY6" fmla="*/ 8017 h 34484"/>
                  <a:gd name="connsiteX7" fmla="*/ 7190 w 28694"/>
                  <a:gd name="connsiteY7" fmla="*/ 2036 h 34484"/>
                  <a:gd name="connsiteX8" fmla="*/ 15079 w 28694"/>
                  <a:gd name="connsiteY8" fmla="*/ 0 h 34484"/>
                  <a:gd name="connsiteX9" fmla="*/ 23859 w 28694"/>
                  <a:gd name="connsiteY9" fmla="*/ 2736 h 34484"/>
                  <a:gd name="connsiteX10" fmla="*/ 28249 w 28694"/>
                  <a:gd name="connsiteY10" fmla="*/ 10434 h 34484"/>
                  <a:gd name="connsiteX11" fmla="*/ 22777 w 28694"/>
                  <a:gd name="connsiteY11" fmla="*/ 11261 h 34484"/>
                  <a:gd name="connsiteX12" fmla="*/ 20042 w 28694"/>
                  <a:gd name="connsiteY12" fmla="*/ 6235 h 34484"/>
                  <a:gd name="connsiteX13" fmla="*/ 15270 w 28694"/>
                  <a:gd name="connsiteY13" fmla="*/ 4581 h 34484"/>
                  <a:gd name="connsiteX14" fmla="*/ 8398 w 28694"/>
                  <a:gd name="connsiteY14" fmla="*/ 7635 h 34484"/>
                  <a:gd name="connsiteX15" fmla="*/ 5726 w 28694"/>
                  <a:gd name="connsiteY15" fmla="*/ 17242 h 34484"/>
                  <a:gd name="connsiteX16" fmla="*/ 8271 w 28694"/>
                  <a:gd name="connsiteY16" fmla="*/ 26913 h 34484"/>
                  <a:gd name="connsiteX17" fmla="*/ 14888 w 28694"/>
                  <a:gd name="connsiteY17" fmla="*/ 29903 h 34484"/>
                  <a:gd name="connsiteX18" fmla="*/ 20423 w 28694"/>
                  <a:gd name="connsiteY18" fmla="*/ 27867 h 34484"/>
                  <a:gd name="connsiteX19" fmla="*/ 23223 w 28694"/>
                  <a:gd name="connsiteY19" fmla="*/ 21696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694" h="34484">
                    <a:moveTo>
                      <a:pt x="23223" y="21696"/>
                    </a:moveTo>
                    <a:lnTo>
                      <a:pt x="28694" y="22396"/>
                    </a:lnTo>
                    <a:cubicBezTo>
                      <a:pt x="28122" y="26213"/>
                      <a:pt x="26531" y="29140"/>
                      <a:pt x="24114" y="31303"/>
                    </a:cubicBezTo>
                    <a:cubicBezTo>
                      <a:pt x="21632" y="33466"/>
                      <a:pt x="18578" y="34484"/>
                      <a:pt x="15015" y="34484"/>
                    </a:cubicBezTo>
                    <a:cubicBezTo>
                      <a:pt x="10498" y="34484"/>
                      <a:pt x="6871" y="33021"/>
                      <a:pt x="4136" y="30030"/>
                    </a:cubicBezTo>
                    <a:cubicBezTo>
                      <a:pt x="1400" y="27104"/>
                      <a:pt x="0" y="22841"/>
                      <a:pt x="0" y="17369"/>
                    </a:cubicBezTo>
                    <a:cubicBezTo>
                      <a:pt x="0" y="13806"/>
                      <a:pt x="573" y="10689"/>
                      <a:pt x="1782" y="8017"/>
                    </a:cubicBezTo>
                    <a:cubicBezTo>
                      <a:pt x="2990" y="5344"/>
                      <a:pt x="4772" y="3308"/>
                      <a:pt x="7190" y="2036"/>
                    </a:cubicBezTo>
                    <a:cubicBezTo>
                      <a:pt x="9607" y="700"/>
                      <a:pt x="12216" y="0"/>
                      <a:pt x="15079" y="0"/>
                    </a:cubicBezTo>
                    <a:cubicBezTo>
                      <a:pt x="18642" y="0"/>
                      <a:pt x="21569" y="891"/>
                      <a:pt x="23859" y="2736"/>
                    </a:cubicBezTo>
                    <a:cubicBezTo>
                      <a:pt x="26149" y="4581"/>
                      <a:pt x="27613" y="7126"/>
                      <a:pt x="28249" y="10434"/>
                    </a:cubicBezTo>
                    <a:lnTo>
                      <a:pt x="22777" y="11261"/>
                    </a:lnTo>
                    <a:cubicBezTo>
                      <a:pt x="22268" y="9035"/>
                      <a:pt x="21378" y="7380"/>
                      <a:pt x="20042" y="6235"/>
                    </a:cubicBezTo>
                    <a:cubicBezTo>
                      <a:pt x="18705" y="5090"/>
                      <a:pt x="17115" y="4581"/>
                      <a:pt x="15270" y="4581"/>
                    </a:cubicBezTo>
                    <a:cubicBezTo>
                      <a:pt x="12470" y="4581"/>
                      <a:pt x="10180" y="5599"/>
                      <a:pt x="8398" y="7635"/>
                    </a:cubicBezTo>
                    <a:cubicBezTo>
                      <a:pt x="6617" y="9671"/>
                      <a:pt x="5726" y="12852"/>
                      <a:pt x="5726" y="17242"/>
                    </a:cubicBezTo>
                    <a:cubicBezTo>
                      <a:pt x="5726" y="21696"/>
                      <a:pt x="6553" y="24877"/>
                      <a:pt x="8271" y="26913"/>
                    </a:cubicBezTo>
                    <a:cubicBezTo>
                      <a:pt x="9989" y="28949"/>
                      <a:pt x="12216" y="29903"/>
                      <a:pt x="14888" y="29903"/>
                    </a:cubicBezTo>
                    <a:cubicBezTo>
                      <a:pt x="17115" y="29903"/>
                      <a:pt x="18896" y="29203"/>
                      <a:pt x="20423" y="27867"/>
                    </a:cubicBezTo>
                    <a:cubicBezTo>
                      <a:pt x="21887" y="26531"/>
                      <a:pt x="22841" y="24495"/>
                      <a:pt x="23223" y="21696"/>
                    </a:cubicBezTo>
                    <a:close/>
                  </a:path>
                </a:pathLst>
              </a:custGeom>
              <a:solidFill>
                <a:srgbClr val="084F45"/>
              </a:solidFill>
              <a:ln w="6361" cap="flat">
                <a:noFill/>
                <a:prstDash val="solid"/>
                <a:miter/>
              </a:ln>
            </p:spPr>
            <p:txBody>
              <a:bodyPr rtlCol="0" anchor="ctr"/>
              <a:lstStyle/>
              <a:p>
                <a:endParaRPr lang="da-DK"/>
              </a:p>
            </p:txBody>
          </p:sp>
          <p:sp>
            <p:nvSpPr>
              <p:cNvPr id="48" name="Freeform: Shape 47">
                <a:extLst>
                  <a:ext uri="{FF2B5EF4-FFF2-40B4-BE49-F238E27FC236}">
                    <a16:creationId xmlns:a16="http://schemas.microsoft.com/office/drawing/2014/main" id="{FDE5C9A9-6ABB-4079-B47B-3E7DCE645605}"/>
                  </a:ext>
                </a:extLst>
              </p:cNvPr>
              <p:cNvSpPr/>
              <p:nvPr/>
            </p:nvSpPr>
            <p:spPr>
              <a:xfrm>
                <a:off x="1532639" y="3552112"/>
                <a:ext cx="30412" cy="34484"/>
              </a:xfrm>
              <a:custGeom>
                <a:avLst/>
                <a:gdLst>
                  <a:gd name="connsiteX0" fmla="*/ 24432 w 30412"/>
                  <a:gd name="connsiteY0" fmla="*/ 23096 h 34484"/>
                  <a:gd name="connsiteX1" fmla="*/ 30221 w 30412"/>
                  <a:gd name="connsiteY1" fmla="*/ 23795 h 34484"/>
                  <a:gd name="connsiteX2" fmla="*/ 25132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108 w 30412"/>
                  <a:gd name="connsiteY16" fmla="*/ 13997 h 34484"/>
                  <a:gd name="connsiteX17" fmla="*/ 24559 w 30412"/>
                  <a:gd name="connsiteY17" fmla="*/ 13997 h 34484"/>
                  <a:gd name="connsiteX18" fmla="*/ 22459 w 30412"/>
                  <a:gd name="connsiteY18" fmla="*/ 7762 h 34484"/>
                  <a:gd name="connsiteX19" fmla="*/ 15524 w 30412"/>
                  <a:gd name="connsiteY19" fmla="*/ 4517 h 34484"/>
                  <a:gd name="connsiteX20" fmla="*/ 9035 w 30412"/>
                  <a:gd name="connsiteY20" fmla="*/ 7126 h 34484"/>
                  <a:gd name="connsiteX21" fmla="*/ 6108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2"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108" y="13997"/>
                    </a:moveTo>
                    <a:lnTo>
                      <a:pt x="24559" y="13997"/>
                    </a:lnTo>
                    <a:cubicBezTo>
                      <a:pt x="24304" y="11198"/>
                      <a:pt x="23605" y="9162"/>
                      <a:pt x="22459" y="7762"/>
                    </a:cubicBezTo>
                    <a:cubicBezTo>
                      <a:pt x="20678" y="5599"/>
                      <a:pt x="18387" y="4517"/>
                      <a:pt x="15524" y="4517"/>
                    </a:cubicBezTo>
                    <a:cubicBezTo>
                      <a:pt x="12979" y="4517"/>
                      <a:pt x="10816" y="5408"/>
                      <a:pt x="9035" y="7126"/>
                    </a:cubicBezTo>
                    <a:cubicBezTo>
                      <a:pt x="7253" y="8844"/>
                      <a:pt x="6299" y="11134"/>
                      <a:pt x="6108" y="13997"/>
                    </a:cubicBezTo>
                    <a:close/>
                  </a:path>
                </a:pathLst>
              </a:custGeom>
              <a:solidFill>
                <a:srgbClr val="084F45"/>
              </a:solidFill>
              <a:ln w="6361" cap="flat">
                <a:noFill/>
                <a:prstDash val="solid"/>
                <a:miter/>
              </a:ln>
            </p:spPr>
            <p:txBody>
              <a:bodyPr rtlCol="0" anchor="ctr"/>
              <a:lstStyle/>
              <a:p>
                <a:endParaRPr lang="da-DK"/>
              </a:p>
            </p:txBody>
          </p:sp>
          <p:sp>
            <p:nvSpPr>
              <p:cNvPr id="49" name="Freeform: Shape 48">
                <a:extLst>
                  <a:ext uri="{FF2B5EF4-FFF2-40B4-BE49-F238E27FC236}">
                    <a16:creationId xmlns:a16="http://schemas.microsoft.com/office/drawing/2014/main" id="{2D20234F-477D-42B4-9888-93D395A78A11}"/>
                  </a:ext>
                </a:extLst>
              </p:cNvPr>
              <p:cNvSpPr/>
              <p:nvPr/>
            </p:nvSpPr>
            <p:spPr>
              <a:xfrm>
                <a:off x="1567632"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50" name="Freeform: Shape 49">
                <a:extLst>
                  <a:ext uri="{FF2B5EF4-FFF2-40B4-BE49-F238E27FC236}">
                    <a16:creationId xmlns:a16="http://schemas.microsoft.com/office/drawing/2014/main" id="{21047D56-8A8C-467B-B787-ABA66F86B940}"/>
                  </a:ext>
                </a:extLst>
              </p:cNvPr>
              <p:cNvSpPr/>
              <p:nvPr/>
            </p:nvSpPr>
            <p:spPr>
              <a:xfrm>
                <a:off x="1599444"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51" name="Freeform: Shape 50">
                <a:extLst>
                  <a:ext uri="{FF2B5EF4-FFF2-40B4-BE49-F238E27FC236}">
                    <a16:creationId xmlns:a16="http://schemas.microsoft.com/office/drawing/2014/main" id="{01D03925-65ED-415C-AD8D-161566E60C26}"/>
                  </a:ext>
                </a:extLst>
              </p:cNvPr>
              <p:cNvSpPr/>
              <p:nvPr/>
            </p:nvSpPr>
            <p:spPr>
              <a:xfrm>
                <a:off x="1631701" y="3552112"/>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52" name="Freeform: Shape 51">
                <a:extLst>
                  <a:ext uri="{FF2B5EF4-FFF2-40B4-BE49-F238E27FC236}">
                    <a16:creationId xmlns:a16="http://schemas.microsoft.com/office/drawing/2014/main" id="{D3F05160-4E0A-469B-AAAA-59E5ECEBE6E8}"/>
                  </a:ext>
                </a:extLst>
              </p:cNvPr>
              <p:cNvSpPr/>
              <p:nvPr/>
            </p:nvSpPr>
            <p:spPr>
              <a:xfrm>
                <a:off x="166885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544"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53" name="Freeform: Shape 52">
                <a:extLst>
                  <a:ext uri="{FF2B5EF4-FFF2-40B4-BE49-F238E27FC236}">
                    <a16:creationId xmlns:a16="http://schemas.microsoft.com/office/drawing/2014/main" id="{E0AFDA0A-A46C-40D1-8DDD-1E20115EAC7B}"/>
                  </a:ext>
                </a:extLst>
              </p:cNvPr>
              <p:cNvSpPr/>
              <p:nvPr/>
            </p:nvSpPr>
            <p:spPr>
              <a:xfrm>
                <a:off x="1688136" y="3579470"/>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sp>
            <p:nvSpPr>
              <p:cNvPr id="54" name="Freeform: Shape 53">
                <a:extLst>
                  <a:ext uri="{FF2B5EF4-FFF2-40B4-BE49-F238E27FC236}">
                    <a16:creationId xmlns:a16="http://schemas.microsoft.com/office/drawing/2014/main" id="{C5513A0D-0130-4B6D-B144-9606D16633D3}"/>
                  </a:ext>
                </a:extLst>
              </p:cNvPr>
              <p:cNvSpPr/>
              <p:nvPr/>
            </p:nvSpPr>
            <p:spPr>
              <a:xfrm>
                <a:off x="1202812" y="3622989"/>
                <a:ext cx="35883" cy="45554"/>
              </a:xfrm>
              <a:custGeom>
                <a:avLst/>
                <a:gdLst>
                  <a:gd name="connsiteX0" fmla="*/ 0 w 35883"/>
                  <a:gd name="connsiteY0" fmla="*/ 45555 h 45554"/>
                  <a:gd name="connsiteX1" fmla="*/ 0 w 35883"/>
                  <a:gd name="connsiteY1" fmla="*/ 0 h 45554"/>
                  <a:gd name="connsiteX2" fmla="*/ 6172 w 35883"/>
                  <a:gd name="connsiteY2" fmla="*/ 0 h 45554"/>
                  <a:gd name="connsiteX3" fmla="*/ 30094 w 35883"/>
                  <a:gd name="connsiteY3" fmla="*/ 35757 h 45554"/>
                  <a:gd name="connsiteX4" fmla="*/ 30094 w 35883"/>
                  <a:gd name="connsiteY4" fmla="*/ 0 h 45554"/>
                  <a:gd name="connsiteX5" fmla="*/ 35884 w 35883"/>
                  <a:gd name="connsiteY5" fmla="*/ 0 h 45554"/>
                  <a:gd name="connsiteX6" fmla="*/ 35884 w 35883"/>
                  <a:gd name="connsiteY6" fmla="*/ 45555 h 45554"/>
                  <a:gd name="connsiteX7" fmla="*/ 29712 w 35883"/>
                  <a:gd name="connsiteY7" fmla="*/ 45555 h 45554"/>
                  <a:gd name="connsiteX8" fmla="*/ 5790 w 35883"/>
                  <a:gd name="connsiteY8" fmla="*/ 9798 h 45554"/>
                  <a:gd name="connsiteX9" fmla="*/ 5790 w 35883"/>
                  <a:gd name="connsiteY9" fmla="*/ 45555 h 45554"/>
                  <a:gd name="connsiteX10" fmla="*/ 0 w 35883"/>
                  <a:gd name="connsiteY10"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83" h="45554">
                    <a:moveTo>
                      <a:pt x="0" y="45555"/>
                    </a:moveTo>
                    <a:lnTo>
                      <a:pt x="0" y="0"/>
                    </a:lnTo>
                    <a:lnTo>
                      <a:pt x="6172" y="0"/>
                    </a:lnTo>
                    <a:lnTo>
                      <a:pt x="30094" y="35757"/>
                    </a:lnTo>
                    <a:lnTo>
                      <a:pt x="30094" y="0"/>
                    </a:lnTo>
                    <a:lnTo>
                      <a:pt x="35884" y="0"/>
                    </a:lnTo>
                    <a:lnTo>
                      <a:pt x="35884" y="45555"/>
                    </a:lnTo>
                    <a:lnTo>
                      <a:pt x="29712" y="45555"/>
                    </a:lnTo>
                    <a:lnTo>
                      <a:pt x="5790" y="9798"/>
                    </a:lnTo>
                    <a:lnTo>
                      <a:pt x="5790" y="45555"/>
                    </a:lnTo>
                    <a:lnTo>
                      <a:pt x="0" y="45555"/>
                    </a:lnTo>
                    <a:close/>
                  </a:path>
                </a:pathLst>
              </a:custGeom>
              <a:solidFill>
                <a:srgbClr val="084F45"/>
              </a:solidFill>
              <a:ln w="6361" cap="flat">
                <a:noFill/>
                <a:prstDash val="solid"/>
                <a:miter/>
              </a:ln>
            </p:spPr>
            <p:txBody>
              <a:bodyPr rtlCol="0" anchor="ctr"/>
              <a:lstStyle/>
              <a:p>
                <a:endParaRPr lang="da-DK"/>
              </a:p>
            </p:txBody>
          </p:sp>
          <p:sp>
            <p:nvSpPr>
              <p:cNvPr id="55" name="Freeform: Shape 54">
                <a:extLst>
                  <a:ext uri="{FF2B5EF4-FFF2-40B4-BE49-F238E27FC236}">
                    <a16:creationId xmlns:a16="http://schemas.microsoft.com/office/drawing/2014/main" id="{2A9D6820-070B-4651-A6AE-C2B18E17C40B}"/>
                  </a:ext>
                </a:extLst>
              </p:cNvPr>
              <p:cNvSpPr/>
              <p:nvPr/>
            </p:nvSpPr>
            <p:spPr>
              <a:xfrm>
                <a:off x="1244931" y="3635523"/>
                <a:ext cx="30284" cy="46381"/>
              </a:xfrm>
              <a:custGeom>
                <a:avLst/>
                <a:gdLst>
                  <a:gd name="connsiteX0" fmla="*/ 2927 w 30284"/>
                  <a:gd name="connsiteY0" fmla="*/ 45682 h 46381"/>
                  <a:gd name="connsiteX1" fmla="*/ 2290 w 30284"/>
                  <a:gd name="connsiteY1" fmla="*/ 40401 h 46381"/>
                  <a:gd name="connsiteX2" fmla="*/ 5472 w 30284"/>
                  <a:gd name="connsiteY2" fmla="*/ 40910 h 46381"/>
                  <a:gd name="connsiteX3" fmla="*/ 8462 w 30284"/>
                  <a:gd name="connsiteY3" fmla="*/ 40274 h 46381"/>
                  <a:gd name="connsiteX4" fmla="*/ 10307 w 30284"/>
                  <a:gd name="connsiteY4" fmla="*/ 38556 h 46381"/>
                  <a:gd name="connsiteX5" fmla="*/ 12025 w 30284"/>
                  <a:gd name="connsiteY5" fmla="*/ 34421 h 46381"/>
                  <a:gd name="connsiteX6" fmla="*/ 12534 w 30284"/>
                  <a:gd name="connsiteY6" fmla="*/ 33085 h 46381"/>
                  <a:gd name="connsiteX7" fmla="*/ 0 w 30284"/>
                  <a:gd name="connsiteY7" fmla="*/ 0 h 46381"/>
                  <a:gd name="connsiteX8" fmla="*/ 6044 w 30284"/>
                  <a:gd name="connsiteY8" fmla="*/ 0 h 46381"/>
                  <a:gd name="connsiteX9" fmla="*/ 12916 w 30284"/>
                  <a:gd name="connsiteY9" fmla="*/ 19087 h 46381"/>
                  <a:gd name="connsiteX10" fmla="*/ 15333 w 30284"/>
                  <a:gd name="connsiteY10" fmla="*/ 26722 h 46381"/>
                  <a:gd name="connsiteX11" fmla="*/ 17624 w 30284"/>
                  <a:gd name="connsiteY11" fmla="*/ 19215 h 46381"/>
                  <a:gd name="connsiteX12" fmla="*/ 24686 w 30284"/>
                  <a:gd name="connsiteY12" fmla="*/ 0 h 46381"/>
                  <a:gd name="connsiteX13" fmla="*/ 30285 w 30284"/>
                  <a:gd name="connsiteY13" fmla="*/ 0 h 46381"/>
                  <a:gd name="connsiteX14" fmla="*/ 17751 w 30284"/>
                  <a:gd name="connsiteY14" fmla="*/ 33530 h 46381"/>
                  <a:gd name="connsiteX15" fmla="*/ 14633 w 30284"/>
                  <a:gd name="connsiteY15" fmla="*/ 41037 h 46381"/>
                  <a:gd name="connsiteX16" fmla="*/ 11198 w 30284"/>
                  <a:gd name="connsiteY16" fmla="*/ 45109 h 46381"/>
                  <a:gd name="connsiteX17" fmla="*/ 6617 w 30284"/>
                  <a:gd name="connsiteY17" fmla="*/ 46382 h 46381"/>
                  <a:gd name="connsiteX18" fmla="*/ 2927 w 30284"/>
                  <a:gd name="connsiteY18" fmla="*/ 45682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284" h="46381">
                    <a:moveTo>
                      <a:pt x="2927" y="45682"/>
                    </a:moveTo>
                    <a:lnTo>
                      <a:pt x="2290" y="40401"/>
                    </a:lnTo>
                    <a:cubicBezTo>
                      <a:pt x="3499" y="40719"/>
                      <a:pt x="4581" y="40910"/>
                      <a:pt x="5472" y="40910"/>
                    </a:cubicBezTo>
                    <a:cubicBezTo>
                      <a:pt x="6744" y="40910"/>
                      <a:pt x="7698" y="40719"/>
                      <a:pt x="8462" y="40274"/>
                    </a:cubicBezTo>
                    <a:cubicBezTo>
                      <a:pt x="9225" y="39829"/>
                      <a:pt x="9798" y="39256"/>
                      <a:pt x="10307" y="38556"/>
                    </a:cubicBezTo>
                    <a:cubicBezTo>
                      <a:pt x="10625" y="37983"/>
                      <a:pt x="11198" y="36584"/>
                      <a:pt x="12025" y="34421"/>
                    </a:cubicBezTo>
                    <a:cubicBezTo>
                      <a:pt x="12152" y="34103"/>
                      <a:pt x="12279" y="33657"/>
                      <a:pt x="12534" y="33085"/>
                    </a:cubicBezTo>
                    <a:lnTo>
                      <a:pt x="0" y="0"/>
                    </a:lnTo>
                    <a:lnTo>
                      <a:pt x="6044" y="0"/>
                    </a:lnTo>
                    <a:lnTo>
                      <a:pt x="12916" y="19087"/>
                    </a:lnTo>
                    <a:cubicBezTo>
                      <a:pt x="13806" y="21505"/>
                      <a:pt x="14633" y="24050"/>
                      <a:pt x="15333" y="26722"/>
                    </a:cubicBezTo>
                    <a:cubicBezTo>
                      <a:pt x="15970" y="24177"/>
                      <a:pt x="16733" y="21632"/>
                      <a:pt x="17624" y="19215"/>
                    </a:cubicBezTo>
                    <a:lnTo>
                      <a:pt x="24686" y="0"/>
                    </a:lnTo>
                    <a:lnTo>
                      <a:pt x="30285" y="0"/>
                    </a:lnTo>
                    <a:lnTo>
                      <a:pt x="17751" y="33530"/>
                    </a:lnTo>
                    <a:cubicBezTo>
                      <a:pt x="16415" y="37156"/>
                      <a:pt x="15333" y="39638"/>
                      <a:pt x="14633" y="41037"/>
                    </a:cubicBezTo>
                    <a:cubicBezTo>
                      <a:pt x="13616" y="42883"/>
                      <a:pt x="12470" y="44219"/>
                      <a:pt x="11198" y="45109"/>
                    </a:cubicBezTo>
                    <a:cubicBezTo>
                      <a:pt x="9925" y="46000"/>
                      <a:pt x="8398" y="46382"/>
                      <a:pt x="6617" y="46382"/>
                    </a:cubicBezTo>
                    <a:cubicBezTo>
                      <a:pt x="5472" y="46382"/>
                      <a:pt x="4263" y="46127"/>
                      <a:pt x="2927" y="45682"/>
                    </a:cubicBezTo>
                    <a:close/>
                  </a:path>
                </a:pathLst>
              </a:custGeom>
              <a:solidFill>
                <a:srgbClr val="084F45"/>
              </a:solidFill>
              <a:ln w="6361" cap="flat">
                <a:noFill/>
                <a:prstDash val="solid"/>
                <a:miter/>
              </a:ln>
            </p:spPr>
            <p:txBody>
              <a:bodyPr rtlCol="0" anchor="ctr"/>
              <a:lstStyle/>
              <a:p>
                <a:endParaRPr lang="da-DK"/>
              </a:p>
            </p:txBody>
          </p:sp>
          <p:sp>
            <p:nvSpPr>
              <p:cNvPr id="56" name="Freeform: Shape 55">
                <a:extLst>
                  <a:ext uri="{FF2B5EF4-FFF2-40B4-BE49-F238E27FC236}">
                    <a16:creationId xmlns:a16="http://schemas.microsoft.com/office/drawing/2014/main" id="{85FAA57B-7CCE-4432-957E-B64AF61A6E9B}"/>
                  </a:ext>
                </a:extLst>
              </p:cNvPr>
              <p:cNvSpPr/>
              <p:nvPr/>
            </p:nvSpPr>
            <p:spPr>
              <a:xfrm>
                <a:off x="1278143" y="3634823"/>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96"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57" name="Freeform: Shape 56">
                <a:extLst>
                  <a:ext uri="{FF2B5EF4-FFF2-40B4-BE49-F238E27FC236}">
                    <a16:creationId xmlns:a16="http://schemas.microsoft.com/office/drawing/2014/main" id="{6D33F593-9BE8-4A2B-ABC0-8535597D24E3}"/>
                  </a:ext>
                </a:extLst>
              </p:cNvPr>
              <p:cNvSpPr/>
              <p:nvPr/>
            </p:nvSpPr>
            <p:spPr>
              <a:xfrm>
                <a:off x="1332987" y="3634823"/>
                <a:ext cx="44727" cy="33784"/>
              </a:xfrm>
              <a:custGeom>
                <a:avLst/>
                <a:gdLst>
                  <a:gd name="connsiteX0" fmla="*/ 0 w 44727"/>
                  <a:gd name="connsiteY0" fmla="*/ 33721 h 33784"/>
                  <a:gd name="connsiteX1" fmla="*/ 0 w 44727"/>
                  <a:gd name="connsiteY1" fmla="*/ 700 h 33784"/>
                  <a:gd name="connsiteX2" fmla="*/ 5026 w 44727"/>
                  <a:gd name="connsiteY2" fmla="*/ 700 h 33784"/>
                  <a:gd name="connsiteX3" fmla="*/ 5026 w 44727"/>
                  <a:gd name="connsiteY3" fmla="*/ 5344 h 33784"/>
                  <a:gd name="connsiteX4" fmla="*/ 9162 w 44727"/>
                  <a:gd name="connsiteY4" fmla="*/ 1463 h 33784"/>
                  <a:gd name="connsiteX5" fmla="*/ 15015 w 44727"/>
                  <a:gd name="connsiteY5" fmla="*/ 0 h 33784"/>
                  <a:gd name="connsiteX6" fmla="*/ 21060 w 44727"/>
                  <a:gd name="connsiteY6" fmla="*/ 1527 h 33784"/>
                  <a:gd name="connsiteX7" fmla="*/ 24368 w 44727"/>
                  <a:gd name="connsiteY7" fmla="*/ 5790 h 33784"/>
                  <a:gd name="connsiteX8" fmla="*/ 34548 w 44727"/>
                  <a:gd name="connsiteY8" fmla="*/ 0 h 33784"/>
                  <a:gd name="connsiteX9" fmla="*/ 42119 w 44727"/>
                  <a:gd name="connsiteY9" fmla="*/ 2736 h 33784"/>
                  <a:gd name="connsiteX10" fmla="*/ 44728 w 44727"/>
                  <a:gd name="connsiteY10" fmla="*/ 11134 h 33784"/>
                  <a:gd name="connsiteX11" fmla="*/ 44728 w 44727"/>
                  <a:gd name="connsiteY11" fmla="*/ 33784 h 33784"/>
                  <a:gd name="connsiteX12" fmla="*/ 39192 w 44727"/>
                  <a:gd name="connsiteY12" fmla="*/ 33784 h 33784"/>
                  <a:gd name="connsiteX13" fmla="*/ 39192 w 44727"/>
                  <a:gd name="connsiteY13" fmla="*/ 12979 h 33784"/>
                  <a:gd name="connsiteX14" fmla="*/ 38620 w 44727"/>
                  <a:gd name="connsiteY14" fmla="*/ 8144 h 33784"/>
                  <a:gd name="connsiteX15" fmla="*/ 36647 w 44727"/>
                  <a:gd name="connsiteY15" fmla="*/ 5790 h 33784"/>
                  <a:gd name="connsiteX16" fmla="*/ 33275 w 44727"/>
                  <a:gd name="connsiteY16" fmla="*/ 4899 h 33784"/>
                  <a:gd name="connsiteX17" fmla="*/ 27486 w 44727"/>
                  <a:gd name="connsiteY17" fmla="*/ 7190 h 33784"/>
                  <a:gd name="connsiteX18" fmla="*/ 25195 w 44727"/>
                  <a:gd name="connsiteY18" fmla="*/ 14570 h 33784"/>
                  <a:gd name="connsiteX19" fmla="*/ 25195 w 44727"/>
                  <a:gd name="connsiteY19" fmla="*/ 33721 h 33784"/>
                  <a:gd name="connsiteX20" fmla="*/ 19596 w 44727"/>
                  <a:gd name="connsiteY20" fmla="*/ 33721 h 33784"/>
                  <a:gd name="connsiteX21" fmla="*/ 19596 w 44727"/>
                  <a:gd name="connsiteY21" fmla="*/ 12279 h 33784"/>
                  <a:gd name="connsiteX22" fmla="*/ 18260 w 44727"/>
                  <a:gd name="connsiteY22" fmla="*/ 6680 h 33784"/>
                  <a:gd name="connsiteX23" fmla="*/ 13806 w 44727"/>
                  <a:gd name="connsiteY23" fmla="*/ 4835 h 33784"/>
                  <a:gd name="connsiteX24" fmla="*/ 9416 w 44727"/>
                  <a:gd name="connsiteY24" fmla="*/ 6108 h 33784"/>
                  <a:gd name="connsiteX25" fmla="*/ 6490 w 44727"/>
                  <a:gd name="connsiteY25" fmla="*/ 9734 h 33784"/>
                  <a:gd name="connsiteX26" fmla="*/ 5599 w 44727"/>
                  <a:gd name="connsiteY26" fmla="*/ 16606 h 33784"/>
                  <a:gd name="connsiteX27" fmla="*/ 5599 w 44727"/>
                  <a:gd name="connsiteY27" fmla="*/ 33721 h 33784"/>
                  <a:gd name="connsiteX28" fmla="*/ 0 w 44727"/>
                  <a:gd name="connsiteY28"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727" h="33784">
                    <a:moveTo>
                      <a:pt x="0" y="33721"/>
                    </a:moveTo>
                    <a:lnTo>
                      <a:pt x="0" y="700"/>
                    </a:lnTo>
                    <a:lnTo>
                      <a:pt x="5026" y="700"/>
                    </a:lnTo>
                    <a:lnTo>
                      <a:pt x="5026" y="5344"/>
                    </a:lnTo>
                    <a:cubicBezTo>
                      <a:pt x="6044" y="3754"/>
                      <a:pt x="7444" y="2418"/>
                      <a:pt x="9162" y="1463"/>
                    </a:cubicBezTo>
                    <a:cubicBezTo>
                      <a:pt x="10880" y="509"/>
                      <a:pt x="12852" y="0"/>
                      <a:pt x="15015" y="0"/>
                    </a:cubicBezTo>
                    <a:cubicBezTo>
                      <a:pt x="17433" y="0"/>
                      <a:pt x="19469" y="509"/>
                      <a:pt x="21060" y="1527"/>
                    </a:cubicBezTo>
                    <a:cubicBezTo>
                      <a:pt x="22650" y="2545"/>
                      <a:pt x="23732" y="3945"/>
                      <a:pt x="24368" y="5790"/>
                    </a:cubicBezTo>
                    <a:cubicBezTo>
                      <a:pt x="26977" y="1909"/>
                      <a:pt x="30349" y="0"/>
                      <a:pt x="34548" y="0"/>
                    </a:cubicBezTo>
                    <a:cubicBezTo>
                      <a:pt x="37793" y="0"/>
                      <a:pt x="40338" y="891"/>
                      <a:pt x="42119" y="2736"/>
                    </a:cubicBezTo>
                    <a:cubicBezTo>
                      <a:pt x="43901" y="4581"/>
                      <a:pt x="44728" y="7317"/>
                      <a:pt x="44728" y="11134"/>
                    </a:cubicBezTo>
                    <a:lnTo>
                      <a:pt x="44728" y="33784"/>
                    </a:lnTo>
                    <a:lnTo>
                      <a:pt x="39192" y="33784"/>
                    </a:lnTo>
                    <a:lnTo>
                      <a:pt x="39192" y="12979"/>
                    </a:lnTo>
                    <a:cubicBezTo>
                      <a:pt x="39192" y="10752"/>
                      <a:pt x="39001" y="9162"/>
                      <a:pt x="38620" y="8144"/>
                    </a:cubicBezTo>
                    <a:cubicBezTo>
                      <a:pt x="38238" y="7190"/>
                      <a:pt x="37602" y="6362"/>
                      <a:pt x="36647" y="5790"/>
                    </a:cubicBezTo>
                    <a:cubicBezTo>
                      <a:pt x="35693" y="5217"/>
                      <a:pt x="34548" y="4899"/>
                      <a:pt x="33275" y="4899"/>
                    </a:cubicBezTo>
                    <a:cubicBezTo>
                      <a:pt x="30985" y="4899"/>
                      <a:pt x="29013" y="5662"/>
                      <a:pt x="27486" y="7190"/>
                    </a:cubicBezTo>
                    <a:cubicBezTo>
                      <a:pt x="25959" y="8716"/>
                      <a:pt x="25195" y="11198"/>
                      <a:pt x="25195" y="14570"/>
                    </a:cubicBezTo>
                    <a:lnTo>
                      <a:pt x="25195" y="33721"/>
                    </a:lnTo>
                    <a:lnTo>
                      <a:pt x="19596" y="33721"/>
                    </a:lnTo>
                    <a:lnTo>
                      <a:pt x="19596" y="12279"/>
                    </a:lnTo>
                    <a:cubicBezTo>
                      <a:pt x="19596" y="9798"/>
                      <a:pt x="19151" y="7953"/>
                      <a:pt x="18260" y="6680"/>
                    </a:cubicBezTo>
                    <a:cubicBezTo>
                      <a:pt x="17369" y="5408"/>
                      <a:pt x="15842" y="4835"/>
                      <a:pt x="13806" y="4835"/>
                    </a:cubicBezTo>
                    <a:cubicBezTo>
                      <a:pt x="12216" y="4835"/>
                      <a:pt x="10752" y="5281"/>
                      <a:pt x="9416" y="6108"/>
                    </a:cubicBezTo>
                    <a:cubicBezTo>
                      <a:pt x="8080" y="6935"/>
                      <a:pt x="7126" y="8144"/>
                      <a:pt x="6490" y="9734"/>
                    </a:cubicBezTo>
                    <a:cubicBezTo>
                      <a:pt x="5917" y="11325"/>
                      <a:pt x="5599" y="13615"/>
                      <a:pt x="5599" y="16606"/>
                    </a:cubicBezTo>
                    <a:lnTo>
                      <a:pt x="5599" y="33721"/>
                    </a:lnTo>
                    <a:lnTo>
                      <a:pt x="0" y="33721"/>
                    </a:lnTo>
                    <a:close/>
                  </a:path>
                </a:pathLst>
              </a:custGeom>
              <a:solidFill>
                <a:srgbClr val="084F45"/>
              </a:solidFill>
              <a:ln w="6361" cap="flat">
                <a:noFill/>
                <a:prstDash val="solid"/>
                <a:miter/>
              </a:ln>
            </p:spPr>
            <p:txBody>
              <a:bodyPr rtlCol="0" anchor="ctr"/>
              <a:lstStyle/>
              <a:p>
                <a:endParaRPr lang="da-DK"/>
              </a:p>
            </p:txBody>
          </p:sp>
          <p:sp>
            <p:nvSpPr>
              <p:cNvPr id="58" name="Freeform: Shape 57">
                <a:extLst>
                  <a:ext uri="{FF2B5EF4-FFF2-40B4-BE49-F238E27FC236}">
                    <a16:creationId xmlns:a16="http://schemas.microsoft.com/office/drawing/2014/main" id="{802A53C9-5EC9-4B64-98E9-3ADB224B6428}"/>
                  </a:ext>
                </a:extLst>
              </p:cNvPr>
              <p:cNvSpPr/>
              <p:nvPr/>
            </p:nvSpPr>
            <p:spPr>
              <a:xfrm>
                <a:off x="1385858" y="3635586"/>
                <a:ext cx="26658" cy="33720"/>
              </a:xfrm>
              <a:custGeom>
                <a:avLst/>
                <a:gdLst>
                  <a:gd name="connsiteX0" fmla="*/ 21759 w 26658"/>
                  <a:gd name="connsiteY0" fmla="*/ 32957 h 33720"/>
                  <a:gd name="connsiteX1" fmla="*/ 21759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759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759" y="32957"/>
                    </a:moveTo>
                    <a:lnTo>
                      <a:pt x="21759" y="28122"/>
                    </a:lnTo>
                    <a:cubicBezTo>
                      <a:pt x="19214" y="31876"/>
                      <a:pt x="15715"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99" y="25704"/>
                      <a:pt x="6999" y="26849"/>
                      <a:pt x="8144" y="27676"/>
                    </a:cubicBezTo>
                    <a:cubicBezTo>
                      <a:pt x="9289" y="28504"/>
                      <a:pt x="10689" y="28949"/>
                      <a:pt x="12343" y="28949"/>
                    </a:cubicBezTo>
                    <a:cubicBezTo>
                      <a:pt x="13997" y="28949"/>
                      <a:pt x="15588" y="28504"/>
                      <a:pt x="17051" y="27676"/>
                    </a:cubicBezTo>
                    <a:cubicBezTo>
                      <a:pt x="18515" y="26849"/>
                      <a:pt x="19533" y="25640"/>
                      <a:pt x="20169" y="24177"/>
                    </a:cubicBezTo>
                    <a:cubicBezTo>
                      <a:pt x="20805" y="22714"/>
                      <a:pt x="21059" y="20551"/>
                      <a:pt x="21059" y="17751"/>
                    </a:cubicBezTo>
                    <a:lnTo>
                      <a:pt x="21059" y="64"/>
                    </a:lnTo>
                    <a:lnTo>
                      <a:pt x="26658" y="64"/>
                    </a:lnTo>
                    <a:lnTo>
                      <a:pt x="26658" y="33085"/>
                    </a:lnTo>
                    <a:lnTo>
                      <a:pt x="21759" y="33085"/>
                    </a:lnTo>
                    <a:close/>
                  </a:path>
                </a:pathLst>
              </a:custGeom>
              <a:solidFill>
                <a:srgbClr val="084F45"/>
              </a:solidFill>
              <a:ln w="6361" cap="flat">
                <a:noFill/>
                <a:prstDash val="solid"/>
                <a:miter/>
              </a:ln>
            </p:spPr>
            <p:txBody>
              <a:bodyPr rtlCol="0" anchor="ctr"/>
              <a:lstStyle/>
              <a:p>
                <a:endParaRPr lang="da-DK"/>
              </a:p>
            </p:txBody>
          </p:sp>
          <p:sp>
            <p:nvSpPr>
              <p:cNvPr id="59" name="Freeform: Shape 58">
                <a:extLst>
                  <a:ext uri="{FF2B5EF4-FFF2-40B4-BE49-F238E27FC236}">
                    <a16:creationId xmlns:a16="http://schemas.microsoft.com/office/drawing/2014/main" id="{095563D4-FF97-4E7E-A5EC-04C44C4B3277}"/>
                  </a:ext>
                </a:extLst>
              </p:cNvPr>
              <p:cNvSpPr/>
              <p:nvPr/>
            </p:nvSpPr>
            <p:spPr>
              <a:xfrm>
                <a:off x="1421233" y="3622989"/>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60" name="Freeform: Shape 59">
                <a:extLst>
                  <a:ext uri="{FF2B5EF4-FFF2-40B4-BE49-F238E27FC236}">
                    <a16:creationId xmlns:a16="http://schemas.microsoft.com/office/drawing/2014/main" id="{6480FAD5-D4CE-4ECB-B119-C6D3CDD773BA}"/>
                  </a:ext>
                </a:extLst>
              </p:cNvPr>
              <p:cNvSpPr/>
              <p:nvPr/>
            </p:nvSpPr>
            <p:spPr>
              <a:xfrm>
                <a:off x="1435549" y="3622989"/>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61" name="Freeform: Shape 60">
                <a:extLst>
                  <a:ext uri="{FF2B5EF4-FFF2-40B4-BE49-F238E27FC236}">
                    <a16:creationId xmlns:a16="http://schemas.microsoft.com/office/drawing/2014/main" id="{8B068AF5-D570-4E87-80BB-D7B2AB50233C}"/>
                  </a:ext>
                </a:extLst>
              </p:cNvPr>
              <p:cNvSpPr/>
              <p:nvPr/>
            </p:nvSpPr>
            <p:spPr>
              <a:xfrm>
                <a:off x="1447383" y="3634823"/>
                <a:ext cx="29076" cy="47145"/>
              </a:xfrm>
              <a:custGeom>
                <a:avLst/>
                <a:gdLst>
                  <a:gd name="connsiteX0" fmla="*/ 1209 w 29076"/>
                  <a:gd name="connsiteY0" fmla="*/ 36393 h 47145"/>
                  <a:gd name="connsiteX1" fmla="*/ 6617 w 29076"/>
                  <a:gd name="connsiteY1" fmla="*/ 37220 h 47145"/>
                  <a:gd name="connsiteX2" fmla="*/ 8526 w 29076"/>
                  <a:gd name="connsiteY2" fmla="*/ 40910 h 47145"/>
                  <a:gd name="connsiteX3" fmla="*/ 14188 w 29076"/>
                  <a:gd name="connsiteY3" fmla="*/ 42437 h 47145"/>
                  <a:gd name="connsiteX4" fmla="*/ 20169 w 29076"/>
                  <a:gd name="connsiteY4" fmla="*/ 40910 h 47145"/>
                  <a:gd name="connsiteX5" fmla="*/ 23032 w 29076"/>
                  <a:gd name="connsiteY5" fmla="*/ 36584 h 47145"/>
                  <a:gd name="connsiteX6" fmla="*/ 23414 w 29076"/>
                  <a:gd name="connsiteY6" fmla="*/ 29394 h 47145"/>
                  <a:gd name="connsiteX7" fmla="*/ 14252 w 29076"/>
                  <a:gd name="connsiteY7" fmla="*/ 33721 h 47145"/>
                  <a:gd name="connsiteX8" fmla="*/ 3754 w 29076"/>
                  <a:gd name="connsiteY8" fmla="*/ 28822 h 47145"/>
                  <a:gd name="connsiteX9" fmla="*/ 0 w 29076"/>
                  <a:gd name="connsiteY9" fmla="*/ 17051 h 47145"/>
                  <a:gd name="connsiteX10" fmla="*/ 1718 w 29076"/>
                  <a:gd name="connsiteY10" fmla="*/ 8335 h 47145"/>
                  <a:gd name="connsiteX11" fmla="*/ 6681 w 29076"/>
                  <a:gd name="connsiteY11" fmla="*/ 2163 h 47145"/>
                  <a:gd name="connsiteX12" fmla="*/ 14315 w 29076"/>
                  <a:gd name="connsiteY12" fmla="*/ 0 h 47145"/>
                  <a:gd name="connsiteX13" fmla="*/ 23923 w 29076"/>
                  <a:gd name="connsiteY13" fmla="*/ 4708 h 47145"/>
                  <a:gd name="connsiteX14" fmla="*/ 23923 w 29076"/>
                  <a:gd name="connsiteY14" fmla="*/ 763 h 47145"/>
                  <a:gd name="connsiteX15" fmla="*/ 29076 w 29076"/>
                  <a:gd name="connsiteY15" fmla="*/ 763 h 47145"/>
                  <a:gd name="connsiteX16" fmla="*/ 29076 w 29076"/>
                  <a:gd name="connsiteY16" fmla="*/ 29267 h 47145"/>
                  <a:gd name="connsiteX17" fmla="*/ 27485 w 29076"/>
                  <a:gd name="connsiteY17" fmla="*/ 40210 h 47145"/>
                  <a:gd name="connsiteX18" fmla="*/ 22523 w 29076"/>
                  <a:gd name="connsiteY18" fmla="*/ 45300 h 47145"/>
                  <a:gd name="connsiteX19" fmla="*/ 14125 w 29076"/>
                  <a:gd name="connsiteY19" fmla="*/ 47145 h 47145"/>
                  <a:gd name="connsiteX20" fmla="*/ 4581 w 29076"/>
                  <a:gd name="connsiteY20" fmla="*/ 44473 h 47145"/>
                  <a:gd name="connsiteX21" fmla="*/ 1209 w 29076"/>
                  <a:gd name="connsiteY21" fmla="*/ 36393 h 47145"/>
                  <a:gd name="connsiteX22" fmla="*/ 5853 w 29076"/>
                  <a:gd name="connsiteY22" fmla="*/ 16606 h 47145"/>
                  <a:gd name="connsiteX23" fmla="*/ 8462 w 29076"/>
                  <a:gd name="connsiteY23" fmla="*/ 26086 h 47145"/>
                  <a:gd name="connsiteX24" fmla="*/ 14952 w 29076"/>
                  <a:gd name="connsiteY24" fmla="*/ 29076 h 47145"/>
                  <a:gd name="connsiteX25" fmla="*/ 21441 w 29076"/>
                  <a:gd name="connsiteY25" fmla="*/ 26086 h 47145"/>
                  <a:gd name="connsiteX26" fmla="*/ 24050 w 29076"/>
                  <a:gd name="connsiteY26" fmla="*/ 16797 h 47145"/>
                  <a:gd name="connsiteX27" fmla="*/ 21378 w 29076"/>
                  <a:gd name="connsiteY27" fmla="*/ 7635 h 47145"/>
                  <a:gd name="connsiteX28" fmla="*/ 14888 w 29076"/>
                  <a:gd name="connsiteY28" fmla="*/ 4581 h 47145"/>
                  <a:gd name="connsiteX29" fmla="*/ 8526 w 29076"/>
                  <a:gd name="connsiteY29" fmla="*/ 7635 h 47145"/>
                  <a:gd name="connsiteX30" fmla="*/ 5853 w 29076"/>
                  <a:gd name="connsiteY30" fmla="*/ 16606 h 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076" h="47145">
                    <a:moveTo>
                      <a:pt x="1209" y="36393"/>
                    </a:moveTo>
                    <a:lnTo>
                      <a:pt x="6617" y="37220"/>
                    </a:lnTo>
                    <a:cubicBezTo>
                      <a:pt x="6871" y="38874"/>
                      <a:pt x="7508" y="40147"/>
                      <a:pt x="8526" y="40910"/>
                    </a:cubicBezTo>
                    <a:cubicBezTo>
                      <a:pt x="9925" y="41928"/>
                      <a:pt x="11834" y="42437"/>
                      <a:pt x="14188" y="42437"/>
                    </a:cubicBezTo>
                    <a:cubicBezTo>
                      <a:pt x="16797" y="42437"/>
                      <a:pt x="18769" y="41928"/>
                      <a:pt x="20169" y="40910"/>
                    </a:cubicBezTo>
                    <a:cubicBezTo>
                      <a:pt x="21569" y="39892"/>
                      <a:pt x="22523" y="38429"/>
                      <a:pt x="23032" y="36584"/>
                    </a:cubicBezTo>
                    <a:cubicBezTo>
                      <a:pt x="23286" y="35439"/>
                      <a:pt x="23477" y="33021"/>
                      <a:pt x="23414" y="29394"/>
                    </a:cubicBezTo>
                    <a:cubicBezTo>
                      <a:pt x="20996" y="32257"/>
                      <a:pt x="17942" y="33721"/>
                      <a:pt x="14252" y="33721"/>
                    </a:cubicBezTo>
                    <a:cubicBezTo>
                      <a:pt x="9734" y="33721"/>
                      <a:pt x="6235" y="32066"/>
                      <a:pt x="3754" y="28822"/>
                    </a:cubicBezTo>
                    <a:cubicBezTo>
                      <a:pt x="1272" y="25577"/>
                      <a:pt x="0" y="21632"/>
                      <a:pt x="0" y="17051"/>
                    </a:cubicBezTo>
                    <a:cubicBezTo>
                      <a:pt x="0" y="13934"/>
                      <a:pt x="573" y="11007"/>
                      <a:pt x="1718" y="8335"/>
                    </a:cubicBezTo>
                    <a:cubicBezTo>
                      <a:pt x="2863" y="5662"/>
                      <a:pt x="4517" y="3627"/>
                      <a:pt x="6681" y="2163"/>
                    </a:cubicBezTo>
                    <a:cubicBezTo>
                      <a:pt x="8844" y="700"/>
                      <a:pt x="11389" y="0"/>
                      <a:pt x="14315" y="0"/>
                    </a:cubicBezTo>
                    <a:cubicBezTo>
                      <a:pt x="18196" y="0"/>
                      <a:pt x="21441" y="1591"/>
                      <a:pt x="23923" y="4708"/>
                    </a:cubicBezTo>
                    <a:lnTo>
                      <a:pt x="23923" y="763"/>
                    </a:lnTo>
                    <a:lnTo>
                      <a:pt x="29076" y="763"/>
                    </a:lnTo>
                    <a:lnTo>
                      <a:pt x="29076" y="29267"/>
                    </a:lnTo>
                    <a:cubicBezTo>
                      <a:pt x="29076" y="34421"/>
                      <a:pt x="28567" y="38047"/>
                      <a:pt x="27485" y="40210"/>
                    </a:cubicBezTo>
                    <a:cubicBezTo>
                      <a:pt x="26404" y="42374"/>
                      <a:pt x="24813" y="44028"/>
                      <a:pt x="22523" y="45300"/>
                    </a:cubicBezTo>
                    <a:cubicBezTo>
                      <a:pt x="20232" y="46573"/>
                      <a:pt x="17497" y="47145"/>
                      <a:pt x="14125" y="47145"/>
                    </a:cubicBezTo>
                    <a:cubicBezTo>
                      <a:pt x="10180" y="47145"/>
                      <a:pt x="6999" y="46255"/>
                      <a:pt x="4581" y="44473"/>
                    </a:cubicBezTo>
                    <a:cubicBezTo>
                      <a:pt x="2290" y="42628"/>
                      <a:pt x="1145" y="39956"/>
                      <a:pt x="1209" y="36393"/>
                    </a:cubicBezTo>
                    <a:close/>
                    <a:moveTo>
                      <a:pt x="5853" y="16606"/>
                    </a:moveTo>
                    <a:cubicBezTo>
                      <a:pt x="5853" y="20932"/>
                      <a:pt x="6744" y="24114"/>
                      <a:pt x="8462" y="26086"/>
                    </a:cubicBezTo>
                    <a:cubicBezTo>
                      <a:pt x="10180" y="28058"/>
                      <a:pt x="12343" y="29076"/>
                      <a:pt x="14952" y="29076"/>
                    </a:cubicBezTo>
                    <a:cubicBezTo>
                      <a:pt x="17497" y="29076"/>
                      <a:pt x="19660" y="28058"/>
                      <a:pt x="21441" y="26086"/>
                    </a:cubicBezTo>
                    <a:cubicBezTo>
                      <a:pt x="23159" y="24114"/>
                      <a:pt x="24050" y="20996"/>
                      <a:pt x="24050" y="16797"/>
                    </a:cubicBezTo>
                    <a:cubicBezTo>
                      <a:pt x="24050" y="12788"/>
                      <a:pt x="23159" y="9734"/>
                      <a:pt x="21378" y="7635"/>
                    </a:cubicBezTo>
                    <a:cubicBezTo>
                      <a:pt x="19596" y="5535"/>
                      <a:pt x="17433" y="4581"/>
                      <a:pt x="14888" y="4581"/>
                    </a:cubicBezTo>
                    <a:cubicBezTo>
                      <a:pt x="12407" y="4581"/>
                      <a:pt x="10307" y="5599"/>
                      <a:pt x="8526" y="7635"/>
                    </a:cubicBezTo>
                    <a:cubicBezTo>
                      <a:pt x="6744" y="9607"/>
                      <a:pt x="5853" y="12597"/>
                      <a:pt x="5853" y="16606"/>
                    </a:cubicBezTo>
                    <a:close/>
                  </a:path>
                </a:pathLst>
              </a:custGeom>
              <a:solidFill>
                <a:srgbClr val="084F45"/>
              </a:solidFill>
              <a:ln w="6361" cap="flat">
                <a:noFill/>
                <a:prstDash val="solid"/>
                <a:miter/>
              </a:ln>
            </p:spPr>
            <p:txBody>
              <a:bodyPr rtlCol="0" anchor="ctr"/>
              <a:lstStyle/>
              <a:p>
                <a:endParaRPr lang="da-DK"/>
              </a:p>
            </p:txBody>
          </p:sp>
          <p:sp>
            <p:nvSpPr>
              <p:cNvPr id="62" name="Freeform: Shape 61">
                <a:extLst>
                  <a:ext uri="{FF2B5EF4-FFF2-40B4-BE49-F238E27FC236}">
                    <a16:creationId xmlns:a16="http://schemas.microsoft.com/office/drawing/2014/main" id="{3B43C07C-9280-457D-9334-7878B19EAF44}"/>
                  </a:ext>
                </a:extLst>
              </p:cNvPr>
              <p:cNvSpPr/>
              <p:nvPr/>
            </p:nvSpPr>
            <p:spPr>
              <a:xfrm>
                <a:off x="1485048" y="3622989"/>
                <a:ext cx="26849" cy="45618"/>
              </a:xfrm>
              <a:custGeom>
                <a:avLst/>
                <a:gdLst>
                  <a:gd name="connsiteX0" fmla="*/ 0 w 26849"/>
                  <a:gd name="connsiteY0" fmla="*/ 45555 h 45618"/>
                  <a:gd name="connsiteX1" fmla="*/ 0 w 26849"/>
                  <a:gd name="connsiteY1" fmla="*/ 0 h 45618"/>
                  <a:gd name="connsiteX2" fmla="*/ 5599 w 26849"/>
                  <a:gd name="connsiteY2" fmla="*/ 0 h 45618"/>
                  <a:gd name="connsiteX3" fmla="*/ 5599 w 26849"/>
                  <a:gd name="connsiteY3" fmla="*/ 16351 h 45618"/>
                  <a:gd name="connsiteX4" fmla="*/ 15461 w 26849"/>
                  <a:gd name="connsiteY4" fmla="*/ 11834 h 45618"/>
                  <a:gd name="connsiteX5" fmla="*/ 21823 w 26849"/>
                  <a:gd name="connsiteY5" fmla="*/ 13297 h 45618"/>
                  <a:gd name="connsiteX6" fmla="*/ 25704 w 26849"/>
                  <a:gd name="connsiteY6" fmla="*/ 17306 h 45618"/>
                  <a:gd name="connsiteX7" fmla="*/ 26849 w 26849"/>
                  <a:gd name="connsiteY7" fmla="*/ 24686 h 45618"/>
                  <a:gd name="connsiteX8" fmla="*/ 26849 w 26849"/>
                  <a:gd name="connsiteY8" fmla="*/ 45618 h 45618"/>
                  <a:gd name="connsiteX9" fmla="*/ 21250 w 26849"/>
                  <a:gd name="connsiteY9" fmla="*/ 45618 h 45618"/>
                  <a:gd name="connsiteX10" fmla="*/ 21250 w 26849"/>
                  <a:gd name="connsiteY10" fmla="*/ 24686 h 45618"/>
                  <a:gd name="connsiteX11" fmla="*/ 19405 w 26849"/>
                  <a:gd name="connsiteY11" fmla="*/ 18578 h 45618"/>
                  <a:gd name="connsiteX12" fmla="*/ 14252 w 26849"/>
                  <a:gd name="connsiteY12" fmla="*/ 16669 h 45618"/>
                  <a:gd name="connsiteX13" fmla="*/ 9607 w 26849"/>
                  <a:gd name="connsiteY13" fmla="*/ 17942 h 45618"/>
                  <a:gd name="connsiteX14" fmla="*/ 6490 w 26849"/>
                  <a:gd name="connsiteY14" fmla="*/ 21441 h 45618"/>
                  <a:gd name="connsiteX15" fmla="*/ 5535 w 26849"/>
                  <a:gd name="connsiteY15" fmla="*/ 27549 h 45618"/>
                  <a:gd name="connsiteX16" fmla="*/ 5535 w 26849"/>
                  <a:gd name="connsiteY16" fmla="*/ 45618 h 45618"/>
                  <a:gd name="connsiteX17" fmla="*/ 0 w 26849"/>
                  <a:gd name="connsiteY17" fmla="*/ 45618 h 4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49" h="45618">
                    <a:moveTo>
                      <a:pt x="0" y="45555"/>
                    </a:moveTo>
                    <a:lnTo>
                      <a:pt x="0" y="0"/>
                    </a:lnTo>
                    <a:lnTo>
                      <a:pt x="5599" y="0"/>
                    </a:lnTo>
                    <a:lnTo>
                      <a:pt x="5599" y="16351"/>
                    </a:lnTo>
                    <a:cubicBezTo>
                      <a:pt x="8208" y="13297"/>
                      <a:pt x="11516" y="11834"/>
                      <a:pt x="15461" y="11834"/>
                    </a:cubicBezTo>
                    <a:cubicBezTo>
                      <a:pt x="17878" y="11834"/>
                      <a:pt x="20041" y="12343"/>
                      <a:pt x="21823" y="13297"/>
                    </a:cubicBezTo>
                    <a:cubicBezTo>
                      <a:pt x="23605" y="14252"/>
                      <a:pt x="24941" y="15588"/>
                      <a:pt x="25704" y="17306"/>
                    </a:cubicBezTo>
                    <a:cubicBezTo>
                      <a:pt x="26468" y="19024"/>
                      <a:pt x="26849" y="21441"/>
                      <a:pt x="26849" y="24686"/>
                    </a:cubicBezTo>
                    <a:lnTo>
                      <a:pt x="26849" y="45618"/>
                    </a:lnTo>
                    <a:lnTo>
                      <a:pt x="21250" y="45618"/>
                    </a:lnTo>
                    <a:lnTo>
                      <a:pt x="21250" y="24686"/>
                    </a:lnTo>
                    <a:cubicBezTo>
                      <a:pt x="21250" y="21887"/>
                      <a:pt x="20678" y="19851"/>
                      <a:pt x="19405" y="18578"/>
                    </a:cubicBezTo>
                    <a:cubicBezTo>
                      <a:pt x="18196" y="17306"/>
                      <a:pt x="16479" y="16669"/>
                      <a:pt x="14252" y="16669"/>
                    </a:cubicBezTo>
                    <a:cubicBezTo>
                      <a:pt x="12598" y="16669"/>
                      <a:pt x="11071" y="17115"/>
                      <a:pt x="9607" y="17942"/>
                    </a:cubicBezTo>
                    <a:cubicBezTo>
                      <a:pt x="8144" y="18769"/>
                      <a:pt x="7126" y="19978"/>
                      <a:pt x="6490" y="21441"/>
                    </a:cubicBezTo>
                    <a:cubicBezTo>
                      <a:pt x="5853" y="22905"/>
                      <a:pt x="5535" y="24941"/>
                      <a:pt x="5535" y="27549"/>
                    </a:cubicBezTo>
                    <a:lnTo>
                      <a:pt x="5535" y="45618"/>
                    </a:lnTo>
                    <a:lnTo>
                      <a:pt x="0" y="45618"/>
                    </a:lnTo>
                    <a:close/>
                  </a:path>
                </a:pathLst>
              </a:custGeom>
              <a:solidFill>
                <a:srgbClr val="084F45"/>
              </a:solidFill>
              <a:ln w="6361" cap="flat">
                <a:noFill/>
                <a:prstDash val="solid"/>
                <a:miter/>
              </a:ln>
            </p:spPr>
            <p:txBody>
              <a:bodyPr rtlCol="0" anchor="ctr"/>
              <a:lstStyle/>
              <a:p>
                <a:endParaRPr lang="da-DK"/>
              </a:p>
            </p:txBody>
          </p:sp>
          <p:sp>
            <p:nvSpPr>
              <p:cNvPr id="63" name="Freeform: Shape 62">
                <a:extLst>
                  <a:ext uri="{FF2B5EF4-FFF2-40B4-BE49-F238E27FC236}">
                    <a16:creationId xmlns:a16="http://schemas.microsoft.com/office/drawing/2014/main" id="{A84D6C52-10B9-4821-809F-7F4FE92B7E2D}"/>
                  </a:ext>
                </a:extLst>
              </p:cNvPr>
              <p:cNvSpPr/>
              <p:nvPr/>
            </p:nvSpPr>
            <p:spPr>
              <a:xfrm>
                <a:off x="151857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64" name="Freeform: Shape 63">
                <a:extLst>
                  <a:ext uri="{FF2B5EF4-FFF2-40B4-BE49-F238E27FC236}">
                    <a16:creationId xmlns:a16="http://schemas.microsoft.com/office/drawing/2014/main" id="{0B63BC28-02FB-4C54-A31D-0C2488C29E50}"/>
                  </a:ext>
                </a:extLst>
              </p:cNvPr>
              <p:cNvSpPr/>
              <p:nvPr/>
            </p:nvSpPr>
            <p:spPr>
              <a:xfrm>
                <a:off x="1553698" y="3622989"/>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7"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solidFill>
                <a:srgbClr val="084F45"/>
              </a:solidFill>
              <a:ln w="6361" cap="flat">
                <a:noFill/>
                <a:prstDash val="solid"/>
                <a:miter/>
              </a:ln>
            </p:spPr>
            <p:txBody>
              <a:bodyPr rtlCol="0" anchor="ctr"/>
              <a:lstStyle/>
              <a:p>
                <a:endParaRPr lang="da-DK"/>
              </a:p>
            </p:txBody>
          </p:sp>
          <p:sp>
            <p:nvSpPr>
              <p:cNvPr id="65" name="Freeform: Shape 64">
                <a:extLst>
                  <a:ext uri="{FF2B5EF4-FFF2-40B4-BE49-F238E27FC236}">
                    <a16:creationId xmlns:a16="http://schemas.microsoft.com/office/drawing/2014/main" id="{0439BC68-3F99-4B8F-B0E9-F89455D7ACCA}"/>
                  </a:ext>
                </a:extLst>
              </p:cNvPr>
              <p:cNvSpPr/>
              <p:nvPr/>
            </p:nvSpPr>
            <p:spPr>
              <a:xfrm>
                <a:off x="158932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90"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66" name="Freeform: Shape 65">
                <a:extLst>
                  <a:ext uri="{FF2B5EF4-FFF2-40B4-BE49-F238E27FC236}">
                    <a16:creationId xmlns:a16="http://schemas.microsoft.com/office/drawing/2014/main" id="{E1825460-CB7A-49EA-9123-4776C6B79774}"/>
                  </a:ext>
                </a:extLst>
              </p:cNvPr>
              <p:cNvSpPr/>
              <p:nvPr/>
            </p:nvSpPr>
            <p:spPr>
              <a:xfrm>
                <a:off x="1626484" y="3634759"/>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67" name="Freeform: Shape 66">
                <a:extLst>
                  <a:ext uri="{FF2B5EF4-FFF2-40B4-BE49-F238E27FC236}">
                    <a16:creationId xmlns:a16="http://schemas.microsoft.com/office/drawing/2014/main" id="{77C24723-966F-492E-93CB-DD95F69208AF}"/>
                  </a:ext>
                </a:extLst>
              </p:cNvPr>
              <p:cNvSpPr/>
              <p:nvPr/>
            </p:nvSpPr>
            <p:spPr>
              <a:xfrm>
                <a:off x="1645826" y="3662181"/>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grpSp>
        <p:grpSp>
          <p:nvGrpSpPr>
            <p:cNvPr id="11" name="Graphic 5">
              <a:extLst>
                <a:ext uri="{FF2B5EF4-FFF2-40B4-BE49-F238E27FC236}">
                  <a16:creationId xmlns:a16="http://schemas.microsoft.com/office/drawing/2014/main" id="{260E0AFB-C6C2-4E0F-A9E4-091434B5D4E2}"/>
                </a:ext>
              </a:extLst>
            </p:cNvPr>
            <p:cNvGrpSpPr/>
            <p:nvPr/>
          </p:nvGrpSpPr>
          <p:grpSpPr>
            <a:xfrm>
              <a:off x="632997" y="3239655"/>
              <a:ext cx="440022" cy="431242"/>
              <a:chOff x="632997" y="3239655"/>
              <a:chExt cx="440022" cy="431242"/>
            </a:xfrm>
            <a:solidFill>
              <a:srgbClr val="084F45"/>
            </a:solidFill>
          </p:grpSpPr>
          <p:sp>
            <p:nvSpPr>
              <p:cNvPr id="12" name="Freeform: Shape 11">
                <a:extLst>
                  <a:ext uri="{FF2B5EF4-FFF2-40B4-BE49-F238E27FC236}">
                    <a16:creationId xmlns:a16="http://schemas.microsoft.com/office/drawing/2014/main" id="{B242B2E6-E46E-4222-BD92-DDDAA8D73F52}"/>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C2427276-EFA3-403E-8F2C-EC9973E085AC}"/>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4" name="Freeform: Shape 13">
                <a:extLst>
                  <a:ext uri="{FF2B5EF4-FFF2-40B4-BE49-F238E27FC236}">
                    <a16:creationId xmlns:a16="http://schemas.microsoft.com/office/drawing/2014/main" id="{3369F7BC-CB8C-44ED-861C-A3FE3846B5D8}"/>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5" name="Freeform: Shape 14">
                <a:extLst>
                  <a:ext uri="{FF2B5EF4-FFF2-40B4-BE49-F238E27FC236}">
                    <a16:creationId xmlns:a16="http://schemas.microsoft.com/office/drawing/2014/main" id="{B4EF9BB6-E5D2-4B37-9984-202357168F33}"/>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6" name="Freeform: Shape 15">
                <a:extLst>
                  <a:ext uri="{FF2B5EF4-FFF2-40B4-BE49-F238E27FC236}">
                    <a16:creationId xmlns:a16="http://schemas.microsoft.com/office/drawing/2014/main" id="{E43A2249-DFBE-4CBC-97D8-FE89476E5017}"/>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7" name="Freeform: Shape 16">
                <a:extLst>
                  <a:ext uri="{FF2B5EF4-FFF2-40B4-BE49-F238E27FC236}">
                    <a16:creationId xmlns:a16="http://schemas.microsoft.com/office/drawing/2014/main" id="{26657FA2-97BC-4E8F-B3AE-87BBB932F288}"/>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8" name="Freeform: Shape 17">
                <a:extLst>
                  <a:ext uri="{FF2B5EF4-FFF2-40B4-BE49-F238E27FC236}">
                    <a16:creationId xmlns:a16="http://schemas.microsoft.com/office/drawing/2014/main" id="{53AB87FF-D40C-409C-99FA-7A915132F4C3}"/>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grpSp>
      </p:grpSp>
    </p:spTree>
    <p:extLst>
      <p:ext uri="{BB962C8B-B14F-4D97-AF65-F5344CB8AC3E}">
        <p14:creationId xmlns:p14="http://schemas.microsoft.com/office/powerpoint/2010/main" val="197528133"/>
      </p:ext>
    </p:extLst>
  </p:cSld>
  <p:clrMap bg1="lt1" tx1="dk1" bg2="lt2" tx2="dk2" accent1="accent1" accent2="accent2" accent3="accent3" accent4="accent4" accent5="accent5" accent6="accent6" hlink="hlink" folHlink="folHlink"/>
  <p:sldLayoutIdLst>
    <p:sldLayoutId id="2147483649" r:id="rId1"/>
    <p:sldLayoutId id="2147483676" r:id="rId2"/>
    <p:sldLayoutId id="2147483650" r:id="rId3"/>
    <p:sldLayoutId id="2147483673" r:id="rId4"/>
    <p:sldLayoutId id="2147483651" r:id="rId5"/>
    <p:sldLayoutId id="2147483652" r:id="rId6"/>
    <p:sldLayoutId id="2147483654" r:id="rId7"/>
    <p:sldLayoutId id="2147483655" r:id="rId8"/>
    <p:sldLayoutId id="2147483656" r:id="rId9"/>
    <p:sldLayoutId id="2147483657" r:id="rId10"/>
    <p:sldLayoutId id="2147483658" r:id="rId11"/>
    <p:sldLayoutId id="2147483659" r:id="rId12"/>
    <p:sldLayoutId id="2147483663" r:id="rId13"/>
    <p:sldLayoutId id="2147483665" r:id="rId14"/>
    <p:sldLayoutId id="2147483666" r:id="rId15"/>
    <p:sldLayoutId id="2147483667" r:id="rId16"/>
    <p:sldLayoutId id="2147483670" r:id="rId17"/>
    <p:sldLayoutId id="2147483672" r:id="rId18"/>
  </p:sldLayoutIdLst>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E42410B-1ABE-EBDE-AA9D-808507833816}"/>
              </a:ext>
            </a:extLst>
          </p:cNvPr>
          <p:cNvGraphicFramePr>
            <a:graphicFrameLocks noChangeAspect="1"/>
          </p:cNvGraphicFramePr>
          <p:nvPr userDrawn="1">
            <p:custDataLst>
              <p:tags r:id="rId54"/>
            </p:custDataLst>
            <p:extLst>
              <p:ext uri="{D42A27DB-BD31-4B8C-83A1-F6EECF244321}">
                <p14:modId xmlns:p14="http://schemas.microsoft.com/office/powerpoint/2010/main" val="373091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08" imgH="408" progId="TCLayout.ActiveDocument.1">
                  <p:embed/>
                </p:oleObj>
              </mc:Choice>
              <mc:Fallback>
                <p:oleObj name="think-cell Slide" r:id="rId56" imgW="408" imgH="408" progId="TCLayout.ActiveDocument.1">
                  <p:embed/>
                  <p:pic>
                    <p:nvPicPr>
                      <p:cNvPr id="5" name="think-cell data - do not delete" hidden="1">
                        <a:extLst>
                          <a:ext uri="{FF2B5EF4-FFF2-40B4-BE49-F238E27FC236}">
                            <a16:creationId xmlns:a16="http://schemas.microsoft.com/office/drawing/2014/main" id="{FE42410B-1ABE-EBDE-AA9D-808507833816}"/>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7" name="Title">
            <a:extLst>
              <a:ext uri="{FF2B5EF4-FFF2-40B4-BE49-F238E27FC236}">
                <a16:creationId xmlns:a16="http://schemas.microsoft.com/office/drawing/2014/main" id="{C9392247-CE23-49BB-A39E-64C7575BE478}"/>
              </a:ext>
            </a:extLst>
          </p:cNvPr>
          <p:cNvSpPr>
            <a:spLocks noGrp="1"/>
          </p:cNvSpPr>
          <p:nvPr>
            <p:ph type="title"/>
          </p:nvPr>
        </p:nvSpPr>
        <p:spPr>
          <a:xfrm>
            <a:off x="263525" y="272416"/>
            <a:ext cx="10659151" cy="689796"/>
          </a:xfrm>
          <a:prstGeom prst="rect">
            <a:avLst/>
          </a:prstGeom>
        </p:spPr>
        <p:txBody>
          <a:bodyPr vert="horz" lIns="0" tIns="0" rIns="0" bIns="0" rtlCol="0" anchor="t" anchorCtr="0">
            <a:noAutofit/>
          </a:bodyPr>
          <a:lstStyle/>
          <a:p>
            <a:r>
              <a:rPr lang="en-GB"/>
              <a:t>Click to edit Master title slide</a:t>
            </a:r>
          </a:p>
        </p:txBody>
      </p:sp>
      <p:sp>
        <p:nvSpPr>
          <p:cNvPr id="3" name="Text Placeholder"/>
          <p:cNvSpPr>
            <a:spLocks noGrp="1"/>
          </p:cNvSpPr>
          <p:nvPr>
            <p:ph type="body" idx="1"/>
          </p:nvPr>
        </p:nvSpPr>
        <p:spPr>
          <a:xfrm>
            <a:off x="263228" y="1627188"/>
            <a:ext cx="11664822" cy="4689475"/>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Date" hidden="1">
            <a:extLst>
              <a:ext uri="{FF2B5EF4-FFF2-40B4-BE49-F238E27FC236}">
                <a16:creationId xmlns:a16="http://schemas.microsoft.com/office/drawing/2014/main" id="{48DD5367-4922-2773-FBEF-B6F6A508A551}"/>
              </a:ext>
            </a:extLst>
          </p:cNvPr>
          <p:cNvSpPr>
            <a:spLocks noGrp="1"/>
          </p:cNvSpPr>
          <p:nvPr>
            <p:ph type="dt" sz="half" idx="2"/>
          </p:nvPr>
        </p:nvSpPr>
        <p:spPr>
          <a:xfrm>
            <a:off x="10919523" y="6499716"/>
            <a:ext cx="648000" cy="108000"/>
          </a:xfrm>
          <a:prstGeom prst="rect">
            <a:avLst/>
          </a:prstGeom>
        </p:spPr>
        <p:txBody>
          <a:bodyPr vert="horz" lIns="0" tIns="0" rIns="0" bIns="0" rtlCol="0" anchor="b" anchorCtr="0"/>
          <a:lstStyle>
            <a:lvl1pPr algn="r">
              <a:buFontTx/>
              <a:buNone/>
              <a:defRPr sz="650">
                <a:solidFill>
                  <a:schemeClr val="tx1"/>
                </a:solidFill>
              </a:defRPr>
            </a:lvl1pPr>
          </a:lstStyle>
          <a:p>
            <a:fld id="{A8AFB5FE-5FB9-4640-80D3-55C5CCB0ACEA}" type="datetime3">
              <a:rPr lang="en-GB" smtClean="0"/>
              <a:pPr/>
              <a:t>12 May, 2025</a:t>
            </a:fld>
            <a:endParaRPr lang="en-GB"/>
          </a:p>
        </p:txBody>
      </p:sp>
      <p:sp>
        <p:nvSpPr>
          <p:cNvPr id="6" name="Slide Number">
            <a:extLst>
              <a:ext uri="{FF2B5EF4-FFF2-40B4-BE49-F238E27FC236}">
                <a16:creationId xmlns:a16="http://schemas.microsoft.com/office/drawing/2014/main" id="{DFEE1C04-B99D-C404-D284-CC29D3BE47C8}"/>
              </a:ext>
            </a:extLst>
          </p:cNvPr>
          <p:cNvSpPr txBox="1">
            <a:spLocks noGrp="1" noRot="1" noMove="1" noResize="1" noEditPoints="1" noAdjustHandles="1" noChangeArrowheads="1" noChangeShapeType="1"/>
          </p:cNvSpPr>
          <p:nvPr userDrawn="1"/>
        </p:nvSpPr>
        <p:spPr>
          <a:xfrm>
            <a:off x="11640475" y="6499716"/>
            <a:ext cx="2880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1F2023"/>
                </a:solidFill>
              </a:rPr>
              <a:pPr/>
              <a:t>‹#›</a:t>
            </a:fld>
            <a:endParaRPr lang="en-GB" sz="650">
              <a:solidFill>
                <a:srgbClr val="1F2023"/>
              </a:solidFill>
            </a:endParaRPr>
          </a:p>
        </p:txBody>
      </p:sp>
      <p:sp>
        <p:nvSpPr>
          <p:cNvPr id="10" name="Logo">
            <a:extLst>
              <a:ext uri="{FF2B5EF4-FFF2-40B4-BE49-F238E27FC236}">
                <a16:creationId xmlns:a16="http://schemas.microsoft.com/office/drawing/2014/main" id="{1DA9C602-7140-4372-ADBF-B7EAF2BC9793}"/>
              </a:ext>
            </a:extLst>
          </p:cNvPr>
          <p:cNvSpPr>
            <a:spLocks noGrp="1" noRot="1" noChangeAspect="1" noMove="1" noResize="1" noEditPoints="1" noAdjustHandles="1" noChangeArrowheads="1" noChangeShapeType="1"/>
          </p:cNvSpPr>
          <p:nvPr>
            <p:custDataLst>
              <p:tags r:id="rId55"/>
            </p:custDataLst>
          </p:nvPr>
        </p:nvSpPr>
        <p:spPr bwMode="auto">
          <a:xfrm rot="5400000">
            <a:off x="11675647" y="370181"/>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GB">
              <a:solidFill>
                <a:schemeClr val="tx1"/>
              </a:solidFill>
            </a:endParaRPr>
          </a:p>
        </p:txBody>
      </p:sp>
    </p:spTree>
    <p:extLst>
      <p:ext uri="{BB962C8B-B14F-4D97-AF65-F5344CB8AC3E}">
        <p14:creationId xmlns:p14="http://schemas.microsoft.com/office/powerpoint/2010/main" val="247064548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 id="2147483725" r:id="rId45"/>
    <p:sldLayoutId id="2147483726" r:id="rId46"/>
    <p:sldLayoutId id="2147483727" r:id="rId47"/>
    <p:sldLayoutId id="2147483728" r:id="rId48"/>
    <p:sldLayoutId id="2147483729" r:id="rId49"/>
    <p:sldLayoutId id="2147483730" r:id="rId50"/>
    <p:sldLayoutId id="2147483731" r:id="rId51"/>
    <p:sldLayoutId id="2147483732"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742969" rtl="0" eaLnBrk="1" latinLnBrk="0" hangingPunct="1">
        <a:lnSpc>
          <a:spcPct val="93000"/>
        </a:lnSpc>
        <a:spcBef>
          <a:spcPct val="0"/>
        </a:spcBef>
        <a:spcAft>
          <a:spcPts val="600"/>
        </a:spcAft>
        <a:buNone/>
        <a:defRPr sz="2400" kern="1200">
          <a:solidFill>
            <a:srgbClr val="1F2023"/>
          </a:solidFill>
          <a:latin typeface="+mj-lt"/>
          <a:ea typeface="+mj-ea"/>
          <a:cs typeface="+mj-cs"/>
        </a:defRPr>
      </a:lvl1pPr>
    </p:titleStyle>
    <p:bodyStyle>
      <a:lvl1pPr marL="0" indent="0" algn="l" defTabSz="742969" rtl="0" eaLnBrk="1" latinLnBrk="0" hangingPunct="1">
        <a:lnSpc>
          <a:spcPct val="93000"/>
        </a:lnSpc>
        <a:spcBef>
          <a:spcPts val="0"/>
        </a:spcBef>
        <a:spcAft>
          <a:spcPts val="600"/>
        </a:spcAft>
        <a:buFont typeface="Arial" panose="020B0604020202020204" pitchFamily="34" charset="0"/>
        <a:buChar char="​"/>
        <a:defRPr sz="1400" kern="1200">
          <a:solidFill>
            <a:srgbClr val="1F2023"/>
          </a:solidFill>
          <a:latin typeface="+mn-lt"/>
          <a:ea typeface="+mn-ea"/>
          <a:cs typeface="+mn-cs"/>
        </a:defRPr>
      </a:lvl1pPr>
      <a:lvl2pPr marL="144003" indent="-144003" algn="l" defTabSz="742969" rtl="0" eaLnBrk="1" latinLnBrk="0" hangingPunct="1">
        <a:lnSpc>
          <a:spcPct val="93000"/>
        </a:lnSpc>
        <a:spcBef>
          <a:spcPts val="0"/>
        </a:spcBef>
        <a:spcAft>
          <a:spcPts val="600"/>
        </a:spcAft>
        <a:buFont typeface="Arial" panose="020B0604020202020204" pitchFamily="34" charset="0"/>
        <a:buChar char="•"/>
        <a:defRPr sz="1400" kern="1200">
          <a:solidFill>
            <a:srgbClr val="1F2023"/>
          </a:solidFill>
          <a:latin typeface="+mn-lt"/>
          <a:ea typeface="+mn-ea"/>
          <a:cs typeface="+mn-cs"/>
        </a:defRPr>
      </a:lvl2pPr>
      <a:lvl3pPr marL="288007" indent="-144003" algn="l" defTabSz="742969" rtl="0" eaLnBrk="1" latinLnBrk="0" hangingPunct="1">
        <a:lnSpc>
          <a:spcPct val="93000"/>
        </a:lnSpc>
        <a:spcBef>
          <a:spcPts val="0"/>
        </a:spcBef>
        <a:spcAft>
          <a:spcPts val="600"/>
        </a:spcAft>
        <a:buFont typeface="Arial" panose="020B0604020202020204" pitchFamily="34" charset="0"/>
        <a:buChar char="–"/>
        <a:defRPr sz="1400" kern="1200">
          <a:solidFill>
            <a:srgbClr val="1F2023"/>
          </a:solidFill>
          <a:latin typeface="+mn-lt"/>
          <a:ea typeface="+mn-ea"/>
          <a:cs typeface="+mn-cs"/>
        </a:defRPr>
      </a:lvl3pPr>
      <a:lvl4pPr marL="432011" indent="-144003" algn="l" defTabSz="742969" rtl="0" eaLnBrk="1" latinLnBrk="0" hangingPunct="1">
        <a:lnSpc>
          <a:spcPct val="93000"/>
        </a:lnSpc>
        <a:spcBef>
          <a:spcPts val="0"/>
        </a:spcBef>
        <a:spcAft>
          <a:spcPts val="600"/>
        </a:spcAft>
        <a:buFont typeface="Arial" panose="020B0604020202020204" pitchFamily="34" charset="0"/>
        <a:buChar char="•"/>
        <a:defRPr sz="1400" b="0" kern="1200">
          <a:solidFill>
            <a:srgbClr val="1F2023"/>
          </a:solidFill>
          <a:latin typeface="+mn-lt"/>
          <a:ea typeface="+mn-ea"/>
          <a:cs typeface="+mn-cs"/>
        </a:defRPr>
      </a:lvl4pPr>
      <a:lvl5pPr marL="0" indent="0" algn="l" defTabSz="742969" rtl="0" eaLnBrk="1" latinLnBrk="0" hangingPunct="1">
        <a:lnSpc>
          <a:spcPct val="93000"/>
        </a:lnSpc>
        <a:spcBef>
          <a:spcPts val="0"/>
        </a:spcBef>
        <a:spcAft>
          <a:spcPts val="600"/>
        </a:spcAft>
        <a:buFont typeface="Arial" panose="020B0604020202020204" pitchFamily="34" charset="0"/>
        <a:buChar char="​"/>
        <a:defRPr sz="1400" b="1" kern="1200" cap="none" baseline="0">
          <a:solidFill>
            <a:srgbClr val="1F2023"/>
          </a:solidFill>
          <a:latin typeface="+mn-lt"/>
          <a:ea typeface="+mn-ea"/>
          <a:cs typeface="+mn-cs"/>
        </a:defRPr>
      </a:lvl5pPr>
      <a:lvl6pPr marL="0" indent="0" algn="l" defTabSz="742969" rtl="0" eaLnBrk="1" latinLnBrk="0" hangingPunct="1">
        <a:lnSpc>
          <a:spcPct val="93000"/>
        </a:lnSpc>
        <a:spcBef>
          <a:spcPts val="0"/>
        </a:spcBef>
        <a:spcAft>
          <a:spcPts val="600"/>
        </a:spcAft>
        <a:buFont typeface="Arial" panose="020B0604020202020204" pitchFamily="34" charset="0"/>
        <a:buChar char="​"/>
        <a:defRPr sz="1400" b="1" kern="1200" cap="all" baseline="0">
          <a:solidFill>
            <a:srgbClr val="1F2023"/>
          </a:solidFill>
          <a:latin typeface="+mj-lt"/>
          <a:ea typeface="+mn-ea"/>
          <a:cs typeface="+mn-cs"/>
        </a:defRPr>
      </a:lvl6pPr>
      <a:lvl7pPr marL="216000" indent="-216000" algn="l" defTabSz="742969" rtl="0" eaLnBrk="1" latinLnBrk="0" hangingPunct="1">
        <a:lnSpc>
          <a:spcPct val="93000"/>
        </a:lnSpc>
        <a:spcBef>
          <a:spcPts val="0"/>
        </a:spcBef>
        <a:spcAft>
          <a:spcPts val="600"/>
        </a:spcAft>
        <a:buFont typeface="+mj-lt"/>
        <a:buAutoNum type="arabicPeriod"/>
        <a:defRPr sz="1400" kern="1200" baseline="0">
          <a:solidFill>
            <a:srgbClr val="1F2023"/>
          </a:solidFill>
          <a:latin typeface="+mn-lt"/>
          <a:ea typeface="+mn-ea"/>
          <a:cs typeface="+mn-cs"/>
        </a:defRPr>
      </a:lvl7pPr>
      <a:lvl8pPr marL="216000" indent="-216000" algn="l" defTabSz="742969" rtl="0" eaLnBrk="1" latinLnBrk="0" hangingPunct="1">
        <a:lnSpc>
          <a:spcPct val="93000"/>
        </a:lnSpc>
        <a:spcBef>
          <a:spcPts val="0"/>
        </a:spcBef>
        <a:spcAft>
          <a:spcPts val="600"/>
        </a:spcAft>
        <a:buFont typeface="+mj-lt"/>
        <a:buAutoNum type="alphaUcPeriod"/>
        <a:defRPr sz="1400" kern="1200">
          <a:solidFill>
            <a:srgbClr val="1F2023"/>
          </a:solidFill>
          <a:latin typeface="+mn-lt"/>
          <a:ea typeface="+mn-ea"/>
          <a:cs typeface="+mn-cs"/>
        </a:defRPr>
      </a:lvl8pPr>
      <a:lvl9pPr marL="0" indent="0" algn="l" defTabSz="742969" rtl="0" eaLnBrk="1" latinLnBrk="0" hangingPunct="1">
        <a:lnSpc>
          <a:spcPct val="100000"/>
        </a:lnSpc>
        <a:spcBef>
          <a:spcPts val="0"/>
        </a:spcBef>
        <a:spcAft>
          <a:spcPts val="600"/>
        </a:spcAft>
        <a:buFont typeface="Arial" panose="020B0604020202020204" pitchFamily="34" charset="0"/>
        <a:buNone/>
        <a:defRPr sz="2800" kern="1200" cap="none" baseline="0">
          <a:solidFill>
            <a:srgbClr val="1F2023"/>
          </a:solidFill>
          <a:latin typeface="Palatino Linotype" panose="02040502050505030304" pitchFamily="18" charset="0"/>
          <a:ea typeface="+mn-ea"/>
          <a:cs typeface="+mn-cs"/>
        </a:defRPr>
      </a:lvl9pPr>
    </p:bodyStyle>
    <p:otherStyle>
      <a:defPPr>
        <a:defRPr lang="en-US"/>
      </a:defPPr>
      <a:lvl1pPr marL="0" indent="0" algn="l" defTabSz="742969"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3" indent="-144003" algn="l" defTabSz="742969"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7" indent="-144003" algn="l" defTabSz="742969"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11" indent="-144003" algn="l" defTabSz="742969"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69"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69" rtl="0" eaLnBrk="1" latinLnBrk="0" hangingPunct="1">
        <a:lnSpc>
          <a:spcPct val="90000"/>
        </a:lnSpc>
        <a:spcBef>
          <a:spcPts val="0"/>
        </a:spcBef>
        <a:spcAft>
          <a:spcPts val="600"/>
        </a:spcAft>
        <a:buFont typeface="Arial" panose="020B0604020202020204" pitchFamily="34" charset="0"/>
        <a:buChar char="​"/>
        <a:defRPr sz="1000" b="1" kern="1200" cap="all" baseline="0">
          <a:solidFill>
            <a:srgbClr val="1F2023"/>
          </a:solidFill>
          <a:latin typeface="+mj-lt"/>
          <a:ea typeface="+mn-ea"/>
          <a:cs typeface="+mn-cs"/>
        </a:defRPr>
      </a:lvl6pPr>
      <a:lvl7pPr marL="144003" indent="-144003" algn="l" defTabSz="742969" rtl="0" eaLnBrk="1" latinLnBrk="0" hangingPunct="1">
        <a:lnSpc>
          <a:spcPct val="90000"/>
        </a:lnSpc>
        <a:spcBef>
          <a:spcPts val="0"/>
        </a:spcBef>
        <a:spcAft>
          <a:spcPts val="600"/>
        </a:spcAft>
        <a:buFont typeface="+mj-lt"/>
        <a:buAutoNum type="arabicPeriod"/>
        <a:defRPr sz="1000" kern="1200" baseline="0">
          <a:solidFill>
            <a:srgbClr val="1F2023"/>
          </a:solidFill>
          <a:latin typeface="+mn-lt"/>
          <a:ea typeface="+mn-ea"/>
          <a:cs typeface="+mn-cs"/>
        </a:defRPr>
      </a:lvl7pPr>
      <a:lvl8pPr marL="144003" indent="-144003" algn="l" defTabSz="742969" rtl="0" eaLnBrk="1" latinLnBrk="0" hangingPunct="1">
        <a:lnSpc>
          <a:spcPct val="90000"/>
        </a:lnSpc>
        <a:spcBef>
          <a:spcPts val="0"/>
        </a:spcBef>
        <a:spcAft>
          <a:spcPts val="600"/>
        </a:spcAft>
        <a:buFont typeface="+mj-lt"/>
        <a:buAutoNum type="alphaUcPeriod"/>
        <a:defRPr sz="1000" kern="1200">
          <a:solidFill>
            <a:srgbClr val="1F2023"/>
          </a:solidFill>
          <a:latin typeface="+mn-lt"/>
          <a:ea typeface="+mn-ea"/>
          <a:cs typeface="+mn-cs"/>
        </a:defRPr>
      </a:lvl8pPr>
      <a:lvl9pPr marL="0" indent="0" algn="l" defTabSz="742969"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p:otherStyle>
  </p:txStyles>
  <p:extLst>
    <p:ext uri="{27BBF7A9-308A-43DC-89C8-2F10F3537804}">
      <p15:sldGuideLst xmlns:p15="http://schemas.microsoft.com/office/powerpoint/2012/main">
        <p15:guide id="20" orient="horz" pos="1025">
          <p15:clr>
            <a:srgbClr val="F26B43"/>
          </p15:clr>
        </p15:guide>
        <p15:guide id="21" orient="horz" pos="3979">
          <p15:clr>
            <a:srgbClr val="F26B43"/>
          </p15:clr>
        </p15:guide>
        <p15:guide id="22" orient="horz" pos="170">
          <p15:clr>
            <a:srgbClr val="F26B43"/>
          </p15:clr>
        </p15:guide>
        <p15:guide id="23" orient="horz" pos="606">
          <p15:clr>
            <a:srgbClr val="F26B43"/>
          </p15:clr>
        </p15:guide>
        <p15:guide id="24" pos="166">
          <p15:clr>
            <a:srgbClr val="F26B43"/>
          </p15:clr>
        </p15:guide>
        <p15:guide id="25" pos="7514">
          <p15:clr>
            <a:srgbClr val="F26B43"/>
          </p15:clr>
        </p15:guide>
        <p15:guide id="26" orient="horz" pos="414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nyt-sis.atlassian.net/issues/NSIS-1621?filter=10380"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nyt-sis.atlassian.net/browse/NSIS-3180" TargetMode="External"/><Relationship Id="rId2" Type="http://schemas.openxmlformats.org/officeDocument/2006/relationships/hyperlink" Target="https://nyt-sis.atlassian.net/issues/NSIS-1621?filter=10380" TargetMode="External"/><Relationship Id="rId1" Type="http://schemas.openxmlformats.org/officeDocument/2006/relationships/slideLayout" Target="../slideLayouts/slideLayout7.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A7263-4953-693C-DD0A-47704C56A17D}"/>
              </a:ext>
            </a:extLst>
          </p:cNvPr>
          <p:cNvSpPr>
            <a:spLocks noGrp="1"/>
          </p:cNvSpPr>
          <p:nvPr>
            <p:ph type="ctrTitle"/>
          </p:nvPr>
        </p:nvSpPr>
        <p:spPr/>
        <p:txBody>
          <a:bodyPr/>
          <a:lstStyle/>
          <a:p>
            <a:r>
              <a:rPr lang="da-DK" dirty="0"/>
              <a:t>Test af Fælles Løsning </a:t>
            </a:r>
          </a:p>
        </p:txBody>
      </p:sp>
      <p:sp>
        <p:nvSpPr>
          <p:cNvPr id="4" name="Date Placeholder 3">
            <a:extLst>
              <a:ext uri="{FF2B5EF4-FFF2-40B4-BE49-F238E27FC236}">
                <a16:creationId xmlns:a16="http://schemas.microsoft.com/office/drawing/2014/main" id="{CC89F303-62A5-A6FE-49B7-25D5F82C1E6D}"/>
              </a:ext>
            </a:extLst>
          </p:cNvPr>
          <p:cNvSpPr>
            <a:spLocks noGrp="1"/>
          </p:cNvSpPr>
          <p:nvPr>
            <p:ph type="dt" sz="half" idx="10"/>
          </p:nvPr>
        </p:nvSpPr>
        <p:spPr/>
        <p:txBody>
          <a:bodyPr/>
          <a:lstStyle/>
          <a:p>
            <a:fld id="{753B5EE1-9FED-4010-AAB9-1B74CB29B8F1}" type="datetime1">
              <a:rPr lang="da-DK" smtClean="0"/>
              <a:t>12-05-2025</a:t>
            </a:fld>
            <a:endParaRPr lang="da-DK"/>
          </a:p>
        </p:txBody>
      </p:sp>
      <p:sp>
        <p:nvSpPr>
          <p:cNvPr id="5" name="Slide Number Placeholder 4">
            <a:extLst>
              <a:ext uri="{FF2B5EF4-FFF2-40B4-BE49-F238E27FC236}">
                <a16:creationId xmlns:a16="http://schemas.microsoft.com/office/drawing/2014/main" id="{6D131E7E-5794-C27C-48ED-5EA9F9A34CC8}"/>
              </a:ext>
            </a:extLst>
          </p:cNvPr>
          <p:cNvSpPr>
            <a:spLocks noGrp="1"/>
          </p:cNvSpPr>
          <p:nvPr>
            <p:ph type="sldNum" sz="quarter" idx="12"/>
          </p:nvPr>
        </p:nvSpPr>
        <p:spPr/>
        <p:txBody>
          <a:bodyPr/>
          <a:lstStyle/>
          <a:p>
            <a:fld id="{39DF810D-F77C-4BB2-BE6A-BDC67BB44902}" type="slidenum">
              <a:rPr lang="da-DK" smtClean="0"/>
              <a:pPr/>
              <a:t>1</a:t>
            </a:fld>
            <a:endParaRPr lang="da-DK"/>
          </a:p>
        </p:txBody>
      </p:sp>
      <p:sp>
        <p:nvSpPr>
          <p:cNvPr id="6" name="Footer Placeholder 5">
            <a:extLst>
              <a:ext uri="{FF2B5EF4-FFF2-40B4-BE49-F238E27FC236}">
                <a16:creationId xmlns:a16="http://schemas.microsoft.com/office/drawing/2014/main" id="{0DAEAAE7-0411-FEE9-3991-096773C1A970}"/>
              </a:ext>
            </a:extLst>
          </p:cNvPr>
          <p:cNvSpPr>
            <a:spLocks noGrp="1"/>
          </p:cNvSpPr>
          <p:nvPr>
            <p:ph type="ftr" sz="quarter" idx="3"/>
          </p:nvPr>
        </p:nvSpPr>
        <p:spPr/>
        <p:txBody>
          <a:body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Tree>
    <p:extLst>
      <p:ext uri="{BB962C8B-B14F-4D97-AF65-F5344CB8AC3E}">
        <p14:creationId xmlns:p14="http://schemas.microsoft.com/office/powerpoint/2010/main" val="628376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09EC90-E232-108C-744A-68AE826594F6}"/>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BECCE60A-8FC3-2D20-A276-E1719B216586}"/>
              </a:ext>
            </a:extLst>
          </p:cNvPr>
          <p:cNvSpPr>
            <a:spLocks noGrp="1"/>
          </p:cNvSpPr>
          <p:nvPr>
            <p:ph type="ctrTitle"/>
          </p:nvPr>
        </p:nvSpPr>
        <p:spPr>
          <a:xfrm>
            <a:off x="587504" y="1143466"/>
            <a:ext cx="5508495" cy="1631539"/>
          </a:xfrm>
        </p:spPr>
        <p:txBody>
          <a:bodyPr>
            <a:normAutofit/>
          </a:bodyPr>
          <a:lstStyle/>
          <a:p>
            <a:pPr algn="l">
              <a:lnSpc>
                <a:spcPct val="85000"/>
              </a:lnSpc>
            </a:pPr>
            <a:r>
              <a:rPr lang="da-DK" sz="3600" dirty="0">
                <a:latin typeface="+mn-lt"/>
              </a:rPr>
              <a:t>P</a:t>
            </a:r>
            <a:r>
              <a:rPr lang="da-DK" sz="3600" dirty="0">
                <a:solidFill>
                  <a:schemeClr val="bg1"/>
                </a:solidFill>
                <a:latin typeface="+mn-lt"/>
              </a:rPr>
              <a:t>rodukt Risiko </a:t>
            </a:r>
            <a:r>
              <a:rPr lang="da-DK" sz="3600" dirty="0" err="1">
                <a:solidFill>
                  <a:schemeClr val="bg1"/>
                </a:solidFill>
                <a:latin typeface="+mn-lt"/>
              </a:rPr>
              <a:t>Assesment</a:t>
            </a:r>
            <a:br>
              <a:rPr lang="da-DK" sz="3600" dirty="0">
                <a:solidFill>
                  <a:schemeClr val="bg1"/>
                </a:solidFill>
                <a:latin typeface="+mn-lt"/>
              </a:rPr>
            </a:br>
            <a:r>
              <a:rPr lang="da-DK" sz="3600" dirty="0">
                <a:solidFill>
                  <a:schemeClr val="bg1"/>
                </a:solidFill>
                <a:latin typeface="+mn-lt"/>
              </a:rPr>
              <a:t>(PRA)</a:t>
            </a:r>
            <a:br>
              <a:rPr lang="da-DK" sz="3600" dirty="0">
                <a:solidFill>
                  <a:schemeClr val="bg1"/>
                </a:solidFill>
                <a:latin typeface="+mn-lt"/>
                <a:cs typeface="Arial"/>
              </a:rPr>
            </a:br>
            <a:endParaRPr lang="da-DK" sz="3600" dirty="0"/>
          </a:p>
        </p:txBody>
      </p:sp>
      <p:sp>
        <p:nvSpPr>
          <p:cNvPr id="4" name="Slide Number Placeholder 3">
            <a:extLst>
              <a:ext uri="{FF2B5EF4-FFF2-40B4-BE49-F238E27FC236}">
                <a16:creationId xmlns:a16="http://schemas.microsoft.com/office/drawing/2014/main" id="{3E041D0F-9CE8-2C97-E3C3-F3E9603C3A7B}"/>
              </a:ext>
            </a:extLst>
          </p:cNvPr>
          <p:cNvSpPr>
            <a:spLocks noGrp="1"/>
          </p:cNvSpPr>
          <p:nvPr>
            <p:ph type="sldNum" sz="quarter" idx="4294967295"/>
          </p:nvPr>
        </p:nvSpPr>
        <p:spPr>
          <a:xfrm>
            <a:off x="9699625" y="6367463"/>
            <a:ext cx="2492375" cy="365125"/>
          </a:xfrm>
        </p:spPr>
        <p:txBody>
          <a:bodyPr/>
          <a:lstStyle/>
          <a:p>
            <a:fld id="{39DF810D-F77C-4BB2-BE6A-BDC67BB44902}" type="slidenum">
              <a:rPr lang="da-DK" smtClean="0"/>
              <a:pPr/>
              <a:t>10</a:t>
            </a:fld>
            <a:endParaRPr lang="da-DK"/>
          </a:p>
        </p:txBody>
      </p:sp>
      <p:sp>
        <p:nvSpPr>
          <p:cNvPr id="5" name="Date Placeholder 4">
            <a:extLst>
              <a:ext uri="{FF2B5EF4-FFF2-40B4-BE49-F238E27FC236}">
                <a16:creationId xmlns:a16="http://schemas.microsoft.com/office/drawing/2014/main" id="{D65E77C2-0FB7-EB41-7D71-79566002CC94}"/>
              </a:ext>
            </a:extLst>
          </p:cNvPr>
          <p:cNvSpPr>
            <a:spLocks noGrp="1"/>
          </p:cNvSpPr>
          <p:nvPr>
            <p:ph type="dt" sz="half" idx="4294967295"/>
          </p:nvPr>
        </p:nvSpPr>
        <p:spPr>
          <a:xfrm>
            <a:off x="0" y="6367463"/>
            <a:ext cx="2743200" cy="365125"/>
          </a:xfrm>
        </p:spPr>
        <p:txBody>
          <a:bodyPr/>
          <a:lstStyle/>
          <a:p>
            <a:fld id="{6585D110-0B52-4CB9-8AE7-B495E4D5B418}" type="datetime1">
              <a:rPr lang="da-DK" noProof="0" smtClean="0"/>
              <a:t>12-05-2025</a:t>
            </a:fld>
            <a:endParaRPr lang="da-DK" noProof="0"/>
          </a:p>
        </p:txBody>
      </p:sp>
      <p:sp>
        <p:nvSpPr>
          <p:cNvPr id="3" name="TextBox 2">
            <a:extLst>
              <a:ext uri="{FF2B5EF4-FFF2-40B4-BE49-F238E27FC236}">
                <a16:creationId xmlns:a16="http://schemas.microsoft.com/office/drawing/2014/main" id="{843CEC24-9189-4960-812A-CE79538A5682}"/>
              </a:ext>
            </a:extLst>
          </p:cNvPr>
          <p:cNvSpPr txBox="1"/>
          <p:nvPr/>
        </p:nvSpPr>
        <p:spPr>
          <a:xfrm>
            <a:off x="6814266" y="384752"/>
            <a:ext cx="4866199" cy="1538883"/>
          </a:xfrm>
          <a:prstGeom prst="rect">
            <a:avLst/>
          </a:prstGeom>
          <a:noFill/>
        </p:spPr>
        <p:txBody>
          <a:bodyPr wrap="square" rtlCol="0">
            <a:spAutoFit/>
          </a:bodyPr>
          <a:lstStyle/>
          <a:p>
            <a:r>
              <a:rPr lang="da-DK" sz="1600" dirty="0"/>
              <a:t>Hver user-story bliver vurderet</a:t>
            </a:r>
          </a:p>
          <a:p>
            <a:pPr lvl="1">
              <a:lnSpc>
                <a:spcPct val="150000"/>
              </a:lnSpc>
            </a:pPr>
            <a:endParaRPr lang="da-DK" sz="2000" dirty="0"/>
          </a:p>
          <a:p>
            <a:pPr lvl="1">
              <a:lnSpc>
                <a:spcPct val="150000"/>
              </a:lnSpc>
            </a:pPr>
            <a:endParaRPr lang="da-DK" sz="2000" dirty="0"/>
          </a:p>
          <a:p>
            <a:endParaRPr lang="da-DK" dirty="0"/>
          </a:p>
        </p:txBody>
      </p:sp>
      <p:pic>
        <p:nvPicPr>
          <p:cNvPr id="2" name="Picture 1" descr="Et billede, der indeholder tekst, skærmbillede, Font/skrifttype, nummer/tal&#10;&#10;Automatisk genereret beskrivelse">
            <a:extLst>
              <a:ext uri="{FF2B5EF4-FFF2-40B4-BE49-F238E27FC236}">
                <a16:creationId xmlns:a16="http://schemas.microsoft.com/office/drawing/2014/main" id="{2C4F6EAA-0B8C-EA40-2E9C-B3934B5B5BE2}"/>
              </a:ext>
            </a:extLst>
          </p:cNvPr>
          <p:cNvPicPr>
            <a:picLocks noChangeAspect="1"/>
          </p:cNvPicPr>
          <p:nvPr/>
        </p:nvPicPr>
        <p:blipFill>
          <a:blip r:embed="rId2"/>
          <a:stretch>
            <a:fillRect/>
          </a:stretch>
        </p:blipFill>
        <p:spPr>
          <a:xfrm>
            <a:off x="7098499" y="692370"/>
            <a:ext cx="3290570" cy="2462530"/>
          </a:xfrm>
          <a:prstGeom prst="rect">
            <a:avLst/>
          </a:prstGeom>
        </p:spPr>
      </p:pic>
      <p:graphicFrame>
        <p:nvGraphicFramePr>
          <p:cNvPr id="6" name="Table 5">
            <a:extLst>
              <a:ext uri="{FF2B5EF4-FFF2-40B4-BE49-F238E27FC236}">
                <a16:creationId xmlns:a16="http://schemas.microsoft.com/office/drawing/2014/main" id="{2E663E8B-FAB6-EF8F-9CFE-931EAC439E48}"/>
              </a:ext>
            </a:extLst>
          </p:cNvPr>
          <p:cNvGraphicFramePr>
            <a:graphicFrameLocks noGrp="1"/>
          </p:cNvGraphicFramePr>
          <p:nvPr>
            <p:extLst>
              <p:ext uri="{D42A27DB-BD31-4B8C-83A1-F6EECF244321}">
                <p14:modId xmlns:p14="http://schemas.microsoft.com/office/powerpoint/2010/main" val="461101388"/>
              </p:ext>
            </p:extLst>
          </p:nvPr>
        </p:nvGraphicFramePr>
        <p:xfrm>
          <a:off x="6438266" y="3462518"/>
          <a:ext cx="5242200" cy="2904946"/>
        </p:xfrm>
        <a:graphic>
          <a:graphicData uri="http://schemas.openxmlformats.org/drawingml/2006/table">
            <a:tbl>
              <a:tblPr firstRow="1" firstCol="1" bandRow="1">
                <a:tableStyleId>{5C22544A-7EE6-4342-B048-85BDC9FD1C3A}</a:tableStyleId>
              </a:tblPr>
              <a:tblGrid>
                <a:gridCol w="981213">
                  <a:extLst>
                    <a:ext uri="{9D8B030D-6E8A-4147-A177-3AD203B41FA5}">
                      <a16:colId xmlns:a16="http://schemas.microsoft.com/office/drawing/2014/main" val="787122557"/>
                    </a:ext>
                  </a:extLst>
                </a:gridCol>
                <a:gridCol w="4260987">
                  <a:extLst>
                    <a:ext uri="{9D8B030D-6E8A-4147-A177-3AD203B41FA5}">
                      <a16:colId xmlns:a16="http://schemas.microsoft.com/office/drawing/2014/main" val="3374997422"/>
                    </a:ext>
                  </a:extLst>
                </a:gridCol>
              </a:tblGrid>
              <a:tr h="264086">
                <a:tc>
                  <a:txBody>
                    <a:bodyPr/>
                    <a:lstStyle/>
                    <a:p>
                      <a:pPr>
                        <a:buNone/>
                      </a:pPr>
                      <a:r>
                        <a:rPr lang="da-DK" sz="1000" kern="100">
                          <a:effectLst/>
                        </a:rPr>
                        <a:t>Risikoklasse</a:t>
                      </a:r>
                      <a:endParaRPr lang="da-DK" sz="10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buNone/>
                      </a:pPr>
                      <a:r>
                        <a:rPr lang="da-DK" sz="1000" kern="100">
                          <a:effectLst/>
                        </a:rPr>
                        <a:t>Betydning</a:t>
                      </a:r>
                      <a:endParaRPr lang="da-DK" sz="10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341217098"/>
                  </a:ext>
                </a:extLst>
              </a:tr>
              <a:tr h="792258">
                <a:tc>
                  <a:txBody>
                    <a:bodyPr/>
                    <a:lstStyle/>
                    <a:p>
                      <a:pPr>
                        <a:buNone/>
                      </a:pPr>
                      <a:r>
                        <a:rPr lang="da-DK" sz="1000" kern="100">
                          <a:effectLst/>
                        </a:rPr>
                        <a:t>H</a:t>
                      </a:r>
                      <a:endParaRPr lang="da-DK" sz="10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buNone/>
                      </a:pPr>
                      <a:r>
                        <a:rPr lang="da-DK" sz="1000" kern="100" dirty="0">
                          <a:effectLst/>
                        </a:rPr>
                        <a:t>Den højeste risikoklasse betyder, at testcases skal testes meget grundigt og med høj intensitet. Testdesignteknikker skal bruges til at kortlægge udfaldsrum, og dermed også give fuldt overblik over testdækning</a:t>
                      </a:r>
                      <a:endParaRPr lang="da-DK" sz="1000" kern="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17239293"/>
                  </a:ext>
                </a:extLst>
              </a:tr>
              <a:tr h="792258">
                <a:tc>
                  <a:txBody>
                    <a:bodyPr/>
                    <a:lstStyle/>
                    <a:p>
                      <a:pPr>
                        <a:buNone/>
                      </a:pPr>
                      <a:r>
                        <a:rPr lang="da-DK" sz="1000" kern="100">
                          <a:effectLst/>
                        </a:rPr>
                        <a:t>M</a:t>
                      </a:r>
                      <a:endParaRPr lang="da-DK" sz="10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buNone/>
                      </a:pPr>
                      <a:r>
                        <a:rPr lang="da-DK" sz="1000" kern="100">
                          <a:effectLst/>
                        </a:rPr>
                        <a:t>Risikoklassen Mellem betyder, at testcases skal testes grundigt. Der anvendes testdesignteknikker på udvalgte testelementer. De resterende beskrives i veldokumenterede testcases.</a:t>
                      </a:r>
                      <a:endParaRPr lang="da-DK" sz="10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8907518"/>
                  </a:ext>
                </a:extLst>
              </a:tr>
              <a:tr h="1056344">
                <a:tc>
                  <a:txBody>
                    <a:bodyPr/>
                    <a:lstStyle/>
                    <a:p>
                      <a:pPr>
                        <a:buNone/>
                      </a:pPr>
                      <a:r>
                        <a:rPr lang="da-DK" sz="1000" kern="100">
                          <a:effectLst/>
                        </a:rPr>
                        <a:t>L</a:t>
                      </a:r>
                      <a:endParaRPr lang="da-DK" sz="1000" kern="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buNone/>
                      </a:pPr>
                      <a:r>
                        <a:rPr lang="da-DK" sz="1000" kern="100" dirty="0">
                          <a:effectLst/>
                        </a:rPr>
                        <a:t>Den laveste risikoklasse betyder, at krav ikke behøver testes grundigt og kan om nødvendigt fravælges i tilfælde af ressource- eller tidsnød. Kun letvægtsteknikker, f.eks. eksplorativ test, bruges på testelementer. Der udarbejdes stadigvæk testcases.</a:t>
                      </a:r>
                      <a:endParaRPr lang="da-DK" sz="1000" kern="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61078196"/>
                  </a:ext>
                </a:extLst>
              </a:tr>
            </a:tbl>
          </a:graphicData>
        </a:graphic>
      </p:graphicFrame>
      <p:sp>
        <p:nvSpPr>
          <p:cNvPr id="7" name="TextBox 6">
            <a:extLst>
              <a:ext uri="{FF2B5EF4-FFF2-40B4-BE49-F238E27FC236}">
                <a16:creationId xmlns:a16="http://schemas.microsoft.com/office/drawing/2014/main" id="{0E58779C-6EFF-F9A8-7B54-A5F67CA756C5}"/>
              </a:ext>
            </a:extLst>
          </p:cNvPr>
          <p:cNvSpPr txBox="1"/>
          <p:nvPr/>
        </p:nvSpPr>
        <p:spPr>
          <a:xfrm>
            <a:off x="675860" y="2690336"/>
            <a:ext cx="4945711" cy="1815882"/>
          </a:xfrm>
          <a:prstGeom prst="rect">
            <a:avLst/>
          </a:prstGeom>
          <a:noFill/>
        </p:spPr>
        <p:txBody>
          <a:bodyPr wrap="square" rtlCol="0">
            <a:spAutoFit/>
          </a:bodyPr>
          <a:lstStyle/>
          <a:p>
            <a:pPr marL="285750" indent="-285750">
              <a:buFont typeface="Arial" panose="020B0604020202020204" pitchFamily="34" charset="0"/>
              <a:buChar char="•"/>
            </a:pPr>
            <a:r>
              <a:rPr lang="da-DK" sz="1400" dirty="0">
                <a:solidFill>
                  <a:schemeClr val="bg1"/>
                </a:solidFill>
              </a:rPr>
              <a:t>Hver user-story eller Krav præcisering, bliver vurderet, for at sikre at testen fokuserer på de funktioner som er sværest at lave (sandsynlighed) og som har størst konsekvens for kunden, hvis de fejler</a:t>
            </a:r>
          </a:p>
          <a:p>
            <a:pPr marL="285750" indent="-285750">
              <a:buFont typeface="Arial" panose="020B0604020202020204" pitchFamily="34" charset="0"/>
              <a:buChar char="•"/>
            </a:pPr>
            <a:endParaRPr lang="da-DK" sz="1400" dirty="0">
              <a:solidFill>
                <a:schemeClr val="bg1"/>
              </a:solidFill>
            </a:endParaRPr>
          </a:p>
          <a:p>
            <a:pPr marL="285750" indent="-285750">
              <a:buFont typeface="Arial" panose="020B0604020202020204" pitchFamily="34" charset="0"/>
              <a:buChar char="•"/>
            </a:pPr>
            <a:r>
              <a:rPr lang="da-DK" sz="1400" dirty="0">
                <a:solidFill>
                  <a:schemeClr val="bg1"/>
                </a:solidFill>
              </a:rPr>
              <a:t>Testdesignet tager udgangspunkt i risikovurderingen, som derfor skal udføres så snart user-stories er udarbejdet.</a:t>
            </a:r>
          </a:p>
        </p:txBody>
      </p:sp>
    </p:spTree>
    <p:extLst>
      <p:ext uri="{BB962C8B-B14F-4D97-AF65-F5344CB8AC3E}">
        <p14:creationId xmlns:p14="http://schemas.microsoft.com/office/powerpoint/2010/main" val="37257014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9EF0F-7B79-6653-1C0D-2B8E70BF5995}"/>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8B3493FC-3AC4-FBE4-D018-0E5276949B73}"/>
              </a:ext>
            </a:extLst>
          </p:cNvPr>
          <p:cNvSpPr>
            <a:spLocks noGrp="1"/>
          </p:cNvSpPr>
          <p:nvPr>
            <p:ph type="ctrTitle"/>
          </p:nvPr>
        </p:nvSpPr>
        <p:spPr>
          <a:xfrm>
            <a:off x="587505" y="1143466"/>
            <a:ext cx="5304412" cy="3300745"/>
          </a:xfrm>
        </p:spPr>
        <p:txBody>
          <a:bodyPr>
            <a:normAutofit/>
          </a:bodyPr>
          <a:lstStyle/>
          <a:p>
            <a:pPr algn="l">
              <a:lnSpc>
                <a:spcPct val="85000"/>
              </a:lnSpc>
            </a:pPr>
            <a:r>
              <a:rPr lang="da-DK" sz="3600" dirty="0">
                <a:solidFill>
                  <a:schemeClr val="bg1"/>
                </a:solidFill>
                <a:latin typeface="+mn-lt"/>
              </a:rPr>
              <a:t>Brugervenlighedstests</a:t>
            </a:r>
            <a:br>
              <a:rPr lang="da-DK" sz="3600" dirty="0">
                <a:solidFill>
                  <a:schemeClr val="bg1"/>
                </a:solidFill>
                <a:latin typeface="+mn-lt"/>
                <a:cs typeface="Arial"/>
              </a:rPr>
            </a:br>
            <a:endParaRPr lang="da-DK" sz="3600" dirty="0"/>
          </a:p>
        </p:txBody>
      </p:sp>
      <p:sp>
        <p:nvSpPr>
          <p:cNvPr id="4" name="Slide Number Placeholder 3">
            <a:extLst>
              <a:ext uri="{FF2B5EF4-FFF2-40B4-BE49-F238E27FC236}">
                <a16:creationId xmlns:a16="http://schemas.microsoft.com/office/drawing/2014/main" id="{DF5494D0-EA22-CA35-8A8E-DCDD8F6DE7CF}"/>
              </a:ext>
            </a:extLst>
          </p:cNvPr>
          <p:cNvSpPr>
            <a:spLocks noGrp="1"/>
          </p:cNvSpPr>
          <p:nvPr>
            <p:ph type="sldNum" sz="quarter" idx="4294967295"/>
          </p:nvPr>
        </p:nvSpPr>
        <p:spPr>
          <a:xfrm>
            <a:off x="9699625" y="6367463"/>
            <a:ext cx="2492375" cy="365125"/>
          </a:xfrm>
        </p:spPr>
        <p:txBody>
          <a:bodyPr/>
          <a:lstStyle/>
          <a:p>
            <a:fld id="{39DF810D-F77C-4BB2-BE6A-BDC67BB44902}" type="slidenum">
              <a:rPr lang="da-DK" smtClean="0"/>
              <a:pPr/>
              <a:t>11</a:t>
            </a:fld>
            <a:endParaRPr lang="da-DK"/>
          </a:p>
        </p:txBody>
      </p:sp>
      <p:sp>
        <p:nvSpPr>
          <p:cNvPr id="5" name="Date Placeholder 4">
            <a:extLst>
              <a:ext uri="{FF2B5EF4-FFF2-40B4-BE49-F238E27FC236}">
                <a16:creationId xmlns:a16="http://schemas.microsoft.com/office/drawing/2014/main" id="{3595C8AD-BC62-A4B6-8CBA-9A9DE69F4F0B}"/>
              </a:ext>
            </a:extLst>
          </p:cNvPr>
          <p:cNvSpPr>
            <a:spLocks noGrp="1"/>
          </p:cNvSpPr>
          <p:nvPr>
            <p:ph type="dt" sz="half" idx="4294967295"/>
          </p:nvPr>
        </p:nvSpPr>
        <p:spPr>
          <a:xfrm>
            <a:off x="0" y="6367463"/>
            <a:ext cx="2743200" cy="365125"/>
          </a:xfrm>
        </p:spPr>
        <p:txBody>
          <a:bodyPr/>
          <a:lstStyle/>
          <a:p>
            <a:fld id="{6585D110-0B52-4CB9-8AE7-B495E4D5B418}" type="datetime1">
              <a:rPr lang="da-DK" noProof="0" smtClean="0"/>
              <a:t>12-05-2025</a:t>
            </a:fld>
            <a:endParaRPr lang="da-DK" noProof="0"/>
          </a:p>
        </p:txBody>
      </p:sp>
      <p:sp>
        <p:nvSpPr>
          <p:cNvPr id="3" name="TextBox 2">
            <a:extLst>
              <a:ext uri="{FF2B5EF4-FFF2-40B4-BE49-F238E27FC236}">
                <a16:creationId xmlns:a16="http://schemas.microsoft.com/office/drawing/2014/main" id="{DB00544B-6BDD-7A37-1E02-915995AA8A70}"/>
              </a:ext>
            </a:extLst>
          </p:cNvPr>
          <p:cNvSpPr txBox="1"/>
          <p:nvPr/>
        </p:nvSpPr>
        <p:spPr>
          <a:xfrm>
            <a:off x="6814266" y="384752"/>
            <a:ext cx="4866199" cy="6463308"/>
          </a:xfrm>
          <a:prstGeom prst="rect">
            <a:avLst/>
          </a:prstGeom>
          <a:noFill/>
        </p:spPr>
        <p:txBody>
          <a:bodyPr wrap="square" rtlCol="0">
            <a:spAutoFit/>
          </a:bodyPr>
          <a:lstStyle/>
          <a:p>
            <a:r>
              <a:rPr lang="da-DK" sz="1600" dirty="0"/>
              <a:t>Hvornår i forløbet skal der testes</a:t>
            </a:r>
          </a:p>
          <a:p>
            <a:pPr marL="285750" indent="-285750">
              <a:buFont typeface="Arial" panose="020B0604020202020204" pitchFamily="34" charset="0"/>
              <a:buChar char="•"/>
            </a:pPr>
            <a:r>
              <a:rPr lang="da-DK" sz="1600" dirty="0"/>
              <a:t>Som en del af </a:t>
            </a:r>
            <a:r>
              <a:rPr lang="da-DK" sz="1600" dirty="0" err="1"/>
              <a:t>overtagelsesprøven</a:t>
            </a:r>
            <a:r>
              <a:rPr lang="da-DK" sz="1600" dirty="0"/>
              <a:t> i design, pilot og implementering, hvor brugervenlighedstest er en formel aktivitet</a:t>
            </a:r>
          </a:p>
          <a:p>
            <a:pPr marL="285750" indent="-285750">
              <a:buFont typeface="Arial" panose="020B0604020202020204" pitchFamily="34" charset="0"/>
              <a:buChar char="•"/>
            </a:pPr>
            <a:r>
              <a:rPr lang="da-DK" sz="1600" dirty="0"/>
              <a:t>Løbende under sprint (brugerpanel)</a:t>
            </a:r>
          </a:p>
          <a:p>
            <a:pPr marL="285750" indent="-285750">
              <a:buFont typeface="Arial" panose="020B0604020202020204" pitchFamily="34" charset="0"/>
              <a:buChar char="•"/>
            </a:pPr>
            <a:r>
              <a:rPr lang="da-DK" sz="1600" dirty="0"/>
              <a:t>Ved releasetests (eksperttest, gorillatest)</a:t>
            </a:r>
            <a:br>
              <a:rPr lang="da-DK" sz="1600" dirty="0"/>
            </a:br>
            <a:endParaRPr lang="da-DK" sz="1600" dirty="0"/>
          </a:p>
          <a:p>
            <a:r>
              <a:rPr lang="da-DK" sz="1600" dirty="0"/>
              <a:t>Hvad skal der testes</a:t>
            </a:r>
          </a:p>
          <a:p>
            <a:pPr marL="285750" indent="-285750">
              <a:buFont typeface="Arial" panose="020B0604020202020204" pitchFamily="34" charset="0"/>
              <a:buChar char="•"/>
            </a:pPr>
            <a:r>
              <a:rPr lang="da-DK" sz="1600" dirty="0"/>
              <a:t>Webtilgængelighedstests </a:t>
            </a:r>
            <a:r>
              <a:rPr lang="da-DK" sz="1600" dirty="0" err="1"/>
              <a:t>ihht</a:t>
            </a:r>
            <a:r>
              <a:rPr lang="da-DK" sz="1600" dirty="0"/>
              <a:t> standard</a:t>
            </a:r>
          </a:p>
          <a:p>
            <a:pPr marL="285750" indent="-285750">
              <a:buFont typeface="Arial" panose="020B0604020202020204" pitchFamily="34" charset="0"/>
              <a:buChar char="•"/>
            </a:pPr>
            <a:r>
              <a:rPr lang="da-DK" sz="1600" dirty="0"/>
              <a:t>Brugerrejser og oplevelser,  workflows og arbejdsprocesser </a:t>
            </a:r>
            <a:r>
              <a:rPr lang="da-DK" sz="1600" dirty="0" err="1"/>
              <a:t>ihht</a:t>
            </a:r>
            <a:r>
              <a:rPr lang="da-DK" sz="1600" dirty="0"/>
              <a:t> ”bedste praksis”</a:t>
            </a:r>
          </a:p>
          <a:p>
            <a:pPr marL="285750" indent="-285750">
              <a:buFont typeface="Arial" panose="020B0604020202020204" pitchFamily="34" charset="0"/>
              <a:buChar char="•"/>
            </a:pPr>
            <a:r>
              <a:rPr lang="da-DK" sz="1600" dirty="0"/>
              <a:t>Testes med forskellige målgrupper</a:t>
            </a:r>
          </a:p>
          <a:p>
            <a:pPr marL="457200" lvl="1" indent="0">
              <a:buNone/>
            </a:pPr>
            <a:endParaRPr lang="da-DK" sz="1600" dirty="0"/>
          </a:p>
          <a:p>
            <a:r>
              <a:rPr lang="da-DK" sz="1600" dirty="0"/>
              <a:t>Produkter</a:t>
            </a:r>
          </a:p>
          <a:p>
            <a:pPr marL="742950" lvl="1" indent="-285750">
              <a:buFont typeface="Arial" panose="020B0604020202020204" pitchFamily="34" charset="0"/>
              <a:buChar char="•"/>
            </a:pPr>
            <a:r>
              <a:rPr lang="da-DK" sz="1600" dirty="0"/>
              <a:t>UX Strategier og planer</a:t>
            </a:r>
          </a:p>
          <a:p>
            <a:pPr marL="742950" lvl="1" indent="-285750">
              <a:buFont typeface="Arial" panose="020B0604020202020204" pitchFamily="34" charset="0"/>
              <a:buChar char="•"/>
            </a:pPr>
            <a:r>
              <a:rPr lang="da-DK" sz="1600" dirty="0"/>
              <a:t>Brugerrejser med </a:t>
            </a:r>
            <a:r>
              <a:rPr lang="da-DK" sz="1600" dirty="0" err="1"/>
              <a:t>pains</a:t>
            </a:r>
            <a:r>
              <a:rPr lang="da-DK" sz="1600" dirty="0"/>
              <a:t> og </a:t>
            </a:r>
            <a:r>
              <a:rPr lang="da-DK" sz="1600" dirty="0" err="1"/>
              <a:t>gains</a:t>
            </a:r>
            <a:endParaRPr lang="da-DK" sz="1600" dirty="0"/>
          </a:p>
          <a:p>
            <a:pPr marL="742950" lvl="1" indent="-285750">
              <a:buFont typeface="Arial" panose="020B0604020202020204" pitchFamily="34" charset="0"/>
              <a:buChar char="•"/>
            </a:pPr>
            <a:r>
              <a:rPr lang="da-DK" sz="1600" dirty="0"/>
              <a:t>Principper for brugervenlighed</a:t>
            </a:r>
          </a:p>
          <a:p>
            <a:pPr marL="742950" lvl="1" indent="-285750">
              <a:buFont typeface="Arial" panose="020B0604020202020204" pitchFamily="34" charset="0"/>
              <a:buChar char="•"/>
            </a:pPr>
            <a:r>
              <a:rPr lang="da-DK" sz="1600" dirty="0"/>
              <a:t>PRA på brugerrejser</a:t>
            </a:r>
          </a:p>
          <a:p>
            <a:pPr marL="742950" lvl="1" indent="-285750">
              <a:buFont typeface="Arial" panose="020B0604020202020204" pitchFamily="34" charset="0"/>
              <a:buChar char="•"/>
            </a:pPr>
            <a:r>
              <a:rPr lang="da-DK" sz="1600" dirty="0"/>
              <a:t>Afrapporteringer i forskellige formater</a:t>
            </a:r>
          </a:p>
          <a:p>
            <a:pPr marL="742950" lvl="1" indent="-285750">
              <a:buFont typeface="Arial" panose="020B0604020202020204" pitchFamily="34" charset="0"/>
              <a:buChar char="•"/>
            </a:pPr>
            <a:endParaRPr lang="da-DK" sz="1600" dirty="0"/>
          </a:p>
          <a:p>
            <a:endParaRPr lang="da-DK" sz="1600" dirty="0"/>
          </a:p>
          <a:p>
            <a:pPr lvl="1">
              <a:lnSpc>
                <a:spcPct val="150000"/>
              </a:lnSpc>
            </a:pPr>
            <a:endParaRPr lang="da-DK" sz="2000" dirty="0"/>
          </a:p>
          <a:p>
            <a:pPr lvl="1">
              <a:lnSpc>
                <a:spcPct val="150000"/>
              </a:lnSpc>
            </a:pPr>
            <a:endParaRPr lang="da-DK" sz="2000" dirty="0"/>
          </a:p>
          <a:p>
            <a:endParaRPr lang="da-DK" dirty="0"/>
          </a:p>
        </p:txBody>
      </p:sp>
    </p:spTree>
    <p:extLst>
      <p:ext uri="{BB962C8B-B14F-4D97-AF65-F5344CB8AC3E}">
        <p14:creationId xmlns:p14="http://schemas.microsoft.com/office/powerpoint/2010/main" val="635256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FD16CE2B-389C-004B-349A-C26295F05869}"/>
              </a:ext>
            </a:extLst>
          </p:cNvPr>
          <p:cNvSpPr>
            <a:spLocks noGrp="1"/>
          </p:cNvSpPr>
          <p:nvPr>
            <p:ph type="sldNum" sz="quarter" idx="4"/>
          </p:nvPr>
        </p:nvSpPr>
        <p:spPr/>
        <p:txBody>
          <a:bodyPr/>
          <a:lstStyle/>
          <a:p>
            <a:fld id="{39DF810D-F77C-4BB2-BE6A-BDC67BB44902}" type="slidenum">
              <a:rPr lang="da-DK" smtClean="0"/>
              <a:pPr/>
              <a:t>12</a:t>
            </a:fld>
            <a:endParaRPr lang="da-DK"/>
          </a:p>
        </p:txBody>
      </p:sp>
      <p:sp>
        <p:nvSpPr>
          <p:cNvPr id="7" name="Rektangel 6">
            <a:extLst>
              <a:ext uri="{FF2B5EF4-FFF2-40B4-BE49-F238E27FC236}">
                <a16:creationId xmlns:a16="http://schemas.microsoft.com/office/drawing/2014/main" id="{297F5A6C-1D14-4603-0C04-6D01E00C6646}"/>
              </a:ext>
            </a:extLst>
          </p:cNvPr>
          <p:cNvSpPr/>
          <p:nvPr/>
        </p:nvSpPr>
        <p:spPr>
          <a:xfrm>
            <a:off x="0" y="0"/>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a-DK" dirty="0">
              <a:solidFill>
                <a:schemeClr val="bg1"/>
              </a:solidFill>
              <a:cs typeface="Arial"/>
            </a:endParaRPr>
          </a:p>
        </p:txBody>
      </p:sp>
      <p:sp>
        <p:nvSpPr>
          <p:cNvPr id="9" name="Title 5">
            <a:extLst>
              <a:ext uri="{FF2B5EF4-FFF2-40B4-BE49-F238E27FC236}">
                <a16:creationId xmlns:a16="http://schemas.microsoft.com/office/drawing/2014/main" id="{89ADDDCC-48D0-A25D-DEFB-F331C056B171}"/>
              </a:ext>
            </a:extLst>
          </p:cNvPr>
          <p:cNvSpPr txBox="1">
            <a:spLocks/>
          </p:cNvSpPr>
          <p:nvPr/>
        </p:nvSpPr>
        <p:spPr>
          <a:xfrm>
            <a:off x="1134709" y="961611"/>
            <a:ext cx="10331071" cy="1255728"/>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1200" dirty="0">
                <a:solidFill>
                  <a:schemeClr val="bg1"/>
                </a:solidFill>
                <a:latin typeface="+mn-lt"/>
              </a:rPr>
              <a:t>Gennemgås ikke</a:t>
            </a:r>
            <a:br>
              <a:rPr lang="da-DK" sz="3600" dirty="0">
                <a:solidFill>
                  <a:schemeClr val="bg1"/>
                </a:solidFill>
                <a:latin typeface="+mn-lt"/>
              </a:rPr>
            </a:br>
            <a:r>
              <a:rPr lang="da-DK" sz="3600" dirty="0">
                <a:solidFill>
                  <a:schemeClr val="bg1"/>
                </a:solidFill>
                <a:latin typeface="+mn-lt"/>
              </a:rPr>
              <a:t>Inddragelse af universiteterne i testaktiviteter </a:t>
            </a:r>
            <a:br>
              <a:rPr lang="nb-NO" sz="4800" dirty="0">
                <a:solidFill>
                  <a:schemeClr val="bg1"/>
                </a:solidFill>
                <a:latin typeface="+mn-lt"/>
              </a:rPr>
            </a:br>
            <a:endParaRPr lang="nb-NO" sz="4800" dirty="0">
              <a:solidFill>
                <a:schemeClr val="bg1"/>
              </a:solidFill>
              <a:latin typeface="+mn-lt"/>
              <a:cs typeface="Arial"/>
            </a:endParaRPr>
          </a:p>
        </p:txBody>
      </p:sp>
      <p:grpSp>
        <p:nvGrpSpPr>
          <p:cNvPr id="104" name="Group 103">
            <a:extLst>
              <a:ext uri="{FF2B5EF4-FFF2-40B4-BE49-F238E27FC236}">
                <a16:creationId xmlns:a16="http://schemas.microsoft.com/office/drawing/2014/main" id="{9EE2FA64-324F-3584-E0BE-9E8098D95803}"/>
              </a:ext>
            </a:extLst>
          </p:cNvPr>
          <p:cNvGrpSpPr/>
          <p:nvPr/>
        </p:nvGrpSpPr>
        <p:grpSpPr>
          <a:xfrm>
            <a:off x="7290846" y="2455866"/>
            <a:ext cx="4554050" cy="4063084"/>
            <a:chOff x="5088160" y="2252854"/>
            <a:chExt cx="4554050" cy="4063084"/>
          </a:xfrm>
        </p:grpSpPr>
        <p:grpSp>
          <p:nvGrpSpPr>
            <p:cNvPr id="105" name="Group 104">
              <a:extLst>
                <a:ext uri="{FF2B5EF4-FFF2-40B4-BE49-F238E27FC236}">
                  <a16:creationId xmlns:a16="http://schemas.microsoft.com/office/drawing/2014/main" id="{B6CB8F35-B392-0BC9-1DD7-E9A24702FEDB}"/>
                </a:ext>
              </a:extLst>
            </p:cNvPr>
            <p:cNvGrpSpPr/>
            <p:nvPr/>
          </p:nvGrpSpPr>
          <p:grpSpPr>
            <a:xfrm>
              <a:off x="5507648" y="3152769"/>
              <a:ext cx="3209500" cy="3163169"/>
              <a:chOff x="5507648" y="3152769"/>
              <a:chExt cx="3209500" cy="3163169"/>
            </a:xfrm>
          </p:grpSpPr>
          <p:sp>
            <p:nvSpPr>
              <p:cNvPr id="203" name="Graphic 6">
                <a:extLst>
                  <a:ext uri="{FF2B5EF4-FFF2-40B4-BE49-F238E27FC236}">
                    <a16:creationId xmlns:a16="http://schemas.microsoft.com/office/drawing/2014/main" id="{148CE5D1-2EA4-784F-EE8D-1119D4345314}"/>
                  </a:ext>
                </a:extLst>
              </p:cNvPr>
              <p:cNvSpPr/>
              <p:nvPr/>
            </p:nvSpPr>
            <p:spPr>
              <a:xfrm>
                <a:off x="7508973"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579"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579"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4" name="Graphic 6">
                <a:extLst>
                  <a:ext uri="{FF2B5EF4-FFF2-40B4-BE49-F238E27FC236}">
                    <a16:creationId xmlns:a16="http://schemas.microsoft.com/office/drawing/2014/main" id="{A69D2D2C-6EA1-6D4A-918A-D1B645F0357E}"/>
                  </a:ext>
                </a:extLst>
              </p:cNvPr>
              <p:cNvSpPr/>
              <p:nvPr/>
            </p:nvSpPr>
            <p:spPr>
              <a:xfrm>
                <a:off x="5907457"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635"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635"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5" name="Graphic 6">
                <a:extLst>
                  <a:ext uri="{FF2B5EF4-FFF2-40B4-BE49-F238E27FC236}">
                    <a16:creationId xmlns:a16="http://schemas.microsoft.com/office/drawing/2014/main" id="{C7C48635-E34C-5020-CF88-1A69F6D16B34}"/>
                  </a:ext>
                </a:extLst>
              </p:cNvPr>
              <p:cNvSpPr/>
              <p:nvPr/>
            </p:nvSpPr>
            <p:spPr>
              <a:xfrm>
                <a:off x="8131627" y="3835803"/>
                <a:ext cx="325711" cy="325711"/>
              </a:xfrm>
              <a:custGeom>
                <a:avLst/>
                <a:gdLst>
                  <a:gd name="connsiteX0" fmla="*/ 249943 w 325711"/>
                  <a:gd name="connsiteY0" fmla="*/ 0 h 325711"/>
                  <a:gd name="connsiteX1" fmla="*/ 325712 w 325711"/>
                  <a:gd name="connsiteY1" fmla="*/ 0 h 325711"/>
                  <a:gd name="connsiteX2" fmla="*/ 325712 w 325711"/>
                  <a:gd name="connsiteY2" fmla="*/ 325711 h 325711"/>
                  <a:gd name="connsiteX3" fmla="*/ 249943 w 325711"/>
                  <a:gd name="connsiteY3" fmla="*/ 325711 h 325711"/>
                  <a:gd name="connsiteX4" fmla="*/ 75769 w 325711"/>
                  <a:gd name="connsiteY4" fmla="*/ 325711 h 325711"/>
                  <a:gd name="connsiteX5" fmla="*/ 0 w 325711"/>
                  <a:gd name="connsiteY5" fmla="*/ 325711 h 325711"/>
                  <a:gd name="connsiteX6" fmla="*/ 0 w 325711"/>
                  <a:gd name="connsiteY6" fmla="*/ 0 h 325711"/>
                  <a:gd name="connsiteX7" fmla="*/ 75769 w 325711"/>
                  <a:gd name="connsiteY7" fmla="*/ 0 h 32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11" h="325711">
                    <a:moveTo>
                      <a:pt x="249943" y="0"/>
                    </a:moveTo>
                    <a:cubicBezTo>
                      <a:pt x="291789" y="0"/>
                      <a:pt x="325712" y="0"/>
                      <a:pt x="325712" y="0"/>
                    </a:cubicBezTo>
                    <a:lnTo>
                      <a:pt x="325712" y="325711"/>
                    </a:lnTo>
                    <a:cubicBezTo>
                      <a:pt x="325712" y="325711"/>
                      <a:pt x="291789" y="325711"/>
                      <a:pt x="249943" y="325711"/>
                    </a:cubicBezTo>
                    <a:lnTo>
                      <a:pt x="75769" y="325711"/>
                    </a:lnTo>
                    <a:cubicBezTo>
                      <a:pt x="33923" y="325711"/>
                      <a:pt x="0" y="325711"/>
                      <a:pt x="0" y="325711"/>
                    </a:cubicBezTo>
                    <a:lnTo>
                      <a:pt x="0" y="0"/>
                    </a:lnTo>
                    <a:cubicBezTo>
                      <a:pt x="0" y="0"/>
                      <a:pt x="33923" y="0"/>
                      <a:pt x="75769" y="0"/>
                    </a:cubicBezTo>
                    <a:close/>
                  </a:path>
                </a:pathLst>
              </a:custGeom>
              <a:solidFill>
                <a:schemeClr val="accent2"/>
              </a:solidFill>
              <a:ln w="5573" cap="flat">
                <a:noFill/>
                <a:prstDash val="solid"/>
                <a:miter/>
              </a:ln>
            </p:spPr>
            <p:txBody>
              <a:bodyPr rtlCol="0" anchor="ctr"/>
              <a:lstStyle/>
              <a:p>
                <a:endParaRPr lang="en-GB"/>
              </a:p>
            </p:txBody>
          </p:sp>
          <p:sp>
            <p:nvSpPr>
              <p:cNvPr id="206" name="Graphic 6">
                <a:extLst>
                  <a:ext uri="{FF2B5EF4-FFF2-40B4-BE49-F238E27FC236}">
                    <a16:creationId xmlns:a16="http://schemas.microsoft.com/office/drawing/2014/main" id="{D85DE4EF-D8B0-1B1D-3C3E-119C8B2BA794}"/>
                  </a:ext>
                </a:extLst>
              </p:cNvPr>
              <p:cNvSpPr/>
              <p:nvPr/>
            </p:nvSpPr>
            <p:spPr>
              <a:xfrm>
                <a:off x="7522020" y="4946244"/>
                <a:ext cx="435991" cy="435991"/>
              </a:xfrm>
              <a:custGeom>
                <a:avLst/>
                <a:gdLst>
                  <a:gd name="connsiteX0" fmla="*/ 435992 w 435991"/>
                  <a:gd name="connsiteY0" fmla="*/ 217996 h 435991"/>
                  <a:gd name="connsiteX1" fmla="*/ 217996 w 435991"/>
                  <a:gd name="connsiteY1" fmla="*/ 435991 h 435991"/>
                  <a:gd name="connsiteX2" fmla="*/ 0 w 435991"/>
                  <a:gd name="connsiteY2" fmla="*/ 217996 h 435991"/>
                  <a:gd name="connsiteX3" fmla="*/ 217996 w 435991"/>
                  <a:gd name="connsiteY3" fmla="*/ 0 h 435991"/>
                  <a:gd name="connsiteX4" fmla="*/ 435992 w 435991"/>
                  <a:gd name="connsiteY4" fmla="*/ 217996 h 435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91" h="435991">
                    <a:moveTo>
                      <a:pt x="435992" y="217996"/>
                    </a:moveTo>
                    <a:cubicBezTo>
                      <a:pt x="435992" y="338392"/>
                      <a:pt x="338392" y="435991"/>
                      <a:pt x="217996" y="435991"/>
                    </a:cubicBezTo>
                    <a:cubicBezTo>
                      <a:pt x="97600" y="435991"/>
                      <a:pt x="0" y="338391"/>
                      <a:pt x="0" y="217996"/>
                    </a:cubicBezTo>
                    <a:cubicBezTo>
                      <a:pt x="0" y="97600"/>
                      <a:pt x="97600" y="0"/>
                      <a:pt x="217996" y="0"/>
                    </a:cubicBezTo>
                    <a:cubicBezTo>
                      <a:pt x="338392" y="0"/>
                      <a:pt x="435992" y="97600"/>
                      <a:pt x="435992" y="217996"/>
                    </a:cubicBezTo>
                    <a:close/>
                  </a:path>
                </a:pathLst>
              </a:custGeom>
              <a:solidFill>
                <a:schemeClr val="accent2"/>
              </a:solidFill>
              <a:ln w="5573" cap="flat">
                <a:noFill/>
                <a:prstDash val="solid"/>
                <a:miter/>
              </a:ln>
            </p:spPr>
            <p:txBody>
              <a:bodyPr rtlCol="0" anchor="ctr"/>
              <a:lstStyle/>
              <a:p>
                <a:endParaRPr lang="en-GB"/>
              </a:p>
            </p:txBody>
          </p:sp>
          <p:sp>
            <p:nvSpPr>
              <p:cNvPr id="207" name="Graphic 6">
                <a:extLst>
                  <a:ext uri="{FF2B5EF4-FFF2-40B4-BE49-F238E27FC236}">
                    <a16:creationId xmlns:a16="http://schemas.microsoft.com/office/drawing/2014/main" id="{7B794C1F-8F0A-E7A6-0085-07A765D88323}"/>
                  </a:ext>
                </a:extLst>
              </p:cNvPr>
              <p:cNvSpPr/>
              <p:nvPr/>
            </p:nvSpPr>
            <p:spPr>
              <a:xfrm>
                <a:off x="8395842" y="5369370"/>
                <a:ext cx="292649" cy="338353"/>
              </a:xfrm>
              <a:custGeom>
                <a:avLst/>
                <a:gdLst>
                  <a:gd name="connsiteX0" fmla="*/ 287495 w 292649"/>
                  <a:gd name="connsiteY0" fmla="*/ 238813 h 338353"/>
                  <a:gd name="connsiteX1" fmla="*/ 174259 w 292649"/>
                  <a:gd name="connsiteY1" fmla="*/ 203409 h 338353"/>
                  <a:gd name="connsiteX2" fmla="*/ 189034 w 292649"/>
                  <a:gd name="connsiteY2" fmla="*/ 125355 h 338353"/>
                  <a:gd name="connsiteX3" fmla="*/ 291843 w 292649"/>
                  <a:gd name="connsiteY3" fmla="*/ 133495 h 338353"/>
                  <a:gd name="connsiteX4" fmla="*/ 291843 w 292649"/>
                  <a:gd name="connsiteY4" fmla="*/ 105228 h 338353"/>
                  <a:gd name="connsiteX5" fmla="*/ 282533 w 292649"/>
                  <a:gd name="connsiteY5" fmla="*/ 87665 h 338353"/>
                  <a:gd name="connsiteX6" fmla="*/ 157143 w 292649"/>
                  <a:gd name="connsiteY6" fmla="*/ 3088 h 338353"/>
                  <a:gd name="connsiteX7" fmla="*/ 133950 w 292649"/>
                  <a:gd name="connsiteY7" fmla="*/ 3088 h 338353"/>
                  <a:gd name="connsiteX8" fmla="*/ 8560 w 292649"/>
                  <a:gd name="connsiteY8" fmla="*/ 87665 h 338353"/>
                  <a:gd name="connsiteX9" fmla="*/ -807 w 292649"/>
                  <a:gd name="connsiteY9" fmla="*/ 105228 h 338353"/>
                  <a:gd name="connsiteX10" fmla="*/ -807 w 292649"/>
                  <a:gd name="connsiteY10" fmla="*/ 232178 h 338353"/>
                  <a:gd name="connsiteX11" fmla="*/ 8560 w 292649"/>
                  <a:gd name="connsiteY11" fmla="*/ 249741 h 338353"/>
                  <a:gd name="connsiteX12" fmla="*/ 133950 w 292649"/>
                  <a:gd name="connsiteY12" fmla="*/ 334374 h 338353"/>
                  <a:gd name="connsiteX13" fmla="*/ 145490 w 292649"/>
                  <a:gd name="connsiteY13" fmla="*/ 337887 h 338353"/>
                  <a:gd name="connsiteX14" fmla="*/ 157143 w 292649"/>
                  <a:gd name="connsiteY14" fmla="*/ 334374 h 338353"/>
                  <a:gd name="connsiteX15" fmla="*/ 282533 w 292649"/>
                  <a:gd name="connsiteY15" fmla="*/ 249741 h 338353"/>
                  <a:gd name="connsiteX16" fmla="*/ 291397 w 292649"/>
                  <a:gd name="connsiteY16" fmla="*/ 236081 h 33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649" h="338353">
                    <a:moveTo>
                      <a:pt x="287495" y="238813"/>
                    </a:moveTo>
                    <a:lnTo>
                      <a:pt x="174259" y="203409"/>
                    </a:lnTo>
                    <a:lnTo>
                      <a:pt x="189034" y="125355"/>
                    </a:lnTo>
                    <a:lnTo>
                      <a:pt x="291843" y="133495"/>
                    </a:lnTo>
                    <a:lnTo>
                      <a:pt x="291843" y="105228"/>
                    </a:lnTo>
                    <a:cubicBezTo>
                      <a:pt x="291843" y="98203"/>
                      <a:pt x="288331" y="91624"/>
                      <a:pt x="282533" y="87665"/>
                    </a:cubicBezTo>
                    <a:lnTo>
                      <a:pt x="157143" y="3088"/>
                    </a:lnTo>
                    <a:cubicBezTo>
                      <a:pt x="150118" y="-1652"/>
                      <a:pt x="140975" y="-1652"/>
                      <a:pt x="133950" y="3088"/>
                    </a:cubicBezTo>
                    <a:lnTo>
                      <a:pt x="8560" y="87665"/>
                    </a:lnTo>
                    <a:cubicBezTo>
                      <a:pt x="2706" y="91569"/>
                      <a:pt x="-807" y="98203"/>
                      <a:pt x="-807" y="105228"/>
                    </a:cubicBezTo>
                    <a:lnTo>
                      <a:pt x="-807" y="232178"/>
                    </a:lnTo>
                    <a:cubicBezTo>
                      <a:pt x="-807" y="239203"/>
                      <a:pt x="2706" y="245838"/>
                      <a:pt x="8560" y="249741"/>
                    </a:cubicBezTo>
                    <a:lnTo>
                      <a:pt x="133950" y="334374"/>
                    </a:lnTo>
                    <a:cubicBezTo>
                      <a:pt x="137350" y="336660"/>
                      <a:pt x="141365" y="337887"/>
                      <a:pt x="145490" y="337887"/>
                    </a:cubicBezTo>
                    <a:cubicBezTo>
                      <a:pt x="149617" y="337887"/>
                      <a:pt x="153687" y="336660"/>
                      <a:pt x="157143" y="334374"/>
                    </a:cubicBezTo>
                    <a:lnTo>
                      <a:pt x="282533" y="249741"/>
                    </a:lnTo>
                    <a:cubicBezTo>
                      <a:pt x="287216" y="246563"/>
                      <a:pt x="290394" y="241656"/>
                      <a:pt x="291397" y="236081"/>
                    </a:cubicBezTo>
                    <a:close/>
                  </a:path>
                </a:pathLst>
              </a:custGeom>
              <a:solidFill>
                <a:schemeClr val="accent2"/>
              </a:solidFill>
              <a:ln w="5573" cap="flat">
                <a:noFill/>
                <a:prstDash val="solid"/>
                <a:miter/>
              </a:ln>
            </p:spPr>
            <p:txBody>
              <a:bodyPr rtlCol="0" anchor="ctr"/>
              <a:lstStyle/>
              <a:p>
                <a:endParaRPr lang="en-GB"/>
              </a:p>
            </p:txBody>
          </p:sp>
          <p:sp>
            <p:nvSpPr>
              <p:cNvPr id="208" name="Graphic 6">
                <a:extLst>
                  <a:ext uri="{FF2B5EF4-FFF2-40B4-BE49-F238E27FC236}">
                    <a16:creationId xmlns:a16="http://schemas.microsoft.com/office/drawing/2014/main" id="{B872DF55-6743-A3C0-C18F-2766839F234E}"/>
                  </a:ext>
                </a:extLst>
              </p:cNvPr>
              <p:cNvSpPr/>
              <p:nvPr/>
            </p:nvSpPr>
            <p:spPr>
              <a:xfrm>
                <a:off x="5507648" y="6090694"/>
                <a:ext cx="485724" cy="225244"/>
              </a:xfrm>
              <a:custGeom>
                <a:avLst/>
                <a:gdLst>
                  <a:gd name="connsiteX0" fmla="*/ -806 w 485724"/>
                  <a:gd name="connsiteY0" fmla="*/ 176383 h 225244"/>
                  <a:gd name="connsiteX1" fmla="*/ 45235 w 485724"/>
                  <a:gd name="connsiteY1" fmla="*/ 222881 h 225244"/>
                  <a:gd name="connsiteX2" fmla="*/ 78029 w 485724"/>
                  <a:gd name="connsiteY2" fmla="*/ 209500 h 225244"/>
                  <a:gd name="connsiteX3" fmla="*/ 110924 w 485724"/>
                  <a:gd name="connsiteY3" fmla="*/ 176940 h 225244"/>
                  <a:gd name="connsiteX4" fmla="*/ 143484 w 485724"/>
                  <a:gd name="connsiteY4" fmla="*/ 209835 h 225244"/>
                  <a:gd name="connsiteX5" fmla="*/ 176100 w 485724"/>
                  <a:gd name="connsiteY5" fmla="*/ 223550 h 225244"/>
                  <a:gd name="connsiteX6" fmla="*/ 437806 w 485724"/>
                  <a:gd name="connsiteY6" fmla="*/ 224777 h 225244"/>
                  <a:gd name="connsiteX7" fmla="*/ 484249 w 485724"/>
                  <a:gd name="connsiteY7" fmla="*/ 178725 h 225244"/>
                  <a:gd name="connsiteX8" fmla="*/ 484918 w 485724"/>
                  <a:gd name="connsiteY8" fmla="*/ 47871 h 225244"/>
                  <a:gd name="connsiteX9" fmla="*/ 438866 w 485724"/>
                  <a:gd name="connsiteY9" fmla="*/ 1428 h 225244"/>
                  <a:gd name="connsiteX10" fmla="*/ 177159 w 485724"/>
                  <a:gd name="connsiteY10" fmla="*/ 146 h 225244"/>
                  <a:gd name="connsiteX11" fmla="*/ 144432 w 485724"/>
                  <a:gd name="connsiteY11" fmla="*/ 13527 h 225244"/>
                  <a:gd name="connsiteX12" fmla="*/ 111537 w 485724"/>
                  <a:gd name="connsiteY12" fmla="*/ 46087 h 225244"/>
                  <a:gd name="connsiteX13" fmla="*/ 78921 w 485724"/>
                  <a:gd name="connsiteY13" fmla="*/ 13192 h 225244"/>
                  <a:gd name="connsiteX14" fmla="*/ 28743 w 485724"/>
                  <a:gd name="connsiteY14" fmla="*/ 2934 h 225244"/>
                  <a:gd name="connsiteX15" fmla="*/ 13690 w 485724"/>
                  <a:gd name="connsiteY15" fmla="*/ 12914 h 225244"/>
                  <a:gd name="connsiteX16" fmla="*/ -25 w 485724"/>
                  <a:gd name="connsiteY16" fmla="*/ 45530 h 2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5724" h="225244">
                    <a:moveTo>
                      <a:pt x="-806" y="176383"/>
                    </a:moveTo>
                    <a:cubicBezTo>
                      <a:pt x="-934" y="201917"/>
                      <a:pt x="19678" y="222769"/>
                      <a:pt x="45235" y="222881"/>
                    </a:cubicBezTo>
                    <a:cubicBezTo>
                      <a:pt x="57507" y="222937"/>
                      <a:pt x="69304" y="218142"/>
                      <a:pt x="78029" y="209500"/>
                    </a:cubicBezTo>
                    <a:lnTo>
                      <a:pt x="110924" y="176940"/>
                    </a:lnTo>
                    <a:lnTo>
                      <a:pt x="143484" y="209835"/>
                    </a:lnTo>
                    <a:cubicBezTo>
                      <a:pt x="152120" y="218533"/>
                      <a:pt x="163845" y="223438"/>
                      <a:pt x="176100" y="223550"/>
                    </a:cubicBezTo>
                    <a:lnTo>
                      <a:pt x="437806" y="224777"/>
                    </a:lnTo>
                    <a:cubicBezTo>
                      <a:pt x="463341" y="224888"/>
                      <a:pt x="484126" y="204259"/>
                      <a:pt x="484249" y="178725"/>
                    </a:cubicBezTo>
                    <a:lnTo>
                      <a:pt x="484918" y="47871"/>
                    </a:lnTo>
                    <a:cubicBezTo>
                      <a:pt x="485013" y="22336"/>
                      <a:pt x="464400" y="1540"/>
                      <a:pt x="438866" y="1428"/>
                    </a:cubicBezTo>
                    <a:lnTo>
                      <a:pt x="177159" y="146"/>
                    </a:lnTo>
                    <a:cubicBezTo>
                      <a:pt x="164910" y="90"/>
                      <a:pt x="153146" y="4941"/>
                      <a:pt x="144432" y="13527"/>
                    </a:cubicBezTo>
                    <a:lnTo>
                      <a:pt x="111537" y="46087"/>
                    </a:lnTo>
                    <a:lnTo>
                      <a:pt x="78921" y="13192"/>
                    </a:lnTo>
                    <a:cubicBezTo>
                      <a:pt x="65797" y="-21"/>
                      <a:pt x="46004" y="-4091"/>
                      <a:pt x="28743" y="2934"/>
                    </a:cubicBezTo>
                    <a:cubicBezTo>
                      <a:pt x="23112" y="5220"/>
                      <a:pt x="17989" y="8621"/>
                      <a:pt x="13690" y="12914"/>
                    </a:cubicBezTo>
                    <a:cubicBezTo>
                      <a:pt x="4959" y="21500"/>
                      <a:pt x="19" y="33263"/>
                      <a:pt x="-25" y="45530"/>
                    </a:cubicBezTo>
                    <a:close/>
                  </a:path>
                </a:pathLst>
              </a:custGeom>
              <a:solidFill>
                <a:schemeClr val="accent2"/>
              </a:solidFill>
              <a:ln w="5573" cap="flat">
                <a:noFill/>
                <a:prstDash val="solid"/>
                <a:miter/>
              </a:ln>
            </p:spPr>
            <p:txBody>
              <a:bodyPr rtlCol="0" anchor="ctr"/>
              <a:lstStyle/>
              <a:p>
                <a:endParaRPr lang="en-GB"/>
              </a:p>
            </p:txBody>
          </p:sp>
        </p:grpSp>
        <p:grpSp>
          <p:nvGrpSpPr>
            <p:cNvPr id="106" name="Group 105">
              <a:extLst>
                <a:ext uri="{FF2B5EF4-FFF2-40B4-BE49-F238E27FC236}">
                  <a16:creationId xmlns:a16="http://schemas.microsoft.com/office/drawing/2014/main" id="{7BF449A1-D5CD-24B7-7654-166378883C8D}"/>
                </a:ext>
              </a:extLst>
            </p:cNvPr>
            <p:cNvGrpSpPr/>
            <p:nvPr/>
          </p:nvGrpSpPr>
          <p:grpSpPr>
            <a:xfrm>
              <a:off x="5088160" y="2252854"/>
              <a:ext cx="4554050" cy="4023387"/>
              <a:chOff x="5088160" y="2252854"/>
              <a:chExt cx="4554050" cy="4023387"/>
            </a:xfrm>
          </p:grpSpPr>
          <p:sp>
            <p:nvSpPr>
              <p:cNvPr id="107" name="Graphic 6">
                <a:extLst>
                  <a:ext uri="{FF2B5EF4-FFF2-40B4-BE49-F238E27FC236}">
                    <a16:creationId xmlns:a16="http://schemas.microsoft.com/office/drawing/2014/main" id="{ACBB701D-9C4A-0A5F-B37E-BE186E16DB1A}"/>
                  </a:ext>
                </a:extLst>
              </p:cNvPr>
              <p:cNvSpPr/>
              <p:nvPr/>
            </p:nvSpPr>
            <p:spPr>
              <a:xfrm>
                <a:off x="6175301" y="5778799"/>
                <a:ext cx="68023" cy="497392"/>
              </a:xfrm>
              <a:custGeom>
                <a:avLst/>
                <a:gdLst>
                  <a:gd name="connsiteX0" fmla="*/ 7272 w 68023"/>
                  <a:gd name="connsiteY0" fmla="*/ 496920 h 497392"/>
                  <a:gd name="connsiteX1" fmla="*/ 6603 w 68023"/>
                  <a:gd name="connsiteY1" fmla="*/ 496920 h 497392"/>
                  <a:gd name="connsiteX2" fmla="*/ -756 w 68023"/>
                  <a:gd name="connsiteY2" fmla="*/ 487776 h 497392"/>
                  <a:gd name="connsiteX3" fmla="*/ -756 w 68023"/>
                  <a:gd name="connsiteY3" fmla="*/ 487664 h 497392"/>
                  <a:gd name="connsiteX4" fmla="*/ 47582 w 68023"/>
                  <a:gd name="connsiteY4" fmla="*/ 66894 h 497392"/>
                  <a:gd name="connsiteX5" fmla="*/ 50481 w 68023"/>
                  <a:gd name="connsiteY5" fmla="*/ 7516 h 497392"/>
                  <a:gd name="connsiteX6" fmla="*/ 59290 w 68023"/>
                  <a:gd name="connsiteY6" fmla="*/ -457 h 497392"/>
                  <a:gd name="connsiteX7" fmla="*/ 67207 w 68023"/>
                  <a:gd name="connsiteY7" fmla="*/ 8353 h 497392"/>
                  <a:gd name="connsiteX8" fmla="*/ 64308 w 68023"/>
                  <a:gd name="connsiteY8" fmla="*/ 68287 h 497392"/>
                  <a:gd name="connsiteX9" fmla="*/ 15914 w 68023"/>
                  <a:gd name="connsiteY9" fmla="*/ 489560 h 497392"/>
                  <a:gd name="connsiteX10" fmla="*/ 7272 w 68023"/>
                  <a:gd name="connsiteY10" fmla="*/ 496920 h 49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23" h="497392">
                    <a:moveTo>
                      <a:pt x="7272" y="496920"/>
                    </a:moveTo>
                    <a:lnTo>
                      <a:pt x="6603" y="496920"/>
                    </a:lnTo>
                    <a:cubicBezTo>
                      <a:pt x="2032" y="496417"/>
                      <a:pt x="-1258" y="492347"/>
                      <a:pt x="-756" y="487776"/>
                    </a:cubicBezTo>
                    <a:cubicBezTo>
                      <a:pt x="-756" y="487720"/>
                      <a:pt x="-756" y="487720"/>
                      <a:pt x="-756" y="487664"/>
                    </a:cubicBezTo>
                    <a:lnTo>
                      <a:pt x="47582" y="66894"/>
                    </a:lnTo>
                    <a:lnTo>
                      <a:pt x="50481" y="7516"/>
                    </a:lnTo>
                    <a:cubicBezTo>
                      <a:pt x="50704" y="2888"/>
                      <a:pt x="54663" y="-679"/>
                      <a:pt x="59290" y="-457"/>
                    </a:cubicBezTo>
                    <a:cubicBezTo>
                      <a:pt x="63862" y="-178"/>
                      <a:pt x="67430" y="3725"/>
                      <a:pt x="67207" y="8353"/>
                    </a:cubicBezTo>
                    <a:lnTo>
                      <a:pt x="64308" y="68287"/>
                    </a:lnTo>
                    <a:lnTo>
                      <a:pt x="15914" y="489560"/>
                    </a:lnTo>
                    <a:cubicBezTo>
                      <a:pt x="15413" y="493909"/>
                      <a:pt x="11621" y="497086"/>
                      <a:pt x="7272" y="496920"/>
                    </a:cubicBezTo>
                    <a:close/>
                  </a:path>
                </a:pathLst>
              </a:custGeom>
              <a:solidFill>
                <a:srgbClr val="30373B"/>
              </a:solidFill>
              <a:ln w="5573" cap="flat">
                <a:noFill/>
                <a:prstDash val="solid"/>
                <a:miter/>
              </a:ln>
            </p:spPr>
            <p:txBody>
              <a:bodyPr rtlCol="0" anchor="ctr"/>
              <a:lstStyle/>
              <a:p>
                <a:endParaRPr lang="en-GB"/>
              </a:p>
            </p:txBody>
          </p:sp>
          <p:sp>
            <p:nvSpPr>
              <p:cNvPr id="108" name="Graphic 6">
                <a:extLst>
                  <a:ext uri="{FF2B5EF4-FFF2-40B4-BE49-F238E27FC236}">
                    <a16:creationId xmlns:a16="http://schemas.microsoft.com/office/drawing/2014/main" id="{B2317B86-2716-6BFF-3571-8135CD4F2156}"/>
                  </a:ext>
                </a:extLst>
              </p:cNvPr>
              <p:cNvSpPr/>
              <p:nvPr/>
            </p:nvSpPr>
            <p:spPr>
              <a:xfrm>
                <a:off x="6174031" y="5582446"/>
                <a:ext cx="309926" cy="192429"/>
              </a:xfrm>
              <a:custGeom>
                <a:avLst/>
                <a:gdLst>
                  <a:gd name="connsiteX0" fmla="*/ 279336 w 309926"/>
                  <a:gd name="connsiteY0" fmla="*/ 191938 h 192429"/>
                  <a:gd name="connsiteX1" fmla="*/ 205241 w 309926"/>
                  <a:gd name="connsiteY1" fmla="*/ 166738 h 192429"/>
                  <a:gd name="connsiteX2" fmla="*/ 130363 w 309926"/>
                  <a:gd name="connsiteY2" fmla="*/ 136241 h 192429"/>
                  <a:gd name="connsiteX3" fmla="*/ 125401 w 309926"/>
                  <a:gd name="connsiteY3" fmla="*/ 125480 h 192429"/>
                  <a:gd name="connsiteX4" fmla="*/ 135549 w 309926"/>
                  <a:gd name="connsiteY4" fmla="*/ 120351 h 192429"/>
                  <a:gd name="connsiteX5" fmla="*/ 212098 w 309926"/>
                  <a:gd name="connsiteY5" fmla="*/ 151461 h 192429"/>
                  <a:gd name="connsiteX6" fmla="*/ 287365 w 309926"/>
                  <a:gd name="connsiteY6" fmla="*/ 172982 h 192429"/>
                  <a:gd name="connsiteX7" fmla="*/ 288424 w 309926"/>
                  <a:gd name="connsiteY7" fmla="*/ 122804 h 192429"/>
                  <a:gd name="connsiteX8" fmla="*/ 284912 w 309926"/>
                  <a:gd name="connsiteY8" fmla="*/ 105576 h 192429"/>
                  <a:gd name="connsiteX9" fmla="*/ 207192 w 309926"/>
                  <a:gd name="connsiteY9" fmla="*/ 16371 h 192429"/>
                  <a:gd name="connsiteX10" fmla="*/ 118878 w 309926"/>
                  <a:gd name="connsiteY10" fmla="*/ 16371 h 192429"/>
                  <a:gd name="connsiteX11" fmla="*/ 24599 w 309926"/>
                  <a:gd name="connsiteY11" fmla="*/ 82049 h 192429"/>
                  <a:gd name="connsiteX12" fmla="*/ 22146 w 309926"/>
                  <a:gd name="connsiteY12" fmla="*/ 164006 h 192429"/>
                  <a:gd name="connsiteX13" fmla="*/ 131256 w 309926"/>
                  <a:gd name="connsiteY13" fmla="*/ 37055 h 192429"/>
                  <a:gd name="connsiteX14" fmla="*/ 142406 w 309926"/>
                  <a:gd name="connsiteY14" fmla="*/ 33543 h 192429"/>
                  <a:gd name="connsiteX15" fmla="*/ 145919 w 309926"/>
                  <a:gd name="connsiteY15" fmla="*/ 44693 h 192429"/>
                  <a:gd name="connsiteX16" fmla="*/ 145919 w 309926"/>
                  <a:gd name="connsiteY16" fmla="*/ 44693 h 192429"/>
                  <a:gd name="connsiteX17" fmla="*/ 80687 w 309926"/>
                  <a:gd name="connsiteY17" fmla="*/ 141370 h 192429"/>
                  <a:gd name="connsiteX18" fmla="*/ 16236 w 309926"/>
                  <a:gd name="connsiteY18" fmla="*/ 179617 h 192429"/>
                  <a:gd name="connsiteX19" fmla="*/ 8208 w 309926"/>
                  <a:gd name="connsiteY19" fmla="*/ 78201 h 192429"/>
                  <a:gd name="connsiteX20" fmla="*/ 118767 w 309926"/>
                  <a:gd name="connsiteY20" fmla="*/ -467 h 192429"/>
                  <a:gd name="connsiteX21" fmla="*/ 207080 w 309926"/>
                  <a:gd name="connsiteY21" fmla="*/ -467 h 192429"/>
                  <a:gd name="connsiteX22" fmla="*/ 301192 w 309926"/>
                  <a:gd name="connsiteY22" fmla="*/ 102343 h 192429"/>
                  <a:gd name="connsiteX23" fmla="*/ 304704 w 309926"/>
                  <a:gd name="connsiteY23" fmla="*/ 119459 h 192429"/>
                  <a:gd name="connsiteX24" fmla="*/ 297735 w 309926"/>
                  <a:gd name="connsiteY24" fmla="*/ 186028 h 192429"/>
                  <a:gd name="connsiteX25" fmla="*/ 279336 w 309926"/>
                  <a:gd name="connsiteY25" fmla="*/ 191938 h 19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9926" h="192429">
                    <a:moveTo>
                      <a:pt x="279336" y="191938"/>
                    </a:moveTo>
                    <a:cubicBezTo>
                      <a:pt x="261161" y="191938"/>
                      <a:pt x="236295" y="180788"/>
                      <a:pt x="205241" y="166738"/>
                    </a:cubicBezTo>
                    <a:cubicBezTo>
                      <a:pt x="180820" y="155253"/>
                      <a:pt x="155843" y="145049"/>
                      <a:pt x="130363" y="136241"/>
                    </a:cubicBezTo>
                    <a:cubicBezTo>
                      <a:pt x="126014" y="134624"/>
                      <a:pt x="123785" y="129829"/>
                      <a:pt x="125401" y="125480"/>
                    </a:cubicBezTo>
                    <a:cubicBezTo>
                      <a:pt x="126907" y="121410"/>
                      <a:pt x="131367" y="119124"/>
                      <a:pt x="135549" y="120351"/>
                    </a:cubicBezTo>
                    <a:cubicBezTo>
                      <a:pt x="161585" y="129327"/>
                      <a:pt x="187176" y="139753"/>
                      <a:pt x="212098" y="151461"/>
                    </a:cubicBezTo>
                    <a:cubicBezTo>
                      <a:pt x="245550" y="166626"/>
                      <a:pt x="277497" y="180955"/>
                      <a:pt x="287365" y="172982"/>
                    </a:cubicBezTo>
                    <a:cubicBezTo>
                      <a:pt x="291045" y="170083"/>
                      <a:pt x="296062" y="159601"/>
                      <a:pt x="288424" y="122804"/>
                    </a:cubicBezTo>
                    <a:lnTo>
                      <a:pt x="284912" y="105576"/>
                    </a:lnTo>
                    <a:cubicBezTo>
                      <a:pt x="272256" y="42408"/>
                      <a:pt x="267015" y="16371"/>
                      <a:pt x="207192" y="16371"/>
                    </a:cubicBezTo>
                    <a:lnTo>
                      <a:pt x="118878" y="16371"/>
                    </a:lnTo>
                    <a:cubicBezTo>
                      <a:pt x="69927" y="16371"/>
                      <a:pt x="33854" y="41571"/>
                      <a:pt x="24599" y="82049"/>
                    </a:cubicBezTo>
                    <a:cubicBezTo>
                      <a:pt x="7371" y="157650"/>
                      <a:pt x="21533" y="163783"/>
                      <a:pt x="22146" y="164006"/>
                    </a:cubicBezTo>
                    <a:cubicBezTo>
                      <a:pt x="36252" y="169191"/>
                      <a:pt x="89385" y="117005"/>
                      <a:pt x="131256" y="37055"/>
                    </a:cubicBezTo>
                    <a:cubicBezTo>
                      <a:pt x="133374" y="33041"/>
                      <a:pt x="138336" y="31480"/>
                      <a:pt x="142406" y="33543"/>
                    </a:cubicBezTo>
                    <a:cubicBezTo>
                      <a:pt x="146476" y="35661"/>
                      <a:pt x="148037" y="40623"/>
                      <a:pt x="145919" y="44693"/>
                    </a:cubicBezTo>
                    <a:cubicBezTo>
                      <a:pt x="145919" y="44693"/>
                      <a:pt x="145919" y="44693"/>
                      <a:pt x="145919" y="44693"/>
                    </a:cubicBezTo>
                    <a:cubicBezTo>
                      <a:pt x="127966" y="79317"/>
                      <a:pt x="106055" y="111765"/>
                      <a:pt x="80687" y="141370"/>
                    </a:cubicBezTo>
                    <a:cubicBezTo>
                      <a:pt x="53257" y="172369"/>
                      <a:pt x="31569" y="185248"/>
                      <a:pt x="16236" y="179617"/>
                    </a:cubicBezTo>
                    <a:cubicBezTo>
                      <a:pt x="-3389" y="172369"/>
                      <a:pt x="-6065" y="140143"/>
                      <a:pt x="8208" y="78201"/>
                    </a:cubicBezTo>
                    <a:cubicBezTo>
                      <a:pt x="19359" y="29696"/>
                      <a:pt x="61620" y="-467"/>
                      <a:pt x="118767" y="-467"/>
                    </a:cubicBezTo>
                    <a:lnTo>
                      <a:pt x="207080" y="-467"/>
                    </a:lnTo>
                    <a:cubicBezTo>
                      <a:pt x="280619" y="-467"/>
                      <a:pt x="288815" y="40456"/>
                      <a:pt x="301192" y="102343"/>
                    </a:cubicBezTo>
                    <a:cubicBezTo>
                      <a:pt x="302307" y="107918"/>
                      <a:pt x="303478" y="113494"/>
                      <a:pt x="304704" y="119459"/>
                    </a:cubicBezTo>
                    <a:cubicBezTo>
                      <a:pt x="312231" y="155643"/>
                      <a:pt x="310280" y="176160"/>
                      <a:pt x="297735" y="186028"/>
                    </a:cubicBezTo>
                    <a:cubicBezTo>
                      <a:pt x="292495" y="190099"/>
                      <a:pt x="285971" y="192217"/>
                      <a:pt x="279336" y="191938"/>
                    </a:cubicBezTo>
                    <a:close/>
                  </a:path>
                </a:pathLst>
              </a:custGeom>
              <a:solidFill>
                <a:srgbClr val="30373B"/>
              </a:solidFill>
              <a:ln w="5573" cap="flat">
                <a:noFill/>
                <a:prstDash val="solid"/>
                <a:miter/>
              </a:ln>
            </p:spPr>
            <p:txBody>
              <a:bodyPr rtlCol="0" anchor="ctr"/>
              <a:lstStyle/>
              <a:p>
                <a:endParaRPr lang="en-GB"/>
              </a:p>
            </p:txBody>
          </p:sp>
          <p:sp>
            <p:nvSpPr>
              <p:cNvPr id="109" name="Graphic 6">
                <a:extLst>
                  <a:ext uri="{FF2B5EF4-FFF2-40B4-BE49-F238E27FC236}">
                    <a16:creationId xmlns:a16="http://schemas.microsoft.com/office/drawing/2014/main" id="{FE6EB57C-8782-8224-C270-1279A9462BCA}"/>
                  </a:ext>
                </a:extLst>
              </p:cNvPr>
              <p:cNvSpPr/>
              <p:nvPr/>
            </p:nvSpPr>
            <p:spPr>
              <a:xfrm>
                <a:off x="6250492" y="5415353"/>
                <a:ext cx="143189" cy="183762"/>
              </a:xfrm>
              <a:custGeom>
                <a:avLst/>
                <a:gdLst>
                  <a:gd name="connsiteX0" fmla="*/ 70797 w 143189"/>
                  <a:gd name="connsiteY0" fmla="*/ 183296 h 183762"/>
                  <a:gd name="connsiteX1" fmla="*/ -289 w 143189"/>
                  <a:gd name="connsiteY1" fmla="*/ 92140 h 183762"/>
                  <a:gd name="connsiteX2" fmla="*/ 19503 w 143189"/>
                  <a:gd name="connsiteY2" fmla="*/ 20608 h 183762"/>
                  <a:gd name="connsiteX3" fmla="*/ 122089 w 143189"/>
                  <a:gd name="connsiteY3" fmla="*/ 20608 h 183762"/>
                  <a:gd name="connsiteX4" fmla="*/ 141882 w 143189"/>
                  <a:gd name="connsiteY4" fmla="*/ 92140 h 183762"/>
                  <a:gd name="connsiteX5" fmla="*/ 131289 w 143189"/>
                  <a:gd name="connsiteY5" fmla="*/ 134289 h 183762"/>
                  <a:gd name="connsiteX6" fmla="*/ 120194 w 143189"/>
                  <a:gd name="connsiteY6" fmla="*/ 138526 h 183762"/>
                  <a:gd name="connsiteX7" fmla="*/ 120138 w 143189"/>
                  <a:gd name="connsiteY7" fmla="*/ 138526 h 183762"/>
                  <a:gd name="connsiteX8" fmla="*/ 115845 w 143189"/>
                  <a:gd name="connsiteY8" fmla="*/ 127487 h 183762"/>
                  <a:gd name="connsiteX9" fmla="*/ 115901 w 143189"/>
                  <a:gd name="connsiteY9" fmla="*/ 127375 h 183762"/>
                  <a:gd name="connsiteX10" fmla="*/ 125100 w 143189"/>
                  <a:gd name="connsiteY10" fmla="*/ 90578 h 183762"/>
                  <a:gd name="connsiteX11" fmla="*/ 109656 w 143189"/>
                  <a:gd name="connsiteY11" fmla="*/ 31759 h 183762"/>
                  <a:gd name="connsiteX12" fmla="*/ 31602 w 143189"/>
                  <a:gd name="connsiteY12" fmla="*/ 31759 h 183762"/>
                  <a:gd name="connsiteX13" fmla="*/ 16102 w 143189"/>
                  <a:gd name="connsiteY13" fmla="*/ 90522 h 183762"/>
                  <a:gd name="connsiteX14" fmla="*/ 70517 w 143189"/>
                  <a:gd name="connsiteY14" fmla="*/ 166403 h 183762"/>
                  <a:gd name="connsiteX15" fmla="*/ 78880 w 143189"/>
                  <a:gd name="connsiteY15" fmla="*/ 174766 h 183762"/>
                  <a:gd name="connsiteX16" fmla="*/ 70517 w 143189"/>
                  <a:gd name="connsiteY16" fmla="*/ 183129 h 18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189" h="183762">
                    <a:moveTo>
                      <a:pt x="70797" y="183296"/>
                    </a:moveTo>
                    <a:cubicBezTo>
                      <a:pt x="31769" y="183296"/>
                      <a:pt x="3558" y="136017"/>
                      <a:pt x="-289" y="92140"/>
                    </a:cubicBezTo>
                    <a:cubicBezTo>
                      <a:pt x="-2854" y="62813"/>
                      <a:pt x="4171" y="37389"/>
                      <a:pt x="19503" y="20608"/>
                    </a:cubicBezTo>
                    <a:cubicBezTo>
                      <a:pt x="47938" y="-7492"/>
                      <a:pt x="93655" y="-7492"/>
                      <a:pt x="122089" y="20608"/>
                    </a:cubicBezTo>
                    <a:cubicBezTo>
                      <a:pt x="137422" y="37334"/>
                      <a:pt x="144391" y="62813"/>
                      <a:pt x="141882" y="92140"/>
                    </a:cubicBezTo>
                    <a:cubicBezTo>
                      <a:pt x="140712" y="106691"/>
                      <a:pt x="137143" y="120908"/>
                      <a:pt x="131289" y="134289"/>
                    </a:cubicBezTo>
                    <a:cubicBezTo>
                      <a:pt x="129393" y="138526"/>
                      <a:pt x="124431" y="140422"/>
                      <a:pt x="120194" y="138526"/>
                    </a:cubicBezTo>
                    <a:cubicBezTo>
                      <a:pt x="120138" y="138526"/>
                      <a:pt x="120138" y="138526"/>
                      <a:pt x="120138" y="138526"/>
                    </a:cubicBezTo>
                    <a:cubicBezTo>
                      <a:pt x="115901" y="136686"/>
                      <a:pt x="114005" y="131724"/>
                      <a:pt x="115845" y="127487"/>
                    </a:cubicBezTo>
                    <a:cubicBezTo>
                      <a:pt x="115845" y="127487"/>
                      <a:pt x="115901" y="127431"/>
                      <a:pt x="115901" y="127375"/>
                    </a:cubicBezTo>
                    <a:cubicBezTo>
                      <a:pt x="120975" y="115723"/>
                      <a:pt x="124097" y="103290"/>
                      <a:pt x="125100" y="90578"/>
                    </a:cubicBezTo>
                    <a:cubicBezTo>
                      <a:pt x="127275" y="65936"/>
                      <a:pt x="121755" y="45083"/>
                      <a:pt x="109656" y="31759"/>
                    </a:cubicBezTo>
                    <a:cubicBezTo>
                      <a:pt x="87857" y="10795"/>
                      <a:pt x="53401" y="10795"/>
                      <a:pt x="31602" y="31759"/>
                    </a:cubicBezTo>
                    <a:cubicBezTo>
                      <a:pt x="19448" y="45028"/>
                      <a:pt x="13928" y="65880"/>
                      <a:pt x="16102" y="90522"/>
                    </a:cubicBezTo>
                    <a:cubicBezTo>
                      <a:pt x="20451" y="140031"/>
                      <a:pt x="50502" y="166403"/>
                      <a:pt x="70517" y="166403"/>
                    </a:cubicBezTo>
                    <a:cubicBezTo>
                      <a:pt x="75145" y="166403"/>
                      <a:pt x="78880" y="170138"/>
                      <a:pt x="78880" y="174766"/>
                    </a:cubicBezTo>
                    <a:cubicBezTo>
                      <a:pt x="78880" y="179394"/>
                      <a:pt x="75145" y="183129"/>
                      <a:pt x="70517" y="183129"/>
                    </a:cubicBezTo>
                    <a:close/>
                  </a:path>
                </a:pathLst>
              </a:custGeom>
              <a:solidFill>
                <a:srgbClr val="30373B"/>
              </a:solidFill>
              <a:ln w="5573" cap="flat">
                <a:noFill/>
                <a:prstDash val="solid"/>
                <a:miter/>
              </a:ln>
            </p:spPr>
            <p:txBody>
              <a:bodyPr rtlCol="0" anchor="ctr"/>
              <a:lstStyle/>
              <a:p>
                <a:endParaRPr lang="en-GB"/>
              </a:p>
            </p:txBody>
          </p:sp>
          <p:sp>
            <p:nvSpPr>
              <p:cNvPr id="110" name="Graphic 6">
                <a:extLst>
                  <a:ext uri="{FF2B5EF4-FFF2-40B4-BE49-F238E27FC236}">
                    <a16:creationId xmlns:a16="http://schemas.microsoft.com/office/drawing/2014/main" id="{D01AE15E-6057-0C79-9475-AD84391C8A37}"/>
                  </a:ext>
                </a:extLst>
              </p:cNvPr>
              <p:cNvSpPr/>
              <p:nvPr/>
            </p:nvSpPr>
            <p:spPr>
              <a:xfrm>
                <a:off x="6373644" y="5800148"/>
                <a:ext cx="47022" cy="474589"/>
              </a:xfrm>
              <a:custGeom>
                <a:avLst/>
                <a:gdLst>
                  <a:gd name="connsiteX0" fmla="*/ 7579 w 47022"/>
                  <a:gd name="connsiteY0" fmla="*/ 474122 h 474589"/>
                  <a:gd name="connsiteX1" fmla="*/ 6966 w 47022"/>
                  <a:gd name="connsiteY1" fmla="*/ 474122 h 474589"/>
                  <a:gd name="connsiteX2" fmla="*/ -784 w 47022"/>
                  <a:gd name="connsiteY2" fmla="*/ 465145 h 474589"/>
                  <a:gd name="connsiteX3" fmla="*/ 29434 w 47022"/>
                  <a:gd name="connsiteY3" fmla="*/ 44820 h 474589"/>
                  <a:gd name="connsiteX4" fmla="*/ 27427 w 47022"/>
                  <a:gd name="connsiteY4" fmla="*/ 8358 h 474589"/>
                  <a:gd name="connsiteX5" fmla="*/ 35344 w 47022"/>
                  <a:gd name="connsiteY5" fmla="*/ -451 h 474589"/>
                  <a:gd name="connsiteX6" fmla="*/ 44153 w 47022"/>
                  <a:gd name="connsiteY6" fmla="*/ 7409 h 474589"/>
                  <a:gd name="connsiteX7" fmla="*/ 46216 w 47022"/>
                  <a:gd name="connsiteY7" fmla="*/ 44430 h 474589"/>
                  <a:gd name="connsiteX8" fmla="*/ 46216 w 47022"/>
                  <a:gd name="connsiteY8" fmla="*/ 45489 h 474589"/>
                  <a:gd name="connsiteX9" fmla="*/ 15998 w 47022"/>
                  <a:gd name="connsiteY9" fmla="*/ 466372 h 474589"/>
                  <a:gd name="connsiteX10" fmla="*/ 7579 w 47022"/>
                  <a:gd name="connsiteY10" fmla="*/ 474122 h 47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22" h="474589">
                    <a:moveTo>
                      <a:pt x="7579" y="474122"/>
                    </a:moveTo>
                    <a:lnTo>
                      <a:pt x="6966" y="474122"/>
                    </a:lnTo>
                    <a:cubicBezTo>
                      <a:pt x="2338" y="473787"/>
                      <a:pt x="-1119" y="469773"/>
                      <a:pt x="-784" y="465145"/>
                    </a:cubicBezTo>
                    <a:lnTo>
                      <a:pt x="29434" y="44820"/>
                    </a:lnTo>
                    <a:lnTo>
                      <a:pt x="27427" y="8358"/>
                    </a:lnTo>
                    <a:cubicBezTo>
                      <a:pt x="27148" y="3730"/>
                      <a:pt x="30717" y="-229"/>
                      <a:pt x="35344" y="-451"/>
                    </a:cubicBezTo>
                    <a:cubicBezTo>
                      <a:pt x="39916" y="-730"/>
                      <a:pt x="43874" y="2782"/>
                      <a:pt x="44153" y="7409"/>
                    </a:cubicBezTo>
                    <a:lnTo>
                      <a:pt x="46216" y="44430"/>
                    </a:lnTo>
                    <a:lnTo>
                      <a:pt x="46216" y="45489"/>
                    </a:lnTo>
                    <a:lnTo>
                      <a:pt x="15998" y="466372"/>
                    </a:lnTo>
                    <a:cubicBezTo>
                      <a:pt x="15663" y="470776"/>
                      <a:pt x="11984" y="474177"/>
                      <a:pt x="7579" y="474122"/>
                    </a:cubicBezTo>
                    <a:close/>
                  </a:path>
                </a:pathLst>
              </a:custGeom>
              <a:solidFill>
                <a:srgbClr val="30373B"/>
              </a:solidFill>
              <a:ln w="5573" cap="flat">
                <a:noFill/>
                <a:prstDash val="solid"/>
                <a:miter/>
              </a:ln>
            </p:spPr>
            <p:txBody>
              <a:bodyPr rtlCol="0" anchor="ctr"/>
              <a:lstStyle/>
              <a:p>
                <a:endParaRPr lang="en-GB"/>
              </a:p>
            </p:txBody>
          </p:sp>
          <p:sp>
            <p:nvSpPr>
              <p:cNvPr id="111" name="Graphic 6">
                <a:extLst>
                  <a:ext uri="{FF2B5EF4-FFF2-40B4-BE49-F238E27FC236}">
                    <a16:creationId xmlns:a16="http://schemas.microsoft.com/office/drawing/2014/main" id="{79EEC0F6-A6E2-A4D5-5CC6-7AF98AEAA14F}"/>
                  </a:ext>
                </a:extLst>
              </p:cNvPr>
              <p:cNvSpPr/>
              <p:nvPr/>
            </p:nvSpPr>
            <p:spPr>
              <a:xfrm>
                <a:off x="6228344" y="5918566"/>
                <a:ext cx="102565" cy="357662"/>
              </a:xfrm>
              <a:custGeom>
                <a:avLst/>
                <a:gdLst>
                  <a:gd name="connsiteX0" fmla="*/ 7530 w 102565"/>
                  <a:gd name="connsiteY0" fmla="*/ 357153 h 357662"/>
                  <a:gd name="connsiteX1" fmla="*/ 5467 w 102565"/>
                  <a:gd name="connsiteY1" fmla="*/ 357153 h 357662"/>
                  <a:gd name="connsiteX2" fmla="*/ -554 w 102565"/>
                  <a:gd name="connsiteY2" fmla="*/ 347006 h 357662"/>
                  <a:gd name="connsiteX3" fmla="*/ 84972 w 102565"/>
                  <a:gd name="connsiteY3" fmla="*/ 6910 h 357662"/>
                  <a:gd name="connsiteX4" fmla="*/ 94394 w 102565"/>
                  <a:gd name="connsiteY4" fmla="*/ -393 h 357662"/>
                  <a:gd name="connsiteX5" fmla="*/ 101698 w 102565"/>
                  <a:gd name="connsiteY5" fmla="*/ 8973 h 357662"/>
                  <a:gd name="connsiteX6" fmla="*/ 101698 w 102565"/>
                  <a:gd name="connsiteY6" fmla="*/ 348735 h 357662"/>
                  <a:gd name="connsiteX7" fmla="*/ 93335 w 102565"/>
                  <a:gd name="connsiteY7" fmla="*/ 357098 h 357662"/>
                  <a:gd name="connsiteX8" fmla="*/ 84972 w 102565"/>
                  <a:gd name="connsiteY8" fmla="*/ 348735 h 357662"/>
                  <a:gd name="connsiteX9" fmla="*/ 84972 w 102565"/>
                  <a:gd name="connsiteY9" fmla="*/ 76434 h 357662"/>
                  <a:gd name="connsiteX10" fmla="*/ 15893 w 102565"/>
                  <a:gd name="connsiteY10" fmla="*/ 350797 h 357662"/>
                  <a:gd name="connsiteX11" fmla="*/ 7530 w 102565"/>
                  <a:gd name="connsiteY11" fmla="*/ 357153 h 35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565" h="357662">
                    <a:moveTo>
                      <a:pt x="7530" y="357153"/>
                    </a:moveTo>
                    <a:cubicBezTo>
                      <a:pt x="6861" y="357209"/>
                      <a:pt x="6136" y="357209"/>
                      <a:pt x="5467" y="357153"/>
                    </a:cubicBezTo>
                    <a:cubicBezTo>
                      <a:pt x="1007" y="355982"/>
                      <a:pt x="-1669" y="351466"/>
                      <a:pt x="-554" y="347006"/>
                    </a:cubicBezTo>
                    <a:lnTo>
                      <a:pt x="84972" y="6910"/>
                    </a:lnTo>
                    <a:cubicBezTo>
                      <a:pt x="85530" y="2283"/>
                      <a:pt x="89767" y="-1006"/>
                      <a:pt x="94394" y="-393"/>
                    </a:cubicBezTo>
                    <a:cubicBezTo>
                      <a:pt x="98966" y="164"/>
                      <a:pt x="102256" y="4346"/>
                      <a:pt x="101698" y="8973"/>
                    </a:cubicBezTo>
                    <a:lnTo>
                      <a:pt x="101698" y="348735"/>
                    </a:lnTo>
                    <a:cubicBezTo>
                      <a:pt x="101698" y="353362"/>
                      <a:pt x="97963" y="357098"/>
                      <a:pt x="93335" y="357098"/>
                    </a:cubicBezTo>
                    <a:cubicBezTo>
                      <a:pt x="88707" y="357098"/>
                      <a:pt x="84972" y="353362"/>
                      <a:pt x="84972" y="348735"/>
                    </a:cubicBezTo>
                    <a:lnTo>
                      <a:pt x="84972" y="76434"/>
                    </a:lnTo>
                    <a:lnTo>
                      <a:pt x="15893" y="350797"/>
                    </a:lnTo>
                    <a:cubicBezTo>
                      <a:pt x="14946" y="354588"/>
                      <a:pt x="11433" y="357264"/>
                      <a:pt x="7530" y="357153"/>
                    </a:cubicBezTo>
                    <a:close/>
                  </a:path>
                </a:pathLst>
              </a:custGeom>
              <a:solidFill>
                <a:srgbClr val="30373B"/>
              </a:solidFill>
              <a:ln w="5573" cap="flat">
                <a:noFill/>
                <a:prstDash val="solid"/>
                <a:miter/>
              </a:ln>
            </p:spPr>
            <p:txBody>
              <a:bodyPr rtlCol="0" anchor="ctr"/>
              <a:lstStyle/>
              <a:p>
                <a:endParaRPr lang="en-GB"/>
              </a:p>
            </p:txBody>
          </p:sp>
          <p:sp>
            <p:nvSpPr>
              <p:cNvPr id="112" name="Graphic 6">
                <a:extLst>
                  <a:ext uri="{FF2B5EF4-FFF2-40B4-BE49-F238E27FC236}">
                    <a16:creationId xmlns:a16="http://schemas.microsoft.com/office/drawing/2014/main" id="{E0BC5D10-3188-E318-77FB-F20F0E4AABCE}"/>
                  </a:ext>
                </a:extLst>
              </p:cNvPr>
              <p:cNvSpPr/>
              <p:nvPr/>
            </p:nvSpPr>
            <p:spPr>
              <a:xfrm>
                <a:off x="9575903" y="5824226"/>
                <a:ext cx="45922" cy="439024"/>
              </a:xfrm>
              <a:custGeom>
                <a:avLst/>
                <a:gdLst>
                  <a:gd name="connsiteX0" fmla="*/ 7572 w 45922"/>
                  <a:gd name="connsiteY0" fmla="*/ 438557 h 439024"/>
                  <a:gd name="connsiteX1" fmla="*/ 6959 w 45922"/>
                  <a:gd name="connsiteY1" fmla="*/ 438557 h 439024"/>
                  <a:gd name="connsiteX2" fmla="*/ -791 w 45922"/>
                  <a:gd name="connsiteY2" fmla="*/ 429637 h 439024"/>
                  <a:gd name="connsiteX3" fmla="*/ 28368 w 45922"/>
                  <a:gd name="connsiteY3" fmla="*/ 7361 h 439024"/>
                  <a:gd name="connsiteX4" fmla="*/ 37288 w 45922"/>
                  <a:gd name="connsiteY4" fmla="*/ -445 h 439024"/>
                  <a:gd name="connsiteX5" fmla="*/ 45094 w 45922"/>
                  <a:gd name="connsiteY5" fmla="*/ 8476 h 439024"/>
                  <a:gd name="connsiteX6" fmla="*/ 15935 w 45922"/>
                  <a:gd name="connsiteY6" fmla="*/ 430752 h 439024"/>
                  <a:gd name="connsiteX7" fmla="*/ 7572 w 45922"/>
                  <a:gd name="connsiteY7" fmla="*/ 438557 h 43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22" h="439024">
                    <a:moveTo>
                      <a:pt x="7572" y="438557"/>
                    </a:moveTo>
                    <a:lnTo>
                      <a:pt x="6959" y="438557"/>
                    </a:lnTo>
                    <a:cubicBezTo>
                      <a:pt x="2387" y="438223"/>
                      <a:pt x="-1069" y="434209"/>
                      <a:pt x="-791" y="429637"/>
                    </a:cubicBezTo>
                    <a:lnTo>
                      <a:pt x="28368" y="7361"/>
                    </a:lnTo>
                    <a:cubicBezTo>
                      <a:pt x="28703" y="2734"/>
                      <a:pt x="32661" y="-779"/>
                      <a:pt x="37288" y="-445"/>
                    </a:cubicBezTo>
                    <a:cubicBezTo>
                      <a:pt x="41916" y="-110"/>
                      <a:pt x="45429" y="3848"/>
                      <a:pt x="45094" y="8476"/>
                    </a:cubicBezTo>
                    <a:lnTo>
                      <a:pt x="15935" y="430752"/>
                    </a:lnTo>
                    <a:cubicBezTo>
                      <a:pt x="15657" y="435157"/>
                      <a:pt x="11977" y="438613"/>
                      <a:pt x="7572" y="438557"/>
                    </a:cubicBezTo>
                    <a:close/>
                  </a:path>
                </a:pathLst>
              </a:custGeom>
              <a:solidFill>
                <a:srgbClr val="30373B"/>
              </a:solidFill>
              <a:ln w="5573" cap="flat">
                <a:noFill/>
                <a:prstDash val="solid"/>
                <a:miter/>
              </a:ln>
            </p:spPr>
            <p:txBody>
              <a:bodyPr rtlCol="0" anchor="ctr"/>
              <a:lstStyle/>
              <a:p>
                <a:endParaRPr lang="en-GB"/>
              </a:p>
            </p:txBody>
          </p:sp>
          <p:sp>
            <p:nvSpPr>
              <p:cNvPr id="113" name="Graphic 6">
                <a:extLst>
                  <a:ext uri="{FF2B5EF4-FFF2-40B4-BE49-F238E27FC236}">
                    <a16:creationId xmlns:a16="http://schemas.microsoft.com/office/drawing/2014/main" id="{17420BC4-BB95-08F8-FC59-07CCFDC8E078}"/>
                  </a:ext>
                </a:extLst>
              </p:cNvPr>
              <p:cNvSpPr/>
              <p:nvPr/>
            </p:nvSpPr>
            <p:spPr>
              <a:xfrm>
                <a:off x="9428242" y="5557517"/>
                <a:ext cx="213968" cy="283462"/>
              </a:xfrm>
              <a:custGeom>
                <a:avLst/>
                <a:gdLst>
                  <a:gd name="connsiteX0" fmla="*/ 43114 w 213968"/>
                  <a:gd name="connsiteY0" fmla="*/ 282990 h 283462"/>
                  <a:gd name="connsiteX1" fmla="*/ 34416 w 213968"/>
                  <a:gd name="connsiteY1" fmla="*/ 274962 h 283462"/>
                  <a:gd name="connsiteX2" fmla="*/ 42500 w 213968"/>
                  <a:gd name="connsiteY2" fmla="*/ 266264 h 283462"/>
                  <a:gd name="connsiteX3" fmla="*/ 120555 w 213968"/>
                  <a:gd name="connsiteY3" fmla="*/ 243015 h 283462"/>
                  <a:gd name="connsiteX4" fmla="*/ 196435 w 213968"/>
                  <a:gd name="connsiteY4" fmla="*/ 118295 h 283462"/>
                  <a:gd name="connsiteX5" fmla="*/ 122785 w 213968"/>
                  <a:gd name="connsiteY5" fmla="*/ 16266 h 283462"/>
                  <a:gd name="connsiteX6" fmla="*/ 47852 w 213968"/>
                  <a:gd name="connsiteY6" fmla="*/ 16266 h 283462"/>
                  <a:gd name="connsiteX7" fmla="*/ 21649 w 213968"/>
                  <a:gd name="connsiteY7" fmla="*/ 25466 h 283462"/>
                  <a:gd name="connsiteX8" fmla="*/ 2302 w 213968"/>
                  <a:gd name="connsiteY8" fmla="*/ 20949 h 283462"/>
                  <a:gd name="connsiteX9" fmla="*/ 47852 w 213968"/>
                  <a:gd name="connsiteY9" fmla="*/ -460 h 283462"/>
                  <a:gd name="connsiteX10" fmla="*/ 122785 w 213968"/>
                  <a:gd name="connsiteY10" fmla="*/ -460 h 283462"/>
                  <a:gd name="connsiteX11" fmla="*/ 213161 w 213968"/>
                  <a:gd name="connsiteY11" fmla="*/ 118295 h 283462"/>
                  <a:gd name="connsiteX12" fmla="*/ 43783 w 213968"/>
                  <a:gd name="connsiteY12" fmla="*/ 282935 h 28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968" h="283462">
                    <a:moveTo>
                      <a:pt x="43114" y="282990"/>
                    </a:moveTo>
                    <a:cubicBezTo>
                      <a:pt x="38486" y="283158"/>
                      <a:pt x="34639" y="279534"/>
                      <a:pt x="34416" y="274962"/>
                    </a:cubicBezTo>
                    <a:cubicBezTo>
                      <a:pt x="34249" y="270334"/>
                      <a:pt x="37873" y="266432"/>
                      <a:pt x="42500" y="266264"/>
                    </a:cubicBezTo>
                    <a:cubicBezTo>
                      <a:pt x="69708" y="263254"/>
                      <a:pt x="96135" y="255393"/>
                      <a:pt x="120555" y="243015"/>
                    </a:cubicBezTo>
                    <a:cubicBezTo>
                      <a:pt x="170733" y="216644"/>
                      <a:pt x="196435" y="174717"/>
                      <a:pt x="196435" y="118295"/>
                    </a:cubicBezTo>
                    <a:cubicBezTo>
                      <a:pt x="196435" y="26357"/>
                      <a:pt x="172852" y="16266"/>
                      <a:pt x="122785" y="16266"/>
                    </a:cubicBezTo>
                    <a:lnTo>
                      <a:pt x="47852" y="16266"/>
                    </a:lnTo>
                    <a:cubicBezTo>
                      <a:pt x="38319" y="16099"/>
                      <a:pt x="29008" y="19388"/>
                      <a:pt x="21649" y="25466"/>
                    </a:cubicBezTo>
                    <a:cubicBezTo>
                      <a:pt x="9438" y="35389"/>
                      <a:pt x="-7957" y="32769"/>
                      <a:pt x="2302" y="20949"/>
                    </a:cubicBezTo>
                    <a:cubicBezTo>
                      <a:pt x="13397" y="7179"/>
                      <a:pt x="30179" y="-739"/>
                      <a:pt x="47852" y="-460"/>
                    </a:cubicBezTo>
                    <a:lnTo>
                      <a:pt x="122785" y="-460"/>
                    </a:lnTo>
                    <a:cubicBezTo>
                      <a:pt x="182720" y="-460"/>
                      <a:pt x="213161" y="17939"/>
                      <a:pt x="213161" y="118295"/>
                    </a:cubicBezTo>
                    <a:cubicBezTo>
                      <a:pt x="213161" y="268829"/>
                      <a:pt x="45455" y="282823"/>
                      <a:pt x="43783" y="282935"/>
                    </a:cubicBezTo>
                    <a:close/>
                  </a:path>
                </a:pathLst>
              </a:custGeom>
              <a:solidFill>
                <a:srgbClr val="30373B"/>
              </a:solidFill>
              <a:ln w="5573" cap="flat">
                <a:noFill/>
                <a:prstDash val="solid"/>
                <a:miter/>
              </a:ln>
            </p:spPr>
            <p:txBody>
              <a:bodyPr rtlCol="0" anchor="ctr"/>
              <a:lstStyle/>
              <a:p>
                <a:endParaRPr lang="en-GB"/>
              </a:p>
            </p:txBody>
          </p:sp>
          <p:sp>
            <p:nvSpPr>
              <p:cNvPr id="114" name="Graphic 6">
                <a:extLst>
                  <a:ext uri="{FF2B5EF4-FFF2-40B4-BE49-F238E27FC236}">
                    <a16:creationId xmlns:a16="http://schemas.microsoft.com/office/drawing/2014/main" id="{1A3A39E6-C1AC-3D63-B5C1-6D8D029B578C}"/>
                  </a:ext>
                </a:extLst>
              </p:cNvPr>
              <p:cNvSpPr/>
              <p:nvPr/>
            </p:nvSpPr>
            <p:spPr>
              <a:xfrm>
                <a:off x="9450556" y="5387964"/>
                <a:ext cx="145184" cy="186286"/>
              </a:xfrm>
              <a:custGeom>
                <a:avLst/>
                <a:gdLst>
                  <a:gd name="connsiteX0" fmla="*/ 71758 w 145184"/>
                  <a:gd name="connsiteY0" fmla="*/ 185820 h 186286"/>
                  <a:gd name="connsiteX1" fmla="*/ -276 w 145184"/>
                  <a:gd name="connsiteY1" fmla="*/ 93380 h 186286"/>
                  <a:gd name="connsiteX2" fmla="*/ 19795 w 145184"/>
                  <a:gd name="connsiteY2" fmla="*/ 20901 h 186286"/>
                  <a:gd name="connsiteX3" fmla="*/ 123776 w 145184"/>
                  <a:gd name="connsiteY3" fmla="*/ 20901 h 186286"/>
                  <a:gd name="connsiteX4" fmla="*/ 143847 w 145184"/>
                  <a:gd name="connsiteY4" fmla="*/ 93380 h 186286"/>
                  <a:gd name="connsiteX5" fmla="*/ 133087 w 145184"/>
                  <a:gd name="connsiteY5" fmla="*/ 136087 h 186286"/>
                  <a:gd name="connsiteX6" fmla="*/ 121936 w 145184"/>
                  <a:gd name="connsiteY6" fmla="*/ 140101 h 186286"/>
                  <a:gd name="connsiteX7" fmla="*/ 117810 w 145184"/>
                  <a:gd name="connsiteY7" fmla="*/ 129286 h 186286"/>
                  <a:gd name="connsiteX8" fmla="*/ 127177 w 145184"/>
                  <a:gd name="connsiteY8" fmla="*/ 91931 h 186286"/>
                  <a:gd name="connsiteX9" fmla="*/ 111399 w 145184"/>
                  <a:gd name="connsiteY9" fmla="*/ 32107 h 186286"/>
                  <a:gd name="connsiteX10" fmla="*/ 32173 w 145184"/>
                  <a:gd name="connsiteY10" fmla="*/ 32107 h 186286"/>
                  <a:gd name="connsiteX11" fmla="*/ 16395 w 145184"/>
                  <a:gd name="connsiteY11" fmla="*/ 91931 h 186286"/>
                  <a:gd name="connsiteX12" fmla="*/ 71758 w 145184"/>
                  <a:gd name="connsiteY12" fmla="*/ 169094 h 186286"/>
                  <a:gd name="connsiteX13" fmla="*/ 80121 w 145184"/>
                  <a:gd name="connsiteY13" fmla="*/ 177457 h 186286"/>
                  <a:gd name="connsiteX14" fmla="*/ 71758 w 145184"/>
                  <a:gd name="connsiteY14" fmla="*/ 185820 h 18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184" h="186286">
                    <a:moveTo>
                      <a:pt x="71758" y="185820"/>
                    </a:moveTo>
                    <a:cubicBezTo>
                      <a:pt x="32340" y="185820"/>
                      <a:pt x="3683" y="137872"/>
                      <a:pt x="-276" y="93380"/>
                    </a:cubicBezTo>
                    <a:cubicBezTo>
                      <a:pt x="-2896" y="63608"/>
                      <a:pt x="4241" y="37627"/>
                      <a:pt x="19795" y="20901"/>
                    </a:cubicBezTo>
                    <a:cubicBezTo>
                      <a:pt x="48620" y="-7589"/>
                      <a:pt x="94952" y="-7589"/>
                      <a:pt x="123776" y="20901"/>
                    </a:cubicBezTo>
                    <a:cubicBezTo>
                      <a:pt x="139331" y="37627"/>
                      <a:pt x="146468" y="63664"/>
                      <a:pt x="143847" y="93380"/>
                    </a:cubicBezTo>
                    <a:cubicBezTo>
                      <a:pt x="142620" y="108099"/>
                      <a:pt x="138996" y="122540"/>
                      <a:pt x="133087" y="136087"/>
                    </a:cubicBezTo>
                    <a:cubicBezTo>
                      <a:pt x="131136" y="140269"/>
                      <a:pt x="126118" y="142053"/>
                      <a:pt x="121936" y="140101"/>
                    </a:cubicBezTo>
                    <a:cubicBezTo>
                      <a:pt x="117922" y="138206"/>
                      <a:pt x="116082" y="133411"/>
                      <a:pt x="117810" y="129286"/>
                    </a:cubicBezTo>
                    <a:cubicBezTo>
                      <a:pt x="122995" y="117466"/>
                      <a:pt x="126173" y="104810"/>
                      <a:pt x="127177" y="91931"/>
                    </a:cubicBezTo>
                    <a:cubicBezTo>
                      <a:pt x="129407" y="66842"/>
                      <a:pt x="123776" y="45600"/>
                      <a:pt x="111399" y="32107"/>
                    </a:cubicBezTo>
                    <a:cubicBezTo>
                      <a:pt x="89265" y="10921"/>
                      <a:pt x="54307" y="10921"/>
                      <a:pt x="32173" y="32107"/>
                    </a:cubicBezTo>
                    <a:cubicBezTo>
                      <a:pt x="19795" y="45600"/>
                      <a:pt x="14165" y="66842"/>
                      <a:pt x="16395" y="91931"/>
                    </a:cubicBezTo>
                    <a:cubicBezTo>
                      <a:pt x="20855" y="142109"/>
                      <a:pt x="51408" y="169094"/>
                      <a:pt x="71758" y="169094"/>
                    </a:cubicBezTo>
                    <a:cubicBezTo>
                      <a:pt x="76385" y="169094"/>
                      <a:pt x="80121" y="172829"/>
                      <a:pt x="80121" y="177457"/>
                    </a:cubicBezTo>
                    <a:cubicBezTo>
                      <a:pt x="80121" y="182084"/>
                      <a:pt x="76385" y="185820"/>
                      <a:pt x="71758" y="185820"/>
                    </a:cubicBezTo>
                    <a:close/>
                  </a:path>
                </a:pathLst>
              </a:custGeom>
              <a:solidFill>
                <a:srgbClr val="30373B"/>
              </a:solidFill>
              <a:ln w="5573" cap="flat">
                <a:noFill/>
                <a:prstDash val="solid"/>
                <a:miter/>
              </a:ln>
            </p:spPr>
            <p:txBody>
              <a:bodyPr rtlCol="0" anchor="ctr"/>
              <a:lstStyle/>
              <a:p>
                <a:endParaRPr lang="en-GB"/>
              </a:p>
            </p:txBody>
          </p:sp>
          <p:sp>
            <p:nvSpPr>
              <p:cNvPr id="115" name="Graphic 6">
                <a:extLst>
                  <a:ext uri="{FF2B5EF4-FFF2-40B4-BE49-F238E27FC236}">
                    <a16:creationId xmlns:a16="http://schemas.microsoft.com/office/drawing/2014/main" id="{9B3C3A4D-132B-B3CF-0435-4C3EE90AA03A}"/>
                  </a:ext>
                </a:extLst>
              </p:cNvPr>
              <p:cNvSpPr/>
              <p:nvPr/>
            </p:nvSpPr>
            <p:spPr>
              <a:xfrm>
                <a:off x="9422988" y="5807690"/>
                <a:ext cx="47356" cy="459909"/>
              </a:xfrm>
              <a:custGeom>
                <a:avLst/>
                <a:gdLst>
                  <a:gd name="connsiteX0" fmla="*/ 38221 w 47356"/>
                  <a:gd name="connsiteY0" fmla="*/ 459387 h 459909"/>
                  <a:gd name="connsiteX1" fmla="*/ 29858 w 47356"/>
                  <a:gd name="connsiteY1" fmla="*/ 451582 h 459909"/>
                  <a:gd name="connsiteX2" fmla="*/ -807 w 47356"/>
                  <a:gd name="connsiteY2" fmla="*/ 7283 h 459909"/>
                  <a:gd name="connsiteX3" fmla="*/ -807 w 47356"/>
                  <a:gd name="connsiteY3" fmla="*/ 6335 h 459909"/>
                  <a:gd name="connsiteX4" fmla="*/ -807 w 47356"/>
                  <a:gd name="connsiteY4" fmla="*/ 760 h 459909"/>
                  <a:gd name="connsiteX5" fmla="*/ 15919 w 47356"/>
                  <a:gd name="connsiteY5" fmla="*/ -467 h 459909"/>
                  <a:gd name="connsiteX6" fmla="*/ 15919 w 47356"/>
                  <a:gd name="connsiteY6" fmla="*/ 6670 h 459909"/>
                  <a:gd name="connsiteX7" fmla="*/ 46528 w 47356"/>
                  <a:gd name="connsiteY7" fmla="*/ 450523 h 459909"/>
                  <a:gd name="connsiteX8" fmla="*/ 38778 w 47356"/>
                  <a:gd name="connsiteY8" fmla="*/ 459443 h 45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56" h="459909">
                    <a:moveTo>
                      <a:pt x="38221" y="459387"/>
                    </a:moveTo>
                    <a:cubicBezTo>
                      <a:pt x="33816" y="459387"/>
                      <a:pt x="30192" y="455986"/>
                      <a:pt x="29858" y="451582"/>
                    </a:cubicBezTo>
                    <a:lnTo>
                      <a:pt x="-807" y="7283"/>
                    </a:lnTo>
                    <a:lnTo>
                      <a:pt x="-807" y="6335"/>
                    </a:lnTo>
                    <a:lnTo>
                      <a:pt x="-807" y="760"/>
                    </a:lnTo>
                    <a:lnTo>
                      <a:pt x="15919" y="-467"/>
                    </a:lnTo>
                    <a:lnTo>
                      <a:pt x="15919" y="6670"/>
                    </a:lnTo>
                    <a:lnTo>
                      <a:pt x="46528" y="450523"/>
                    </a:lnTo>
                    <a:cubicBezTo>
                      <a:pt x="46862" y="455150"/>
                      <a:pt x="43405" y="459108"/>
                      <a:pt x="38778" y="459443"/>
                    </a:cubicBezTo>
                    <a:close/>
                  </a:path>
                </a:pathLst>
              </a:custGeom>
              <a:solidFill>
                <a:srgbClr val="30373B"/>
              </a:solidFill>
              <a:ln w="5573" cap="flat">
                <a:noFill/>
                <a:prstDash val="solid"/>
                <a:miter/>
              </a:ln>
            </p:spPr>
            <p:txBody>
              <a:bodyPr rtlCol="0" anchor="ctr"/>
              <a:lstStyle/>
              <a:p>
                <a:endParaRPr lang="en-GB"/>
              </a:p>
            </p:txBody>
          </p:sp>
          <p:sp>
            <p:nvSpPr>
              <p:cNvPr id="116" name="Graphic 6">
                <a:extLst>
                  <a:ext uri="{FF2B5EF4-FFF2-40B4-BE49-F238E27FC236}">
                    <a16:creationId xmlns:a16="http://schemas.microsoft.com/office/drawing/2014/main" id="{8EC854DA-7E22-0704-94E0-42F0F2108702}"/>
                  </a:ext>
                </a:extLst>
              </p:cNvPr>
              <p:cNvSpPr/>
              <p:nvPr/>
            </p:nvSpPr>
            <p:spPr>
              <a:xfrm>
                <a:off x="9507173" y="5866671"/>
                <a:ext cx="24313" cy="409514"/>
              </a:xfrm>
              <a:custGeom>
                <a:avLst/>
                <a:gdLst>
                  <a:gd name="connsiteX0" fmla="*/ 15141 w 24313"/>
                  <a:gd name="connsiteY0" fmla="*/ 409048 h 409514"/>
                  <a:gd name="connsiteX1" fmla="*/ 6834 w 24313"/>
                  <a:gd name="connsiteY1" fmla="*/ 400852 h 409514"/>
                  <a:gd name="connsiteX2" fmla="*/ -804 w 24313"/>
                  <a:gd name="connsiteY2" fmla="*/ 8069 h 409514"/>
                  <a:gd name="connsiteX3" fmla="*/ 7391 w 24313"/>
                  <a:gd name="connsiteY3" fmla="*/ -461 h 409514"/>
                  <a:gd name="connsiteX4" fmla="*/ 7391 w 24313"/>
                  <a:gd name="connsiteY4" fmla="*/ -461 h 409514"/>
                  <a:gd name="connsiteX5" fmla="*/ 15866 w 24313"/>
                  <a:gd name="connsiteY5" fmla="*/ 7456 h 409514"/>
                  <a:gd name="connsiteX6" fmla="*/ 15866 w 24313"/>
                  <a:gd name="connsiteY6" fmla="*/ 7734 h 409514"/>
                  <a:gd name="connsiteX7" fmla="*/ 23504 w 24313"/>
                  <a:gd name="connsiteY7" fmla="*/ 400518 h 409514"/>
                  <a:gd name="connsiteX8" fmla="*/ 15420 w 24313"/>
                  <a:gd name="connsiteY8" fmla="*/ 409048 h 409514"/>
                  <a:gd name="connsiteX9" fmla="*/ 15309 w 24313"/>
                  <a:gd name="connsiteY9" fmla="*/ 409048 h 4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13" h="409514">
                    <a:moveTo>
                      <a:pt x="15141" y="409048"/>
                    </a:moveTo>
                    <a:cubicBezTo>
                      <a:pt x="10569" y="409048"/>
                      <a:pt x="6890" y="405424"/>
                      <a:pt x="6834" y="400852"/>
                    </a:cubicBezTo>
                    <a:lnTo>
                      <a:pt x="-804" y="8069"/>
                    </a:lnTo>
                    <a:cubicBezTo>
                      <a:pt x="-916" y="3442"/>
                      <a:pt x="2764" y="-350"/>
                      <a:pt x="7391" y="-461"/>
                    </a:cubicBezTo>
                    <a:cubicBezTo>
                      <a:pt x="7391" y="-461"/>
                      <a:pt x="7391" y="-461"/>
                      <a:pt x="7391" y="-461"/>
                    </a:cubicBezTo>
                    <a:cubicBezTo>
                      <a:pt x="11908" y="-629"/>
                      <a:pt x="15699" y="2940"/>
                      <a:pt x="15866" y="7456"/>
                    </a:cubicBezTo>
                    <a:cubicBezTo>
                      <a:pt x="15866" y="7568"/>
                      <a:pt x="15866" y="7624"/>
                      <a:pt x="15866" y="7734"/>
                    </a:cubicBezTo>
                    <a:lnTo>
                      <a:pt x="23504" y="400518"/>
                    </a:lnTo>
                    <a:cubicBezTo>
                      <a:pt x="23616" y="405089"/>
                      <a:pt x="19992" y="408936"/>
                      <a:pt x="15420" y="409048"/>
                    </a:cubicBezTo>
                    <a:cubicBezTo>
                      <a:pt x="15364" y="409048"/>
                      <a:pt x="15364" y="409048"/>
                      <a:pt x="15309" y="409048"/>
                    </a:cubicBezTo>
                    <a:close/>
                  </a:path>
                </a:pathLst>
              </a:custGeom>
              <a:solidFill>
                <a:srgbClr val="30373B"/>
              </a:solidFill>
              <a:ln w="5573" cap="flat">
                <a:noFill/>
                <a:prstDash val="solid"/>
                <a:miter/>
              </a:ln>
            </p:spPr>
            <p:txBody>
              <a:bodyPr rtlCol="0" anchor="ctr"/>
              <a:lstStyle/>
              <a:p>
                <a:endParaRPr lang="en-GB"/>
              </a:p>
            </p:txBody>
          </p:sp>
          <p:sp>
            <p:nvSpPr>
              <p:cNvPr id="117" name="Graphic 6">
                <a:extLst>
                  <a:ext uri="{FF2B5EF4-FFF2-40B4-BE49-F238E27FC236}">
                    <a16:creationId xmlns:a16="http://schemas.microsoft.com/office/drawing/2014/main" id="{15FD71FF-E047-7449-0456-6F342A379FAA}"/>
                  </a:ext>
                </a:extLst>
              </p:cNvPr>
              <p:cNvSpPr/>
              <p:nvPr/>
            </p:nvSpPr>
            <p:spPr>
              <a:xfrm>
                <a:off x="7035611" y="2582920"/>
                <a:ext cx="46500" cy="522068"/>
              </a:xfrm>
              <a:custGeom>
                <a:avLst/>
                <a:gdLst>
                  <a:gd name="connsiteX0" fmla="*/ 7572 w 46500"/>
                  <a:gd name="connsiteY0" fmla="*/ 521601 h 522068"/>
                  <a:gd name="connsiteX1" fmla="*/ 7015 w 46500"/>
                  <a:gd name="connsiteY1" fmla="*/ 521601 h 522068"/>
                  <a:gd name="connsiteX2" fmla="*/ -791 w 46500"/>
                  <a:gd name="connsiteY2" fmla="*/ 512680 h 522068"/>
                  <a:gd name="connsiteX3" fmla="*/ 28870 w 46500"/>
                  <a:gd name="connsiteY3" fmla="*/ 83379 h 522068"/>
                  <a:gd name="connsiteX4" fmla="*/ 23685 w 46500"/>
                  <a:gd name="connsiteY4" fmla="*/ 8502 h 522068"/>
                  <a:gd name="connsiteX5" fmla="*/ 31490 w 46500"/>
                  <a:gd name="connsiteY5" fmla="*/ -446 h 522068"/>
                  <a:gd name="connsiteX6" fmla="*/ 40411 w 46500"/>
                  <a:gd name="connsiteY6" fmla="*/ 7332 h 522068"/>
                  <a:gd name="connsiteX7" fmla="*/ 45652 w 46500"/>
                  <a:gd name="connsiteY7" fmla="*/ 82766 h 522068"/>
                  <a:gd name="connsiteX8" fmla="*/ 45652 w 46500"/>
                  <a:gd name="connsiteY8" fmla="*/ 83937 h 522068"/>
                  <a:gd name="connsiteX9" fmla="*/ 16047 w 46500"/>
                  <a:gd name="connsiteY9" fmla="*/ 513851 h 522068"/>
                  <a:gd name="connsiteX10" fmla="*/ 7572 w 46500"/>
                  <a:gd name="connsiteY10" fmla="*/ 521601 h 5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00" h="522068">
                    <a:moveTo>
                      <a:pt x="7572" y="521601"/>
                    </a:moveTo>
                    <a:lnTo>
                      <a:pt x="7015" y="521601"/>
                    </a:lnTo>
                    <a:cubicBezTo>
                      <a:pt x="2387" y="521272"/>
                      <a:pt x="-1069" y="517291"/>
                      <a:pt x="-791" y="512680"/>
                    </a:cubicBezTo>
                    <a:lnTo>
                      <a:pt x="28870" y="83379"/>
                    </a:lnTo>
                    <a:lnTo>
                      <a:pt x="23685" y="8502"/>
                    </a:lnTo>
                    <a:cubicBezTo>
                      <a:pt x="23351" y="3886"/>
                      <a:pt x="26863" y="-123"/>
                      <a:pt x="31490" y="-446"/>
                    </a:cubicBezTo>
                    <a:cubicBezTo>
                      <a:pt x="36062" y="-769"/>
                      <a:pt x="40077" y="2715"/>
                      <a:pt x="40411" y="7332"/>
                    </a:cubicBezTo>
                    <a:lnTo>
                      <a:pt x="45652" y="82766"/>
                    </a:lnTo>
                    <a:cubicBezTo>
                      <a:pt x="45707" y="83156"/>
                      <a:pt x="45707" y="83547"/>
                      <a:pt x="45652" y="83937"/>
                    </a:cubicBezTo>
                    <a:lnTo>
                      <a:pt x="16047" y="513851"/>
                    </a:lnTo>
                    <a:cubicBezTo>
                      <a:pt x="15712" y="518273"/>
                      <a:pt x="12033" y="521674"/>
                      <a:pt x="7572" y="521601"/>
                    </a:cubicBezTo>
                    <a:close/>
                  </a:path>
                </a:pathLst>
              </a:custGeom>
              <a:solidFill>
                <a:srgbClr val="30373B"/>
              </a:solidFill>
              <a:ln w="5573" cap="flat">
                <a:noFill/>
                <a:prstDash val="solid"/>
                <a:miter/>
              </a:ln>
            </p:spPr>
            <p:txBody>
              <a:bodyPr rtlCol="0" anchor="ctr"/>
              <a:lstStyle/>
              <a:p>
                <a:endParaRPr lang="en-GB"/>
              </a:p>
            </p:txBody>
          </p:sp>
          <p:sp>
            <p:nvSpPr>
              <p:cNvPr id="118" name="Graphic 6">
                <a:extLst>
                  <a:ext uri="{FF2B5EF4-FFF2-40B4-BE49-F238E27FC236}">
                    <a16:creationId xmlns:a16="http://schemas.microsoft.com/office/drawing/2014/main" id="{0DD9E0FF-AD39-1C7A-40A8-7A8517F62713}"/>
                  </a:ext>
                </a:extLst>
              </p:cNvPr>
              <p:cNvSpPr/>
              <p:nvPr/>
            </p:nvSpPr>
            <p:spPr>
              <a:xfrm>
                <a:off x="6829373" y="2414761"/>
                <a:ext cx="191145" cy="368195"/>
              </a:xfrm>
              <a:custGeom>
                <a:avLst/>
                <a:gdLst>
                  <a:gd name="connsiteX0" fmla="*/ 17893 w 191145"/>
                  <a:gd name="connsiteY0" fmla="*/ 367729 h 368195"/>
                  <a:gd name="connsiteX1" fmla="*/ 9586 w 191145"/>
                  <a:gd name="connsiteY1" fmla="*/ 360481 h 368195"/>
                  <a:gd name="connsiteX2" fmla="*/ -561 w 191145"/>
                  <a:gd name="connsiteY2" fmla="*/ 257337 h 368195"/>
                  <a:gd name="connsiteX3" fmla="*/ 107879 w 191145"/>
                  <a:gd name="connsiteY3" fmla="*/ -467 h 368195"/>
                  <a:gd name="connsiteX4" fmla="*/ 181976 w 191145"/>
                  <a:gd name="connsiteY4" fmla="*/ -467 h 368195"/>
                  <a:gd name="connsiteX5" fmla="*/ 190339 w 191145"/>
                  <a:gd name="connsiteY5" fmla="*/ 7896 h 368195"/>
                  <a:gd name="connsiteX6" fmla="*/ 181976 w 191145"/>
                  <a:gd name="connsiteY6" fmla="*/ 16259 h 368195"/>
                  <a:gd name="connsiteX7" fmla="*/ 109161 w 191145"/>
                  <a:gd name="connsiteY7" fmla="*/ 16259 h 368195"/>
                  <a:gd name="connsiteX8" fmla="*/ 24974 w 191145"/>
                  <a:gd name="connsiteY8" fmla="*/ 138527 h 368195"/>
                  <a:gd name="connsiteX9" fmla="*/ 16221 w 191145"/>
                  <a:gd name="connsiteY9" fmla="*/ 257337 h 368195"/>
                  <a:gd name="connsiteX10" fmla="*/ 16221 w 191145"/>
                  <a:gd name="connsiteY10" fmla="*/ 259177 h 368195"/>
                  <a:gd name="connsiteX11" fmla="*/ 26368 w 191145"/>
                  <a:gd name="connsiteY11" fmla="*/ 358195 h 368195"/>
                  <a:gd name="connsiteX12" fmla="*/ 19231 w 191145"/>
                  <a:gd name="connsiteY12" fmla="*/ 367612 h 368195"/>
                  <a:gd name="connsiteX13" fmla="*/ 19175 w 191145"/>
                  <a:gd name="connsiteY13" fmla="*/ 367617 h 3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145" h="368195">
                    <a:moveTo>
                      <a:pt x="17893" y="367729"/>
                    </a:moveTo>
                    <a:cubicBezTo>
                      <a:pt x="13711" y="367712"/>
                      <a:pt x="10143" y="364623"/>
                      <a:pt x="9586" y="360481"/>
                    </a:cubicBezTo>
                    <a:cubicBezTo>
                      <a:pt x="7579" y="345762"/>
                      <a:pt x="-2178" y="273060"/>
                      <a:pt x="-561" y="257337"/>
                    </a:cubicBezTo>
                    <a:cubicBezTo>
                      <a:pt x="-1174" y="239886"/>
                      <a:pt x="-7419" y="11186"/>
                      <a:pt x="107879" y="-467"/>
                    </a:cubicBezTo>
                    <a:lnTo>
                      <a:pt x="181976" y="-467"/>
                    </a:lnTo>
                    <a:cubicBezTo>
                      <a:pt x="186603" y="-467"/>
                      <a:pt x="190339" y="3280"/>
                      <a:pt x="190339" y="7896"/>
                    </a:cubicBezTo>
                    <a:cubicBezTo>
                      <a:pt x="190339" y="12513"/>
                      <a:pt x="186603" y="16259"/>
                      <a:pt x="181976" y="16259"/>
                    </a:cubicBezTo>
                    <a:lnTo>
                      <a:pt x="109161" y="16259"/>
                    </a:lnTo>
                    <a:cubicBezTo>
                      <a:pt x="57367" y="21835"/>
                      <a:pt x="34786" y="85784"/>
                      <a:pt x="24974" y="138527"/>
                    </a:cubicBezTo>
                    <a:cubicBezTo>
                      <a:pt x="18116" y="177743"/>
                      <a:pt x="15217" y="217540"/>
                      <a:pt x="16221" y="257337"/>
                    </a:cubicBezTo>
                    <a:cubicBezTo>
                      <a:pt x="16277" y="257950"/>
                      <a:pt x="16277" y="258563"/>
                      <a:pt x="16221" y="259177"/>
                    </a:cubicBezTo>
                    <a:cubicBezTo>
                      <a:pt x="14994" y="266146"/>
                      <a:pt x="20402" y="314930"/>
                      <a:pt x="26368" y="358195"/>
                    </a:cubicBezTo>
                    <a:cubicBezTo>
                      <a:pt x="26981" y="362772"/>
                      <a:pt x="23803" y="366987"/>
                      <a:pt x="19231" y="367612"/>
                    </a:cubicBezTo>
                    <a:cubicBezTo>
                      <a:pt x="19175" y="367612"/>
                      <a:pt x="19175" y="367617"/>
                      <a:pt x="19175" y="367617"/>
                    </a:cubicBezTo>
                    <a:close/>
                  </a:path>
                </a:pathLst>
              </a:custGeom>
              <a:solidFill>
                <a:srgbClr val="30373B"/>
              </a:solidFill>
              <a:ln w="5573" cap="flat">
                <a:noFill/>
                <a:prstDash val="solid"/>
                <a:miter/>
              </a:ln>
            </p:spPr>
            <p:txBody>
              <a:bodyPr rtlCol="0" anchor="ctr"/>
              <a:lstStyle/>
              <a:p>
                <a:endParaRPr lang="en-GB"/>
              </a:p>
            </p:txBody>
          </p:sp>
          <p:sp>
            <p:nvSpPr>
              <p:cNvPr id="119" name="Graphic 6">
                <a:extLst>
                  <a:ext uri="{FF2B5EF4-FFF2-40B4-BE49-F238E27FC236}">
                    <a16:creationId xmlns:a16="http://schemas.microsoft.com/office/drawing/2014/main" id="{B0DC7713-DB5D-7AD4-4ED1-9B54C81884D8}"/>
                  </a:ext>
                </a:extLst>
              </p:cNvPr>
              <p:cNvSpPr/>
              <p:nvPr/>
            </p:nvSpPr>
            <p:spPr>
              <a:xfrm>
                <a:off x="6881436" y="2252854"/>
                <a:ext cx="148082" cy="178857"/>
              </a:xfrm>
              <a:custGeom>
                <a:avLst/>
                <a:gdLst>
                  <a:gd name="connsiteX0" fmla="*/ 90383 w 148082"/>
                  <a:gd name="connsiteY0" fmla="*/ 178389 h 178857"/>
                  <a:gd name="connsiteX1" fmla="*/ 9708 w 148082"/>
                  <a:gd name="connsiteY1" fmla="*/ 113604 h 178857"/>
                  <a:gd name="connsiteX2" fmla="*/ 4801 w 148082"/>
                  <a:gd name="connsiteY2" fmla="*/ 40009 h 178857"/>
                  <a:gd name="connsiteX3" fmla="*/ 100920 w 148082"/>
                  <a:gd name="connsiteY3" fmla="*/ 6557 h 178857"/>
                  <a:gd name="connsiteX4" fmla="*/ 143014 w 148082"/>
                  <a:gd name="connsiteY4" fmla="*/ 67161 h 178857"/>
                  <a:gd name="connsiteX5" fmla="*/ 146917 w 148082"/>
                  <a:gd name="connsiteY5" fmla="*/ 110091 h 178857"/>
                  <a:gd name="connsiteX6" fmla="*/ 137829 w 148082"/>
                  <a:gd name="connsiteY6" fmla="*/ 117757 h 178857"/>
                  <a:gd name="connsiteX7" fmla="*/ 130191 w 148082"/>
                  <a:gd name="connsiteY7" fmla="*/ 108697 h 178857"/>
                  <a:gd name="connsiteX8" fmla="*/ 126734 w 148082"/>
                  <a:gd name="connsiteY8" fmla="*/ 71287 h 178857"/>
                  <a:gd name="connsiteX9" fmla="*/ 93282 w 148082"/>
                  <a:gd name="connsiteY9" fmla="*/ 21109 h 178857"/>
                  <a:gd name="connsiteX10" fmla="*/ 20357 w 148082"/>
                  <a:gd name="connsiteY10" fmla="*/ 46588 h 178857"/>
                  <a:gd name="connsiteX11" fmla="*/ 25207 w 148082"/>
                  <a:gd name="connsiteY11" fmla="*/ 106746 h 178857"/>
                  <a:gd name="connsiteX12" fmla="*/ 100976 w 148082"/>
                  <a:gd name="connsiteY12" fmla="*/ 159935 h 178857"/>
                  <a:gd name="connsiteX13" fmla="*/ 111625 w 148082"/>
                  <a:gd name="connsiteY13" fmla="*/ 165036 h 178857"/>
                  <a:gd name="connsiteX14" fmla="*/ 106551 w 148082"/>
                  <a:gd name="connsiteY14" fmla="*/ 175713 h 178857"/>
                  <a:gd name="connsiteX15" fmla="*/ 90383 w 148082"/>
                  <a:gd name="connsiteY15" fmla="*/ 178389 h 17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082" h="178857">
                    <a:moveTo>
                      <a:pt x="90383" y="178389"/>
                    </a:moveTo>
                    <a:cubicBezTo>
                      <a:pt x="58269" y="178389"/>
                      <a:pt x="25151" y="147781"/>
                      <a:pt x="9708" y="113604"/>
                    </a:cubicBezTo>
                    <a:cubicBezTo>
                      <a:pt x="-2335" y="86954"/>
                      <a:pt x="-4119" y="60805"/>
                      <a:pt x="4801" y="40009"/>
                    </a:cubicBezTo>
                    <a:cubicBezTo>
                      <a:pt x="22308" y="4455"/>
                      <a:pt x="65127" y="-10442"/>
                      <a:pt x="100920" y="6557"/>
                    </a:cubicBezTo>
                    <a:cubicBezTo>
                      <a:pt x="120880" y="17262"/>
                      <a:pt x="135822" y="38783"/>
                      <a:pt x="143014" y="67161"/>
                    </a:cubicBezTo>
                    <a:cubicBezTo>
                      <a:pt x="146694" y="81155"/>
                      <a:pt x="147976" y="95662"/>
                      <a:pt x="146917" y="110091"/>
                    </a:cubicBezTo>
                    <a:cubicBezTo>
                      <a:pt x="146527" y="114708"/>
                      <a:pt x="142457" y="118142"/>
                      <a:pt x="137829" y="117757"/>
                    </a:cubicBezTo>
                    <a:cubicBezTo>
                      <a:pt x="133257" y="117373"/>
                      <a:pt x="129801" y="113314"/>
                      <a:pt x="130191" y="108697"/>
                    </a:cubicBezTo>
                    <a:cubicBezTo>
                      <a:pt x="131083" y="96119"/>
                      <a:pt x="129968" y="83480"/>
                      <a:pt x="126734" y="71287"/>
                    </a:cubicBezTo>
                    <a:cubicBezTo>
                      <a:pt x="120713" y="47480"/>
                      <a:pt x="108726" y="29751"/>
                      <a:pt x="93282" y="21109"/>
                    </a:cubicBezTo>
                    <a:cubicBezTo>
                      <a:pt x="66074" y="8659"/>
                      <a:pt x="33905" y="19905"/>
                      <a:pt x="20357" y="46588"/>
                    </a:cubicBezTo>
                    <a:cubicBezTo>
                      <a:pt x="13387" y="63035"/>
                      <a:pt x="15060" y="84389"/>
                      <a:pt x="25207" y="106746"/>
                    </a:cubicBezTo>
                    <a:cubicBezTo>
                      <a:pt x="45501" y="151628"/>
                      <a:pt x="82299" y="166514"/>
                      <a:pt x="100976" y="159935"/>
                    </a:cubicBezTo>
                    <a:cubicBezTo>
                      <a:pt x="105325" y="158396"/>
                      <a:pt x="110119" y="160682"/>
                      <a:pt x="111625" y="165036"/>
                    </a:cubicBezTo>
                    <a:cubicBezTo>
                      <a:pt x="113186" y="169396"/>
                      <a:pt x="110900" y="174174"/>
                      <a:pt x="106551" y="175713"/>
                    </a:cubicBezTo>
                    <a:cubicBezTo>
                      <a:pt x="101366" y="177525"/>
                      <a:pt x="95903" y="178434"/>
                      <a:pt x="90383" y="178389"/>
                    </a:cubicBezTo>
                    <a:close/>
                  </a:path>
                </a:pathLst>
              </a:custGeom>
              <a:solidFill>
                <a:srgbClr val="30373B"/>
              </a:solidFill>
              <a:ln w="5573" cap="flat">
                <a:noFill/>
                <a:prstDash val="solid"/>
                <a:miter/>
              </a:ln>
            </p:spPr>
            <p:txBody>
              <a:bodyPr rtlCol="0" anchor="ctr"/>
              <a:lstStyle/>
              <a:p>
                <a:endParaRPr lang="en-GB"/>
              </a:p>
            </p:txBody>
          </p:sp>
          <p:sp>
            <p:nvSpPr>
              <p:cNvPr id="120" name="Graphic 6">
                <a:extLst>
                  <a:ext uri="{FF2B5EF4-FFF2-40B4-BE49-F238E27FC236}">
                    <a16:creationId xmlns:a16="http://schemas.microsoft.com/office/drawing/2014/main" id="{2D30F67A-F440-AE2A-92CC-93555AD84E15}"/>
                  </a:ext>
                </a:extLst>
              </p:cNvPr>
              <p:cNvSpPr/>
              <p:nvPr/>
            </p:nvSpPr>
            <p:spPr>
              <a:xfrm>
                <a:off x="6885929" y="2591630"/>
                <a:ext cx="46799" cy="517483"/>
              </a:xfrm>
              <a:custGeom>
                <a:avLst/>
                <a:gdLst>
                  <a:gd name="connsiteX0" fmla="*/ 37496 w 46799"/>
                  <a:gd name="connsiteY0" fmla="*/ 517016 h 517483"/>
                  <a:gd name="connsiteX1" fmla="*/ 29133 w 46799"/>
                  <a:gd name="connsiteY1" fmla="*/ 509211 h 517483"/>
                  <a:gd name="connsiteX2" fmla="*/ -807 w 46799"/>
                  <a:gd name="connsiteY2" fmla="*/ 74836 h 517483"/>
                  <a:gd name="connsiteX3" fmla="*/ -807 w 46799"/>
                  <a:gd name="connsiteY3" fmla="*/ 73889 h 517483"/>
                  <a:gd name="connsiteX4" fmla="*/ 2148 w 46799"/>
                  <a:gd name="connsiteY4" fmla="*/ 7542 h 517483"/>
                  <a:gd name="connsiteX5" fmla="*/ 10846 w 46799"/>
                  <a:gd name="connsiteY5" fmla="*/ -459 h 517483"/>
                  <a:gd name="connsiteX6" fmla="*/ 18874 w 46799"/>
                  <a:gd name="connsiteY6" fmla="*/ 8267 h 517483"/>
                  <a:gd name="connsiteX7" fmla="*/ 15975 w 46799"/>
                  <a:gd name="connsiteY7" fmla="*/ 74167 h 517483"/>
                  <a:gd name="connsiteX8" fmla="*/ 45971 w 46799"/>
                  <a:gd name="connsiteY8" fmla="*/ 508040 h 517483"/>
                  <a:gd name="connsiteX9" fmla="*/ 38221 w 46799"/>
                  <a:gd name="connsiteY9" fmla="*/ 516961 h 517483"/>
                  <a:gd name="connsiteX10" fmla="*/ 38165 w 46799"/>
                  <a:gd name="connsiteY10" fmla="*/ 516961 h 51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9" h="517483">
                    <a:moveTo>
                      <a:pt x="37496" y="517016"/>
                    </a:moveTo>
                    <a:cubicBezTo>
                      <a:pt x="33091" y="517000"/>
                      <a:pt x="29468" y="513599"/>
                      <a:pt x="29133" y="509211"/>
                    </a:cubicBezTo>
                    <a:lnTo>
                      <a:pt x="-807" y="74836"/>
                    </a:lnTo>
                    <a:cubicBezTo>
                      <a:pt x="-807" y="74518"/>
                      <a:pt x="-807" y="74206"/>
                      <a:pt x="-807" y="73889"/>
                    </a:cubicBezTo>
                    <a:lnTo>
                      <a:pt x="2148" y="7542"/>
                    </a:lnTo>
                    <a:cubicBezTo>
                      <a:pt x="2371" y="2925"/>
                      <a:pt x="6274" y="-660"/>
                      <a:pt x="10846" y="-459"/>
                    </a:cubicBezTo>
                    <a:cubicBezTo>
                      <a:pt x="15474" y="-258"/>
                      <a:pt x="19097" y="3650"/>
                      <a:pt x="18874" y="8267"/>
                    </a:cubicBezTo>
                    <a:lnTo>
                      <a:pt x="15975" y="74167"/>
                    </a:lnTo>
                    <a:lnTo>
                      <a:pt x="45971" y="508040"/>
                    </a:lnTo>
                    <a:cubicBezTo>
                      <a:pt x="46305" y="512645"/>
                      <a:pt x="42792" y="516643"/>
                      <a:pt x="38221" y="516961"/>
                    </a:cubicBezTo>
                    <a:cubicBezTo>
                      <a:pt x="38165" y="516961"/>
                      <a:pt x="38165" y="516961"/>
                      <a:pt x="38165" y="516961"/>
                    </a:cubicBezTo>
                    <a:close/>
                  </a:path>
                </a:pathLst>
              </a:custGeom>
              <a:solidFill>
                <a:srgbClr val="30373B"/>
              </a:solidFill>
              <a:ln w="5573" cap="flat">
                <a:noFill/>
                <a:prstDash val="solid"/>
                <a:miter/>
              </a:ln>
            </p:spPr>
            <p:txBody>
              <a:bodyPr rtlCol="0" anchor="ctr"/>
              <a:lstStyle/>
              <a:p>
                <a:endParaRPr lang="en-GB"/>
              </a:p>
            </p:txBody>
          </p:sp>
          <p:sp>
            <p:nvSpPr>
              <p:cNvPr id="121" name="Graphic 6">
                <a:extLst>
                  <a:ext uri="{FF2B5EF4-FFF2-40B4-BE49-F238E27FC236}">
                    <a16:creationId xmlns:a16="http://schemas.microsoft.com/office/drawing/2014/main" id="{6B0615C6-1DD8-1E01-36D4-7753BE4FE07C}"/>
                  </a:ext>
                </a:extLst>
              </p:cNvPr>
              <p:cNvSpPr/>
              <p:nvPr/>
            </p:nvSpPr>
            <p:spPr>
              <a:xfrm>
                <a:off x="6853176" y="2399739"/>
                <a:ext cx="234981" cy="190421"/>
              </a:xfrm>
              <a:custGeom>
                <a:avLst/>
                <a:gdLst>
                  <a:gd name="connsiteX0" fmla="*/ 125501 w 234981"/>
                  <a:gd name="connsiteY0" fmla="*/ 189955 h 190421"/>
                  <a:gd name="connsiteX1" fmla="*/ 101638 w 234981"/>
                  <a:gd name="connsiteY1" fmla="*/ 185774 h 190421"/>
                  <a:gd name="connsiteX2" fmla="*/ -669 w 234981"/>
                  <a:gd name="connsiteY2" fmla="*/ 9537 h 190421"/>
                  <a:gd name="connsiteX3" fmla="*/ 6188 w 234981"/>
                  <a:gd name="connsiteY3" fmla="*/ -331 h 190421"/>
                  <a:gd name="connsiteX4" fmla="*/ 16057 w 234981"/>
                  <a:gd name="connsiteY4" fmla="*/ 6526 h 190421"/>
                  <a:gd name="connsiteX5" fmla="*/ 107548 w 234981"/>
                  <a:gd name="connsiteY5" fmla="*/ 170051 h 190421"/>
                  <a:gd name="connsiteX6" fmla="*/ 184878 w 234981"/>
                  <a:gd name="connsiteY6" fmla="*/ 146356 h 190421"/>
                  <a:gd name="connsiteX7" fmla="*/ 214204 w 234981"/>
                  <a:gd name="connsiteY7" fmla="*/ 70085 h 190421"/>
                  <a:gd name="connsiteX8" fmla="*/ 158451 w 234981"/>
                  <a:gd name="connsiteY8" fmla="*/ 31337 h 190421"/>
                  <a:gd name="connsiteX9" fmla="*/ 150088 w 234981"/>
                  <a:gd name="connsiteY9" fmla="*/ 22974 h 190421"/>
                  <a:gd name="connsiteX10" fmla="*/ 158451 w 234981"/>
                  <a:gd name="connsiteY10" fmla="*/ 14611 h 190421"/>
                  <a:gd name="connsiteX11" fmla="*/ 229871 w 234981"/>
                  <a:gd name="connsiteY11" fmla="*/ 64343 h 190421"/>
                  <a:gd name="connsiteX12" fmla="*/ 195694 w 234981"/>
                  <a:gd name="connsiteY12" fmla="*/ 159124 h 190421"/>
                  <a:gd name="connsiteX13" fmla="*/ 125501 w 234981"/>
                  <a:gd name="connsiteY13" fmla="*/ 189955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981" h="190421">
                    <a:moveTo>
                      <a:pt x="125501" y="189955"/>
                    </a:moveTo>
                    <a:cubicBezTo>
                      <a:pt x="117360" y="189950"/>
                      <a:pt x="109276" y="188539"/>
                      <a:pt x="101638" y="185774"/>
                    </a:cubicBezTo>
                    <a:cubicBezTo>
                      <a:pt x="27932" y="159458"/>
                      <a:pt x="501" y="15670"/>
                      <a:pt x="-669" y="9537"/>
                    </a:cubicBezTo>
                    <a:cubicBezTo>
                      <a:pt x="-1506" y="4921"/>
                      <a:pt x="1561" y="499"/>
                      <a:pt x="6188" y="-331"/>
                    </a:cubicBezTo>
                    <a:cubicBezTo>
                      <a:pt x="10816" y="-1162"/>
                      <a:pt x="15220" y="1910"/>
                      <a:pt x="16057" y="6526"/>
                    </a:cubicBezTo>
                    <a:cubicBezTo>
                      <a:pt x="16057" y="7920"/>
                      <a:pt x="42874" y="146969"/>
                      <a:pt x="107548" y="170051"/>
                    </a:cubicBezTo>
                    <a:cubicBezTo>
                      <a:pt x="130519" y="178247"/>
                      <a:pt x="156555" y="170051"/>
                      <a:pt x="184878" y="146356"/>
                    </a:cubicBezTo>
                    <a:cubicBezTo>
                      <a:pt x="213201" y="122661"/>
                      <a:pt x="223348" y="95119"/>
                      <a:pt x="214204" y="70085"/>
                    </a:cubicBezTo>
                    <a:cubicBezTo>
                      <a:pt x="205339" y="46937"/>
                      <a:pt x="183261" y="31560"/>
                      <a:pt x="158451" y="31337"/>
                    </a:cubicBezTo>
                    <a:cubicBezTo>
                      <a:pt x="153823" y="31337"/>
                      <a:pt x="150088" y="27590"/>
                      <a:pt x="150088" y="22974"/>
                    </a:cubicBezTo>
                    <a:cubicBezTo>
                      <a:pt x="150088" y="18357"/>
                      <a:pt x="153823" y="14611"/>
                      <a:pt x="158451" y="14611"/>
                    </a:cubicBezTo>
                    <a:cubicBezTo>
                      <a:pt x="190230" y="14917"/>
                      <a:pt x="218553" y="34648"/>
                      <a:pt x="229871" y="64343"/>
                    </a:cubicBezTo>
                    <a:cubicBezTo>
                      <a:pt x="241579" y="96345"/>
                      <a:pt x="229146" y="130912"/>
                      <a:pt x="195694" y="159124"/>
                    </a:cubicBezTo>
                    <a:cubicBezTo>
                      <a:pt x="171163" y="179641"/>
                      <a:pt x="147746" y="189916"/>
                      <a:pt x="125501" y="189955"/>
                    </a:cubicBezTo>
                    <a:close/>
                  </a:path>
                </a:pathLst>
              </a:custGeom>
              <a:solidFill>
                <a:srgbClr val="30373B"/>
              </a:solidFill>
              <a:ln w="5573" cap="flat">
                <a:noFill/>
                <a:prstDash val="solid"/>
                <a:miter/>
              </a:ln>
            </p:spPr>
            <p:txBody>
              <a:bodyPr rtlCol="0" anchor="ctr"/>
              <a:lstStyle/>
              <a:p>
                <a:endParaRPr lang="en-GB"/>
              </a:p>
            </p:txBody>
          </p:sp>
          <p:sp>
            <p:nvSpPr>
              <p:cNvPr id="122" name="Graphic 6">
                <a:extLst>
                  <a:ext uri="{FF2B5EF4-FFF2-40B4-BE49-F238E27FC236}">
                    <a16:creationId xmlns:a16="http://schemas.microsoft.com/office/drawing/2014/main" id="{19952567-3B83-D4AF-A6C9-B0095D1558FB}"/>
                  </a:ext>
                </a:extLst>
              </p:cNvPr>
              <p:cNvSpPr/>
              <p:nvPr/>
            </p:nvSpPr>
            <p:spPr>
              <a:xfrm>
                <a:off x="6623478" y="2339574"/>
                <a:ext cx="200197" cy="43295"/>
              </a:xfrm>
              <a:custGeom>
                <a:avLst/>
                <a:gdLst>
                  <a:gd name="connsiteX0" fmla="*/ 190392 w 200197"/>
                  <a:gd name="connsiteY0" fmla="*/ 42829 h 43295"/>
                  <a:gd name="connsiteX1" fmla="*/ 189221 w 200197"/>
                  <a:gd name="connsiteY1" fmla="*/ 42829 h 43295"/>
                  <a:gd name="connsiteX2" fmla="*/ 6461 w 200197"/>
                  <a:gd name="connsiteY2" fmla="*/ 16346 h 43295"/>
                  <a:gd name="connsiteX3" fmla="*/ -731 w 200197"/>
                  <a:gd name="connsiteY3" fmla="*/ 6784 h 43295"/>
                  <a:gd name="connsiteX4" fmla="*/ 8859 w 200197"/>
                  <a:gd name="connsiteY4" fmla="*/ -380 h 43295"/>
                  <a:gd name="connsiteX5" fmla="*/ 191618 w 200197"/>
                  <a:gd name="connsiteY5" fmla="*/ 26047 h 43295"/>
                  <a:gd name="connsiteX6" fmla="*/ 199368 w 200197"/>
                  <a:gd name="connsiteY6" fmla="*/ 35023 h 43295"/>
                  <a:gd name="connsiteX7" fmla="*/ 190392 w 200197"/>
                  <a:gd name="connsiteY7" fmla="*/ 42773 h 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197" h="43295">
                    <a:moveTo>
                      <a:pt x="190392" y="42829"/>
                    </a:moveTo>
                    <a:lnTo>
                      <a:pt x="189221" y="42829"/>
                    </a:lnTo>
                    <a:lnTo>
                      <a:pt x="6461" y="16346"/>
                    </a:lnTo>
                    <a:cubicBezTo>
                      <a:pt x="1834" y="15683"/>
                      <a:pt x="-1344" y="11401"/>
                      <a:pt x="-731" y="6784"/>
                    </a:cubicBezTo>
                    <a:cubicBezTo>
                      <a:pt x="-62" y="2168"/>
                      <a:pt x="4231" y="-1043"/>
                      <a:pt x="8859" y="-380"/>
                    </a:cubicBezTo>
                    <a:lnTo>
                      <a:pt x="191618" y="26047"/>
                    </a:lnTo>
                    <a:cubicBezTo>
                      <a:pt x="196246" y="26387"/>
                      <a:pt x="199703" y="30407"/>
                      <a:pt x="199368" y="35023"/>
                    </a:cubicBezTo>
                    <a:cubicBezTo>
                      <a:pt x="199034" y="39640"/>
                      <a:pt x="195020" y="43113"/>
                      <a:pt x="190392" y="42773"/>
                    </a:cubicBezTo>
                    <a:close/>
                  </a:path>
                </a:pathLst>
              </a:custGeom>
              <a:solidFill>
                <a:srgbClr val="30373B"/>
              </a:solidFill>
              <a:ln w="5573" cap="flat">
                <a:noFill/>
                <a:prstDash val="solid"/>
                <a:miter/>
              </a:ln>
            </p:spPr>
            <p:txBody>
              <a:bodyPr rtlCol="0" anchor="ctr"/>
              <a:lstStyle/>
              <a:p>
                <a:endParaRPr lang="en-GB"/>
              </a:p>
            </p:txBody>
          </p:sp>
          <p:sp>
            <p:nvSpPr>
              <p:cNvPr id="123" name="Graphic 6">
                <a:extLst>
                  <a:ext uri="{FF2B5EF4-FFF2-40B4-BE49-F238E27FC236}">
                    <a16:creationId xmlns:a16="http://schemas.microsoft.com/office/drawing/2014/main" id="{6E34AF7F-0C88-1009-1455-927DCB21F83F}"/>
                  </a:ext>
                </a:extLst>
              </p:cNvPr>
              <p:cNvSpPr/>
              <p:nvPr/>
            </p:nvSpPr>
            <p:spPr>
              <a:xfrm>
                <a:off x="6557182" y="2409840"/>
                <a:ext cx="247848" cy="150659"/>
              </a:xfrm>
              <a:custGeom>
                <a:avLst/>
                <a:gdLst>
                  <a:gd name="connsiteX0" fmla="*/ 7582 w 247848"/>
                  <a:gd name="connsiteY0" fmla="*/ 150193 h 150659"/>
                  <a:gd name="connsiteX1" fmla="*/ 333 w 247848"/>
                  <a:gd name="connsiteY1" fmla="*/ 146067 h 150659"/>
                  <a:gd name="connsiteX2" fmla="*/ 3344 w 247848"/>
                  <a:gd name="connsiteY2" fmla="*/ 134638 h 150659"/>
                  <a:gd name="connsiteX3" fmla="*/ 234219 w 247848"/>
                  <a:gd name="connsiteY3" fmla="*/ 829 h 150659"/>
                  <a:gd name="connsiteX4" fmla="*/ 245760 w 247848"/>
                  <a:gd name="connsiteY4" fmla="*/ 3428 h 150659"/>
                  <a:gd name="connsiteX5" fmla="*/ 243140 w 247848"/>
                  <a:gd name="connsiteY5" fmla="*/ 14963 h 150659"/>
                  <a:gd name="connsiteX6" fmla="*/ 242638 w 247848"/>
                  <a:gd name="connsiteY6" fmla="*/ 15270 h 150659"/>
                  <a:gd name="connsiteX7" fmla="*/ 11763 w 247848"/>
                  <a:gd name="connsiteY7" fmla="*/ 149078 h 150659"/>
                  <a:gd name="connsiteX8" fmla="*/ 7582 w 247848"/>
                  <a:gd name="connsiteY8" fmla="*/ 150193 h 15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848" h="150659">
                    <a:moveTo>
                      <a:pt x="7582" y="150193"/>
                    </a:moveTo>
                    <a:cubicBezTo>
                      <a:pt x="4627" y="150193"/>
                      <a:pt x="1839" y="148626"/>
                      <a:pt x="333" y="146067"/>
                    </a:cubicBezTo>
                    <a:cubicBezTo>
                      <a:pt x="-2008" y="142081"/>
                      <a:pt x="-615" y="136962"/>
                      <a:pt x="3344" y="134638"/>
                    </a:cubicBezTo>
                    <a:lnTo>
                      <a:pt x="234219" y="829"/>
                    </a:lnTo>
                    <a:cubicBezTo>
                      <a:pt x="238122" y="-1640"/>
                      <a:pt x="243307" y="-475"/>
                      <a:pt x="245760" y="3428"/>
                    </a:cubicBezTo>
                    <a:cubicBezTo>
                      <a:pt x="248213" y="7330"/>
                      <a:pt x="247042" y="12493"/>
                      <a:pt x="243140" y="14963"/>
                    </a:cubicBezTo>
                    <a:cubicBezTo>
                      <a:pt x="242972" y="15074"/>
                      <a:pt x="242805" y="15175"/>
                      <a:pt x="242638" y="15270"/>
                    </a:cubicBezTo>
                    <a:lnTo>
                      <a:pt x="11763" y="149078"/>
                    </a:lnTo>
                    <a:cubicBezTo>
                      <a:pt x="10480" y="149814"/>
                      <a:pt x="9031" y="150198"/>
                      <a:pt x="7582" y="150193"/>
                    </a:cubicBezTo>
                    <a:close/>
                  </a:path>
                </a:pathLst>
              </a:custGeom>
              <a:solidFill>
                <a:srgbClr val="30373B"/>
              </a:solidFill>
              <a:ln w="5573" cap="flat">
                <a:noFill/>
                <a:prstDash val="solid"/>
                <a:miter/>
              </a:ln>
            </p:spPr>
            <p:txBody>
              <a:bodyPr rtlCol="0" anchor="ctr"/>
              <a:lstStyle/>
              <a:p>
                <a:endParaRPr lang="en-GB"/>
              </a:p>
            </p:txBody>
          </p:sp>
          <p:sp>
            <p:nvSpPr>
              <p:cNvPr id="124" name="Graphic 6">
                <a:extLst>
                  <a:ext uri="{FF2B5EF4-FFF2-40B4-BE49-F238E27FC236}">
                    <a16:creationId xmlns:a16="http://schemas.microsoft.com/office/drawing/2014/main" id="{D13488E9-81DA-20E4-AE14-D6A80071DE60}"/>
                  </a:ext>
                </a:extLst>
              </p:cNvPr>
              <p:cNvSpPr/>
              <p:nvPr/>
            </p:nvSpPr>
            <p:spPr>
              <a:xfrm>
                <a:off x="6684900" y="2446293"/>
                <a:ext cx="157626" cy="250969"/>
              </a:xfrm>
              <a:custGeom>
                <a:avLst/>
                <a:gdLst>
                  <a:gd name="connsiteX0" fmla="*/ 7538 w 157626"/>
                  <a:gd name="connsiteY0" fmla="*/ 250503 h 250969"/>
                  <a:gd name="connsiteX1" fmla="*/ 3246 w 157626"/>
                  <a:gd name="connsiteY1" fmla="*/ 249276 h 250969"/>
                  <a:gd name="connsiteX2" fmla="*/ 402 w 157626"/>
                  <a:gd name="connsiteY2" fmla="*/ 237797 h 250969"/>
                  <a:gd name="connsiteX3" fmla="*/ 402 w 157626"/>
                  <a:gd name="connsiteY3" fmla="*/ 237791 h 250969"/>
                  <a:gd name="connsiteX4" fmla="*/ 141514 w 157626"/>
                  <a:gd name="connsiteY4" fmla="*/ 3237 h 250969"/>
                  <a:gd name="connsiteX5" fmla="*/ 153111 w 157626"/>
                  <a:gd name="connsiteY5" fmla="*/ 951 h 250969"/>
                  <a:gd name="connsiteX6" fmla="*/ 155843 w 157626"/>
                  <a:gd name="connsiteY6" fmla="*/ 11823 h 250969"/>
                  <a:gd name="connsiteX7" fmla="*/ 14731 w 157626"/>
                  <a:gd name="connsiteY7" fmla="*/ 246433 h 250969"/>
                  <a:gd name="connsiteX8" fmla="*/ 7538 w 157626"/>
                  <a:gd name="connsiteY8" fmla="*/ 250503 h 25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26" h="250969">
                    <a:moveTo>
                      <a:pt x="7538" y="250503"/>
                    </a:moveTo>
                    <a:cubicBezTo>
                      <a:pt x="6033" y="250503"/>
                      <a:pt x="4528" y="250079"/>
                      <a:pt x="3246" y="249276"/>
                    </a:cubicBezTo>
                    <a:cubicBezTo>
                      <a:pt x="-713" y="246890"/>
                      <a:pt x="-1995" y="241755"/>
                      <a:pt x="402" y="237797"/>
                    </a:cubicBezTo>
                    <a:cubicBezTo>
                      <a:pt x="402" y="237797"/>
                      <a:pt x="402" y="237791"/>
                      <a:pt x="402" y="237791"/>
                    </a:cubicBezTo>
                    <a:lnTo>
                      <a:pt x="141514" y="3237"/>
                    </a:lnTo>
                    <a:cubicBezTo>
                      <a:pt x="144079" y="-599"/>
                      <a:pt x="149264" y="-1619"/>
                      <a:pt x="153111" y="951"/>
                    </a:cubicBezTo>
                    <a:cubicBezTo>
                      <a:pt x="156679" y="3343"/>
                      <a:pt x="157850" y="8037"/>
                      <a:pt x="155843" y="11823"/>
                    </a:cubicBezTo>
                    <a:lnTo>
                      <a:pt x="14731" y="246433"/>
                    </a:lnTo>
                    <a:cubicBezTo>
                      <a:pt x="13225" y="248964"/>
                      <a:pt x="10493" y="250509"/>
                      <a:pt x="7538" y="250503"/>
                    </a:cubicBezTo>
                    <a:close/>
                  </a:path>
                </a:pathLst>
              </a:custGeom>
              <a:solidFill>
                <a:srgbClr val="30373B"/>
              </a:solidFill>
              <a:ln w="5573" cap="flat">
                <a:noFill/>
                <a:prstDash val="solid"/>
                <a:miter/>
              </a:ln>
            </p:spPr>
            <p:txBody>
              <a:bodyPr rtlCol="0" anchor="ctr"/>
              <a:lstStyle/>
              <a:p>
                <a:endParaRPr lang="en-GB"/>
              </a:p>
            </p:txBody>
          </p:sp>
          <p:sp>
            <p:nvSpPr>
              <p:cNvPr id="125" name="Graphic 6">
                <a:extLst>
                  <a:ext uri="{FF2B5EF4-FFF2-40B4-BE49-F238E27FC236}">
                    <a16:creationId xmlns:a16="http://schemas.microsoft.com/office/drawing/2014/main" id="{4B89330D-1F66-95B2-1504-7C222CB44CDC}"/>
                  </a:ext>
                </a:extLst>
              </p:cNvPr>
              <p:cNvSpPr/>
              <p:nvPr/>
            </p:nvSpPr>
            <p:spPr>
              <a:xfrm>
                <a:off x="6975859" y="2697040"/>
                <a:ext cx="16726" cy="407947"/>
              </a:xfrm>
              <a:custGeom>
                <a:avLst/>
                <a:gdLst>
                  <a:gd name="connsiteX0" fmla="*/ 7556 w 16726"/>
                  <a:gd name="connsiteY0" fmla="*/ 407481 h 407947"/>
                  <a:gd name="connsiteX1" fmla="*/ -807 w 16726"/>
                  <a:gd name="connsiteY1" fmla="*/ 399118 h 407947"/>
                  <a:gd name="connsiteX2" fmla="*/ -807 w 16726"/>
                  <a:gd name="connsiteY2" fmla="*/ 7896 h 407947"/>
                  <a:gd name="connsiteX3" fmla="*/ 7556 w 16726"/>
                  <a:gd name="connsiteY3" fmla="*/ -467 h 407947"/>
                  <a:gd name="connsiteX4" fmla="*/ 15919 w 16726"/>
                  <a:gd name="connsiteY4" fmla="*/ 7896 h 407947"/>
                  <a:gd name="connsiteX5" fmla="*/ 15919 w 16726"/>
                  <a:gd name="connsiteY5" fmla="*/ 399118 h 407947"/>
                  <a:gd name="connsiteX6" fmla="*/ 7556 w 16726"/>
                  <a:gd name="connsiteY6" fmla="*/ 407481 h 40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407947">
                    <a:moveTo>
                      <a:pt x="7556" y="407481"/>
                    </a:moveTo>
                    <a:cubicBezTo>
                      <a:pt x="2929" y="407481"/>
                      <a:pt x="-807" y="403734"/>
                      <a:pt x="-807" y="399118"/>
                    </a:cubicBezTo>
                    <a:lnTo>
                      <a:pt x="-807" y="7896"/>
                    </a:lnTo>
                    <a:cubicBezTo>
                      <a:pt x="-807" y="3280"/>
                      <a:pt x="2929" y="-467"/>
                      <a:pt x="7556" y="-467"/>
                    </a:cubicBezTo>
                    <a:cubicBezTo>
                      <a:pt x="12184" y="-467"/>
                      <a:pt x="15919" y="3280"/>
                      <a:pt x="15919" y="7896"/>
                    </a:cubicBezTo>
                    <a:lnTo>
                      <a:pt x="15919" y="399118"/>
                    </a:lnTo>
                    <a:cubicBezTo>
                      <a:pt x="15919" y="403734"/>
                      <a:pt x="12184" y="407481"/>
                      <a:pt x="7556" y="407481"/>
                    </a:cubicBezTo>
                    <a:close/>
                  </a:path>
                </a:pathLst>
              </a:custGeom>
              <a:solidFill>
                <a:srgbClr val="30373B"/>
              </a:solidFill>
              <a:ln w="5573" cap="flat">
                <a:noFill/>
                <a:prstDash val="solid"/>
                <a:miter/>
              </a:ln>
            </p:spPr>
            <p:txBody>
              <a:bodyPr rtlCol="0" anchor="ctr"/>
              <a:lstStyle/>
              <a:p>
                <a:endParaRPr lang="en-GB"/>
              </a:p>
            </p:txBody>
          </p:sp>
          <p:sp>
            <p:nvSpPr>
              <p:cNvPr id="126" name="Graphic 6">
                <a:extLst>
                  <a:ext uri="{FF2B5EF4-FFF2-40B4-BE49-F238E27FC236}">
                    <a16:creationId xmlns:a16="http://schemas.microsoft.com/office/drawing/2014/main" id="{4855A34A-43D3-37B5-AE77-69E47DBEE3F3}"/>
                  </a:ext>
                </a:extLst>
              </p:cNvPr>
              <p:cNvSpPr/>
              <p:nvPr/>
            </p:nvSpPr>
            <p:spPr>
              <a:xfrm>
                <a:off x="8938435" y="4877612"/>
                <a:ext cx="16726" cy="657332"/>
              </a:xfrm>
              <a:custGeom>
                <a:avLst/>
                <a:gdLst>
                  <a:gd name="connsiteX0" fmla="*/ 7556 w 16726"/>
                  <a:gd name="connsiteY0" fmla="*/ 656866 h 657332"/>
                  <a:gd name="connsiteX1" fmla="*/ -807 w 16726"/>
                  <a:gd name="connsiteY1" fmla="*/ 648503 h 657332"/>
                  <a:gd name="connsiteX2" fmla="*/ -807 w 16726"/>
                  <a:gd name="connsiteY2" fmla="*/ 7896 h 657332"/>
                  <a:gd name="connsiteX3" fmla="*/ 7556 w 16726"/>
                  <a:gd name="connsiteY3" fmla="*/ -467 h 657332"/>
                  <a:gd name="connsiteX4" fmla="*/ 15919 w 16726"/>
                  <a:gd name="connsiteY4" fmla="*/ 7896 h 657332"/>
                  <a:gd name="connsiteX5" fmla="*/ 15919 w 16726"/>
                  <a:gd name="connsiteY5" fmla="*/ 648503 h 657332"/>
                  <a:gd name="connsiteX6" fmla="*/ 7556 w 16726"/>
                  <a:gd name="connsiteY6" fmla="*/ 656866 h 6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657332">
                    <a:moveTo>
                      <a:pt x="7556" y="656866"/>
                    </a:moveTo>
                    <a:cubicBezTo>
                      <a:pt x="2928" y="656866"/>
                      <a:pt x="-807" y="653131"/>
                      <a:pt x="-807" y="648503"/>
                    </a:cubicBezTo>
                    <a:lnTo>
                      <a:pt x="-807" y="7896"/>
                    </a:lnTo>
                    <a:cubicBezTo>
                      <a:pt x="-807" y="3280"/>
                      <a:pt x="2928" y="-467"/>
                      <a:pt x="7556" y="-467"/>
                    </a:cubicBezTo>
                    <a:cubicBezTo>
                      <a:pt x="12184" y="-467"/>
                      <a:pt x="15919" y="3280"/>
                      <a:pt x="15919" y="7896"/>
                    </a:cubicBezTo>
                    <a:lnTo>
                      <a:pt x="15919" y="648503"/>
                    </a:lnTo>
                    <a:cubicBezTo>
                      <a:pt x="15919" y="653131"/>
                      <a:pt x="12184" y="656866"/>
                      <a:pt x="7556" y="656866"/>
                    </a:cubicBezTo>
                    <a:close/>
                  </a:path>
                </a:pathLst>
              </a:custGeom>
              <a:solidFill>
                <a:srgbClr val="30373B"/>
              </a:solidFill>
              <a:ln w="5573" cap="flat">
                <a:noFill/>
                <a:prstDash val="solid"/>
                <a:miter/>
              </a:ln>
            </p:spPr>
            <p:txBody>
              <a:bodyPr rtlCol="0" anchor="ctr"/>
              <a:lstStyle/>
              <a:p>
                <a:endParaRPr lang="en-GB"/>
              </a:p>
            </p:txBody>
          </p:sp>
          <p:sp>
            <p:nvSpPr>
              <p:cNvPr id="127" name="Graphic 6">
                <a:extLst>
                  <a:ext uri="{FF2B5EF4-FFF2-40B4-BE49-F238E27FC236}">
                    <a16:creationId xmlns:a16="http://schemas.microsoft.com/office/drawing/2014/main" id="{17F2EC53-A7E5-F083-4E89-F0CCCE844347}"/>
                  </a:ext>
                </a:extLst>
              </p:cNvPr>
              <p:cNvSpPr/>
              <p:nvPr/>
            </p:nvSpPr>
            <p:spPr>
              <a:xfrm>
                <a:off x="7928963" y="5690496"/>
                <a:ext cx="1026197" cy="174564"/>
              </a:xfrm>
              <a:custGeom>
                <a:avLst/>
                <a:gdLst>
                  <a:gd name="connsiteX0" fmla="*/ 911152 w 1026197"/>
                  <a:gd name="connsiteY0" fmla="*/ 174097 h 174564"/>
                  <a:gd name="connsiteX1" fmla="*/ 7556 w 1026197"/>
                  <a:gd name="connsiteY1" fmla="*/ 174097 h 174564"/>
                  <a:gd name="connsiteX2" fmla="*/ -807 w 1026197"/>
                  <a:gd name="connsiteY2" fmla="*/ 165734 h 174564"/>
                  <a:gd name="connsiteX3" fmla="*/ 7556 w 1026197"/>
                  <a:gd name="connsiteY3" fmla="*/ 157371 h 174564"/>
                  <a:gd name="connsiteX4" fmla="*/ 911152 w 1026197"/>
                  <a:gd name="connsiteY4" fmla="*/ 157371 h 174564"/>
                  <a:gd name="connsiteX5" fmla="*/ 1008665 w 1026197"/>
                  <a:gd name="connsiteY5" fmla="*/ 59858 h 174564"/>
                  <a:gd name="connsiteX6" fmla="*/ 1008665 w 1026197"/>
                  <a:gd name="connsiteY6" fmla="*/ 7896 h 174564"/>
                  <a:gd name="connsiteX7" fmla="*/ 1017028 w 1026197"/>
                  <a:gd name="connsiteY7" fmla="*/ -467 h 174564"/>
                  <a:gd name="connsiteX8" fmla="*/ 1025391 w 1026197"/>
                  <a:gd name="connsiteY8" fmla="*/ 7896 h 174564"/>
                  <a:gd name="connsiteX9" fmla="*/ 1025391 w 1026197"/>
                  <a:gd name="connsiteY9" fmla="*/ 60025 h 174564"/>
                  <a:gd name="connsiteX10" fmla="*/ 911152 w 1026197"/>
                  <a:gd name="connsiteY10" fmla="*/ 174097 h 17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6197" h="174564">
                    <a:moveTo>
                      <a:pt x="911152" y="174097"/>
                    </a:moveTo>
                    <a:lnTo>
                      <a:pt x="7556" y="174097"/>
                    </a:lnTo>
                    <a:cubicBezTo>
                      <a:pt x="2929" y="174097"/>
                      <a:pt x="-807" y="170362"/>
                      <a:pt x="-807" y="165734"/>
                    </a:cubicBezTo>
                    <a:cubicBezTo>
                      <a:pt x="-807" y="161106"/>
                      <a:pt x="2929" y="157371"/>
                      <a:pt x="7556" y="157371"/>
                    </a:cubicBezTo>
                    <a:lnTo>
                      <a:pt x="911152" y="157371"/>
                    </a:lnTo>
                    <a:cubicBezTo>
                      <a:pt x="964954" y="157316"/>
                      <a:pt x="1008609" y="113660"/>
                      <a:pt x="1008665" y="59858"/>
                    </a:cubicBezTo>
                    <a:lnTo>
                      <a:pt x="1008665" y="7896"/>
                    </a:lnTo>
                    <a:cubicBezTo>
                      <a:pt x="1008665" y="3269"/>
                      <a:pt x="1012400" y="-467"/>
                      <a:pt x="1017028" y="-467"/>
                    </a:cubicBezTo>
                    <a:cubicBezTo>
                      <a:pt x="1021655" y="-467"/>
                      <a:pt x="1025391" y="3269"/>
                      <a:pt x="1025391" y="7896"/>
                    </a:cubicBezTo>
                    <a:lnTo>
                      <a:pt x="1025391" y="60025"/>
                    </a:lnTo>
                    <a:cubicBezTo>
                      <a:pt x="1025223" y="123027"/>
                      <a:pt x="974153" y="174042"/>
                      <a:pt x="911152" y="174097"/>
                    </a:cubicBezTo>
                    <a:close/>
                  </a:path>
                </a:pathLst>
              </a:custGeom>
              <a:solidFill>
                <a:srgbClr val="30373B"/>
              </a:solidFill>
              <a:ln w="5573" cap="flat">
                <a:noFill/>
                <a:prstDash val="solid"/>
                <a:miter/>
              </a:ln>
            </p:spPr>
            <p:txBody>
              <a:bodyPr rtlCol="0" anchor="ctr"/>
              <a:lstStyle/>
              <a:p>
                <a:endParaRPr lang="en-GB"/>
              </a:p>
            </p:txBody>
          </p:sp>
          <p:sp>
            <p:nvSpPr>
              <p:cNvPr id="128" name="Graphic 6">
                <a:extLst>
                  <a:ext uri="{FF2B5EF4-FFF2-40B4-BE49-F238E27FC236}">
                    <a16:creationId xmlns:a16="http://schemas.microsoft.com/office/drawing/2014/main" id="{5C9CCC71-9426-10BA-D9BF-9F3E9EEB8E51}"/>
                  </a:ext>
                </a:extLst>
              </p:cNvPr>
              <p:cNvSpPr/>
              <p:nvPr/>
            </p:nvSpPr>
            <p:spPr>
              <a:xfrm>
                <a:off x="7431755" y="5848334"/>
                <a:ext cx="330840" cy="16726"/>
              </a:xfrm>
              <a:custGeom>
                <a:avLst/>
                <a:gdLst>
                  <a:gd name="connsiteX0" fmla="*/ 321671 w 330840"/>
                  <a:gd name="connsiteY0" fmla="*/ 16259 h 16726"/>
                  <a:gd name="connsiteX1" fmla="*/ 7556 w 330840"/>
                  <a:gd name="connsiteY1" fmla="*/ 16259 h 16726"/>
                  <a:gd name="connsiteX2" fmla="*/ -807 w 330840"/>
                  <a:gd name="connsiteY2" fmla="*/ 7896 h 16726"/>
                  <a:gd name="connsiteX3" fmla="*/ 7556 w 330840"/>
                  <a:gd name="connsiteY3" fmla="*/ -467 h 16726"/>
                  <a:gd name="connsiteX4" fmla="*/ 321671 w 330840"/>
                  <a:gd name="connsiteY4" fmla="*/ -467 h 16726"/>
                  <a:gd name="connsiteX5" fmla="*/ 330034 w 330840"/>
                  <a:gd name="connsiteY5" fmla="*/ 7896 h 16726"/>
                  <a:gd name="connsiteX6" fmla="*/ 321671 w 33084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840" h="16726">
                    <a:moveTo>
                      <a:pt x="321671" y="16259"/>
                    </a:moveTo>
                    <a:lnTo>
                      <a:pt x="7556" y="16259"/>
                    </a:lnTo>
                    <a:cubicBezTo>
                      <a:pt x="2928" y="16259"/>
                      <a:pt x="-807" y="12523"/>
                      <a:pt x="-807" y="7896"/>
                    </a:cubicBezTo>
                    <a:cubicBezTo>
                      <a:pt x="-807" y="3268"/>
                      <a:pt x="2928" y="-467"/>
                      <a:pt x="7556" y="-467"/>
                    </a:cubicBezTo>
                    <a:lnTo>
                      <a:pt x="321671" y="-467"/>
                    </a:lnTo>
                    <a:cubicBezTo>
                      <a:pt x="326298" y="-467"/>
                      <a:pt x="330034" y="3268"/>
                      <a:pt x="330034" y="7896"/>
                    </a:cubicBezTo>
                    <a:cubicBezTo>
                      <a:pt x="330034" y="12523"/>
                      <a:pt x="326298" y="16259"/>
                      <a:pt x="321671" y="16259"/>
                    </a:cubicBezTo>
                    <a:close/>
                  </a:path>
                </a:pathLst>
              </a:custGeom>
              <a:solidFill>
                <a:srgbClr val="30373B"/>
              </a:solidFill>
              <a:ln w="5573" cap="flat">
                <a:noFill/>
                <a:prstDash val="solid"/>
                <a:miter/>
              </a:ln>
            </p:spPr>
            <p:txBody>
              <a:bodyPr rtlCol="0" anchor="ctr"/>
              <a:lstStyle/>
              <a:p>
                <a:endParaRPr lang="en-GB"/>
              </a:p>
            </p:txBody>
          </p:sp>
          <p:sp>
            <p:nvSpPr>
              <p:cNvPr id="129" name="Graphic 6">
                <a:extLst>
                  <a:ext uri="{FF2B5EF4-FFF2-40B4-BE49-F238E27FC236}">
                    <a16:creationId xmlns:a16="http://schemas.microsoft.com/office/drawing/2014/main" id="{850CDA10-5619-79AB-F602-086A6E0975AD}"/>
                  </a:ext>
                </a:extLst>
              </p:cNvPr>
              <p:cNvSpPr/>
              <p:nvPr/>
            </p:nvSpPr>
            <p:spPr>
              <a:xfrm>
                <a:off x="6403885" y="5848334"/>
                <a:ext cx="880290" cy="16726"/>
              </a:xfrm>
              <a:custGeom>
                <a:avLst/>
                <a:gdLst>
                  <a:gd name="connsiteX0" fmla="*/ 871121 w 880290"/>
                  <a:gd name="connsiteY0" fmla="*/ 16259 h 16726"/>
                  <a:gd name="connsiteX1" fmla="*/ 7556 w 880290"/>
                  <a:gd name="connsiteY1" fmla="*/ 16259 h 16726"/>
                  <a:gd name="connsiteX2" fmla="*/ -807 w 880290"/>
                  <a:gd name="connsiteY2" fmla="*/ 7896 h 16726"/>
                  <a:gd name="connsiteX3" fmla="*/ 7556 w 880290"/>
                  <a:gd name="connsiteY3" fmla="*/ -467 h 16726"/>
                  <a:gd name="connsiteX4" fmla="*/ 871121 w 880290"/>
                  <a:gd name="connsiteY4" fmla="*/ -467 h 16726"/>
                  <a:gd name="connsiteX5" fmla="*/ 879484 w 880290"/>
                  <a:gd name="connsiteY5" fmla="*/ 7896 h 16726"/>
                  <a:gd name="connsiteX6" fmla="*/ 871121 w 88029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290" h="16726">
                    <a:moveTo>
                      <a:pt x="871121" y="16259"/>
                    </a:moveTo>
                    <a:lnTo>
                      <a:pt x="7556" y="16259"/>
                    </a:lnTo>
                    <a:cubicBezTo>
                      <a:pt x="2928" y="16259"/>
                      <a:pt x="-807" y="12523"/>
                      <a:pt x="-807" y="7896"/>
                    </a:cubicBezTo>
                    <a:cubicBezTo>
                      <a:pt x="-807" y="3268"/>
                      <a:pt x="2928" y="-467"/>
                      <a:pt x="7556" y="-467"/>
                    </a:cubicBezTo>
                    <a:lnTo>
                      <a:pt x="871121" y="-467"/>
                    </a:lnTo>
                    <a:cubicBezTo>
                      <a:pt x="875748" y="-467"/>
                      <a:pt x="879484" y="3268"/>
                      <a:pt x="879484" y="7896"/>
                    </a:cubicBezTo>
                    <a:cubicBezTo>
                      <a:pt x="879484" y="12523"/>
                      <a:pt x="875748" y="16259"/>
                      <a:pt x="871121" y="16259"/>
                    </a:cubicBezTo>
                    <a:close/>
                  </a:path>
                </a:pathLst>
              </a:custGeom>
              <a:solidFill>
                <a:srgbClr val="30373B"/>
              </a:solidFill>
              <a:ln w="5573" cap="flat">
                <a:noFill/>
                <a:prstDash val="solid"/>
                <a:miter/>
              </a:ln>
            </p:spPr>
            <p:txBody>
              <a:bodyPr rtlCol="0" anchor="ctr"/>
              <a:lstStyle/>
              <a:p>
                <a:endParaRPr lang="en-GB"/>
              </a:p>
            </p:txBody>
          </p:sp>
          <p:sp>
            <p:nvSpPr>
              <p:cNvPr id="130" name="Graphic 6">
                <a:extLst>
                  <a:ext uri="{FF2B5EF4-FFF2-40B4-BE49-F238E27FC236}">
                    <a16:creationId xmlns:a16="http://schemas.microsoft.com/office/drawing/2014/main" id="{71F4FB02-6C27-0ED6-8DA8-4271F7E8E229}"/>
                  </a:ext>
                </a:extLst>
              </p:cNvPr>
              <p:cNvSpPr/>
              <p:nvPr/>
            </p:nvSpPr>
            <p:spPr>
              <a:xfrm>
                <a:off x="5729158" y="4877612"/>
                <a:ext cx="509809" cy="987448"/>
              </a:xfrm>
              <a:custGeom>
                <a:avLst/>
                <a:gdLst>
                  <a:gd name="connsiteX0" fmla="*/ 500639 w 509809"/>
                  <a:gd name="connsiteY0" fmla="*/ 986982 h 987448"/>
                  <a:gd name="connsiteX1" fmla="*/ 113432 w 509809"/>
                  <a:gd name="connsiteY1" fmla="*/ 986982 h 987448"/>
                  <a:gd name="connsiteX2" fmla="*/ -807 w 509809"/>
                  <a:gd name="connsiteY2" fmla="*/ 872743 h 987448"/>
                  <a:gd name="connsiteX3" fmla="*/ -807 w 509809"/>
                  <a:gd name="connsiteY3" fmla="*/ 7896 h 987448"/>
                  <a:gd name="connsiteX4" fmla="*/ 7556 w 509809"/>
                  <a:gd name="connsiteY4" fmla="*/ -467 h 987448"/>
                  <a:gd name="connsiteX5" fmla="*/ 15919 w 509809"/>
                  <a:gd name="connsiteY5" fmla="*/ 7896 h 987448"/>
                  <a:gd name="connsiteX6" fmla="*/ 15919 w 509809"/>
                  <a:gd name="connsiteY6" fmla="*/ 872743 h 987448"/>
                  <a:gd name="connsiteX7" fmla="*/ 113432 w 509809"/>
                  <a:gd name="connsiteY7" fmla="*/ 970256 h 987448"/>
                  <a:gd name="connsiteX8" fmla="*/ 500639 w 509809"/>
                  <a:gd name="connsiteY8" fmla="*/ 970256 h 987448"/>
                  <a:gd name="connsiteX9" fmla="*/ 509003 w 509809"/>
                  <a:gd name="connsiteY9" fmla="*/ 978619 h 987448"/>
                  <a:gd name="connsiteX10" fmla="*/ 500639 w 509809"/>
                  <a:gd name="connsiteY10" fmla="*/ 986982 h 98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809" h="987448">
                    <a:moveTo>
                      <a:pt x="500639" y="986982"/>
                    </a:moveTo>
                    <a:lnTo>
                      <a:pt x="113432" y="986982"/>
                    </a:lnTo>
                    <a:cubicBezTo>
                      <a:pt x="50364" y="986926"/>
                      <a:pt x="-745" y="935800"/>
                      <a:pt x="-807" y="872743"/>
                    </a:cubicBezTo>
                    <a:lnTo>
                      <a:pt x="-807" y="7896"/>
                    </a:lnTo>
                    <a:cubicBezTo>
                      <a:pt x="-807" y="3280"/>
                      <a:pt x="2940" y="-467"/>
                      <a:pt x="7556" y="-467"/>
                    </a:cubicBezTo>
                    <a:cubicBezTo>
                      <a:pt x="12173" y="-467"/>
                      <a:pt x="15919" y="3280"/>
                      <a:pt x="15919" y="7896"/>
                    </a:cubicBezTo>
                    <a:lnTo>
                      <a:pt x="15919" y="872743"/>
                    </a:lnTo>
                    <a:cubicBezTo>
                      <a:pt x="15981" y="926545"/>
                      <a:pt x="59602" y="970200"/>
                      <a:pt x="113432" y="970256"/>
                    </a:cubicBezTo>
                    <a:lnTo>
                      <a:pt x="500639" y="970256"/>
                    </a:lnTo>
                    <a:cubicBezTo>
                      <a:pt x="505267" y="970256"/>
                      <a:pt x="509003" y="973991"/>
                      <a:pt x="509003" y="978619"/>
                    </a:cubicBezTo>
                    <a:cubicBezTo>
                      <a:pt x="509003" y="983246"/>
                      <a:pt x="505267" y="986982"/>
                      <a:pt x="500639" y="986982"/>
                    </a:cubicBezTo>
                    <a:close/>
                  </a:path>
                </a:pathLst>
              </a:custGeom>
              <a:solidFill>
                <a:srgbClr val="30373B"/>
              </a:solidFill>
              <a:ln w="5573" cap="flat">
                <a:noFill/>
                <a:prstDash val="solid"/>
                <a:miter/>
              </a:ln>
            </p:spPr>
            <p:txBody>
              <a:bodyPr rtlCol="0" anchor="ctr"/>
              <a:lstStyle/>
              <a:p>
                <a:endParaRPr lang="en-GB"/>
              </a:p>
            </p:txBody>
          </p:sp>
          <p:sp>
            <p:nvSpPr>
              <p:cNvPr id="131" name="Graphic 6">
                <a:extLst>
                  <a:ext uri="{FF2B5EF4-FFF2-40B4-BE49-F238E27FC236}">
                    <a16:creationId xmlns:a16="http://schemas.microsoft.com/office/drawing/2014/main" id="{53FC2B8F-212D-171A-E592-A2CCBED2B2C1}"/>
                  </a:ext>
                </a:extLst>
              </p:cNvPr>
              <p:cNvSpPr/>
              <p:nvPr/>
            </p:nvSpPr>
            <p:spPr>
              <a:xfrm>
                <a:off x="5729158" y="2810833"/>
                <a:ext cx="1178961" cy="1849451"/>
              </a:xfrm>
              <a:custGeom>
                <a:avLst/>
                <a:gdLst>
                  <a:gd name="connsiteX0" fmla="*/ 7556 w 1178961"/>
                  <a:gd name="connsiteY0" fmla="*/ 1848985 h 1849451"/>
                  <a:gd name="connsiteX1" fmla="*/ -807 w 1178961"/>
                  <a:gd name="connsiteY1" fmla="*/ 1840622 h 1849451"/>
                  <a:gd name="connsiteX2" fmla="*/ -807 w 1178961"/>
                  <a:gd name="connsiteY2" fmla="*/ 168912 h 1849451"/>
                  <a:gd name="connsiteX3" fmla="*/ 168405 w 1178961"/>
                  <a:gd name="connsiteY3" fmla="*/ -467 h 1849451"/>
                  <a:gd name="connsiteX4" fmla="*/ 1169792 w 1178961"/>
                  <a:gd name="connsiteY4" fmla="*/ -467 h 1849451"/>
                  <a:gd name="connsiteX5" fmla="*/ 1178155 w 1178961"/>
                  <a:gd name="connsiteY5" fmla="*/ 7896 h 1849451"/>
                  <a:gd name="connsiteX6" fmla="*/ 1169792 w 1178961"/>
                  <a:gd name="connsiteY6" fmla="*/ 16259 h 1849451"/>
                  <a:gd name="connsiteX7" fmla="*/ 168405 w 1178961"/>
                  <a:gd name="connsiteY7" fmla="*/ 16259 h 1849451"/>
                  <a:gd name="connsiteX8" fmla="*/ 15752 w 1178961"/>
                  <a:gd name="connsiteY8" fmla="*/ 168856 h 1849451"/>
                  <a:gd name="connsiteX9" fmla="*/ 15752 w 1178961"/>
                  <a:gd name="connsiteY9" fmla="*/ 1840622 h 1849451"/>
                  <a:gd name="connsiteX10" fmla="*/ 7556 w 1178961"/>
                  <a:gd name="connsiteY10" fmla="*/ 1848985 h 184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8961" h="1849451">
                    <a:moveTo>
                      <a:pt x="7556" y="1848985"/>
                    </a:moveTo>
                    <a:cubicBezTo>
                      <a:pt x="2940" y="1848985"/>
                      <a:pt x="-807" y="1845238"/>
                      <a:pt x="-807" y="1840622"/>
                    </a:cubicBezTo>
                    <a:lnTo>
                      <a:pt x="-807" y="168912"/>
                    </a:lnTo>
                    <a:cubicBezTo>
                      <a:pt x="-712" y="75469"/>
                      <a:pt x="74962" y="-283"/>
                      <a:pt x="168405" y="-467"/>
                    </a:cubicBezTo>
                    <a:lnTo>
                      <a:pt x="1169792" y="-467"/>
                    </a:lnTo>
                    <a:cubicBezTo>
                      <a:pt x="1174419" y="-467"/>
                      <a:pt x="1178155" y="3280"/>
                      <a:pt x="1178155" y="7896"/>
                    </a:cubicBezTo>
                    <a:cubicBezTo>
                      <a:pt x="1178155" y="12513"/>
                      <a:pt x="1174419" y="16259"/>
                      <a:pt x="1169792" y="16259"/>
                    </a:cubicBezTo>
                    <a:lnTo>
                      <a:pt x="168405" y="16259"/>
                    </a:lnTo>
                    <a:cubicBezTo>
                      <a:pt x="84156" y="16354"/>
                      <a:pt x="15875" y="84607"/>
                      <a:pt x="15752" y="168856"/>
                    </a:cubicBezTo>
                    <a:lnTo>
                      <a:pt x="15752" y="1840622"/>
                    </a:lnTo>
                    <a:cubicBezTo>
                      <a:pt x="15752" y="1845177"/>
                      <a:pt x="12111" y="1848896"/>
                      <a:pt x="7556" y="1848985"/>
                    </a:cubicBezTo>
                    <a:close/>
                  </a:path>
                </a:pathLst>
              </a:custGeom>
              <a:solidFill>
                <a:srgbClr val="30373B"/>
              </a:solidFill>
              <a:ln w="5573" cap="flat">
                <a:noFill/>
                <a:prstDash val="solid"/>
                <a:miter/>
              </a:ln>
            </p:spPr>
            <p:txBody>
              <a:bodyPr rtlCol="0" anchor="ctr"/>
              <a:lstStyle/>
              <a:p>
                <a:endParaRPr lang="en-GB"/>
              </a:p>
            </p:txBody>
          </p:sp>
          <p:sp>
            <p:nvSpPr>
              <p:cNvPr id="132" name="Graphic 6">
                <a:extLst>
                  <a:ext uri="{FF2B5EF4-FFF2-40B4-BE49-F238E27FC236}">
                    <a16:creationId xmlns:a16="http://schemas.microsoft.com/office/drawing/2014/main" id="{4B43CDB7-D61F-36C8-5DAF-064BB718372B}"/>
                  </a:ext>
                </a:extLst>
              </p:cNvPr>
              <p:cNvSpPr/>
              <p:nvPr/>
            </p:nvSpPr>
            <p:spPr>
              <a:xfrm>
                <a:off x="7060214" y="2810833"/>
                <a:ext cx="237397" cy="16726"/>
              </a:xfrm>
              <a:custGeom>
                <a:avLst/>
                <a:gdLst>
                  <a:gd name="connsiteX0" fmla="*/ 228228 w 237397"/>
                  <a:gd name="connsiteY0" fmla="*/ 16259 h 16726"/>
                  <a:gd name="connsiteX1" fmla="*/ 7556 w 237397"/>
                  <a:gd name="connsiteY1" fmla="*/ 16259 h 16726"/>
                  <a:gd name="connsiteX2" fmla="*/ -807 w 237397"/>
                  <a:gd name="connsiteY2" fmla="*/ 7896 h 16726"/>
                  <a:gd name="connsiteX3" fmla="*/ 7556 w 237397"/>
                  <a:gd name="connsiteY3" fmla="*/ -467 h 16726"/>
                  <a:gd name="connsiteX4" fmla="*/ 228228 w 237397"/>
                  <a:gd name="connsiteY4" fmla="*/ -467 h 16726"/>
                  <a:gd name="connsiteX5" fmla="*/ 236591 w 237397"/>
                  <a:gd name="connsiteY5" fmla="*/ 7896 h 16726"/>
                  <a:gd name="connsiteX6" fmla="*/ 228228 w 237397"/>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397" h="16726">
                    <a:moveTo>
                      <a:pt x="228228" y="16259"/>
                    </a:moveTo>
                    <a:lnTo>
                      <a:pt x="7556" y="16259"/>
                    </a:lnTo>
                    <a:cubicBezTo>
                      <a:pt x="2929" y="16259"/>
                      <a:pt x="-807" y="12513"/>
                      <a:pt x="-807" y="7896"/>
                    </a:cubicBezTo>
                    <a:cubicBezTo>
                      <a:pt x="-807" y="3280"/>
                      <a:pt x="2929" y="-467"/>
                      <a:pt x="7556" y="-467"/>
                    </a:cubicBezTo>
                    <a:lnTo>
                      <a:pt x="228228" y="-467"/>
                    </a:lnTo>
                    <a:cubicBezTo>
                      <a:pt x="232856" y="-467"/>
                      <a:pt x="236591" y="3280"/>
                      <a:pt x="236591" y="7896"/>
                    </a:cubicBezTo>
                    <a:cubicBezTo>
                      <a:pt x="236591" y="12513"/>
                      <a:pt x="232856" y="16259"/>
                      <a:pt x="228228" y="16259"/>
                    </a:cubicBezTo>
                    <a:close/>
                  </a:path>
                </a:pathLst>
              </a:custGeom>
              <a:solidFill>
                <a:srgbClr val="30373B"/>
              </a:solidFill>
              <a:ln w="5573" cap="flat">
                <a:noFill/>
                <a:prstDash val="solid"/>
                <a:miter/>
              </a:ln>
            </p:spPr>
            <p:txBody>
              <a:bodyPr rtlCol="0" anchor="ctr"/>
              <a:lstStyle/>
              <a:p>
                <a:endParaRPr lang="en-GB"/>
              </a:p>
            </p:txBody>
          </p:sp>
          <p:sp>
            <p:nvSpPr>
              <p:cNvPr id="133" name="Graphic 6">
                <a:extLst>
                  <a:ext uri="{FF2B5EF4-FFF2-40B4-BE49-F238E27FC236}">
                    <a16:creationId xmlns:a16="http://schemas.microsoft.com/office/drawing/2014/main" id="{24A65A9D-16F7-CC3A-9DE5-0F3717A3189D}"/>
                  </a:ext>
                </a:extLst>
              </p:cNvPr>
              <p:cNvSpPr/>
              <p:nvPr/>
            </p:nvSpPr>
            <p:spPr>
              <a:xfrm>
                <a:off x="7431755" y="2810833"/>
                <a:ext cx="1523405" cy="1847054"/>
              </a:xfrm>
              <a:custGeom>
                <a:avLst/>
                <a:gdLst>
                  <a:gd name="connsiteX0" fmla="*/ 1514236 w 1523405"/>
                  <a:gd name="connsiteY0" fmla="*/ 1846588 h 1847054"/>
                  <a:gd name="connsiteX1" fmla="*/ 1505873 w 1523405"/>
                  <a:gd name="connsiteY1" fmla="*/ 1838225 h 1847054"/>
                  <a:gd name="connsiteX2" fmla="*/ 1505873 w 1523405"/>
                  <a:gd name="connsiteY2" fmla="*/ 168912 h 1847054"/>
                  <a:gd name="connsiteX3" fmla="*/ 1353220 w 1523405"/>
                  <a:gd name="connsiteY3" fmla="*/ 16259 h 1847054"/>
                  <a:gd name="connsiteX4" fmla="*/ 7556 w 1523405"/>
                  <a:gd name="connsiteY4" fmla="*/ 16259 h 1847054"/>
                  <a:gd name="connsiteX5" fmla="*/ -807 w 1523405"/>
                  <a:gd name="connsiteY5" fmla="*/ 7896 h 1847054"/>
                  <a:gd name="connsiteX6" fmla="*/ 7556 w 1523405"/>
                  <a:gd name="connsiteY6" fmla="*/ -467 h 1847054"/>
                  <a:gd name="connsiteX7" fmla="*/ 1353220 w 1523405"/>
                  <a:gd name="connsiteY7" fmla="*/ -467 h 1847054"/>
                  <a:gd name="connsiteX8" fmla="*/ 1522599 w 1523405"/>
                  <a:gd name="connsiteY8" fmla="*/ 168856 h 1847054"/>
                  <a:gd name="connsiteX9" fmla="*/ 1522599 w 1523405"/>
                  <a:gd name="connsiteY9" fmla="*/ 1838225 h 1847054"/>
                  <a:gd name="connsiteX10" fmla="*/ 1514236 w 1523405"/>
                  <a:gd name="connsiteY10" fmla="*/ 1846588 h 184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3405" h="1847054">
                    <a:moveTo>
                      <a:pt x="1514236" y="1846588"/>
                    </a:moveTo>
                    <a:cubicBezTo>
                      <a:pt x="1509608" y="1846588"/>
                      <a:pt x="1505873" y="1842841"/>
                      <a:pt x="1505873" y="1838225"/>
                    </a:cubicBezTo>
                    <a:lnTo>
                      <a:pt x="1505873" y="168912"/>
                    </a:lnTo>
                    <a:cubicBezTo>
                      <a:pt x="1505762" y="84641"/>
                      <a:pt x="1437464" y="16354"/>
                      <a:pt x="1353220" y="16259"/>
                    </a:cubicBezTo>
                    <a:lnTo>
                      <a:pt x="7556" y="16259"/>
                    </a:lnTo>
                    <a:cubicBezTo>
                      <a:pt x="2928" y="16259"/>
                      <a:pt x="-807" y="12513"/>
                      <a:pt x="-807" y="7896"/>
                    </a:cubicBezTo>
                    <a:cubicBezTo>
                      <a:pt x="-807" y="3280"/>
                      <a:pt x="2928" y="-467"/>
                      <a:pt x="7556" y="-467"/>
                    </a:cubicBezTo>
                    <a:lnTo>
                      <a:pt x="1353220" y="-467"/>
                    </a:lnTo>
                    <a:cubicBezTo>
                      <a:pt x="1446719" y="-372"/>
                      <a:pt x="1522488" y="75369"/>
                      <a:pt x="1522599" y="168856"/>
                    </a:cubicBezTo>
                    <a:lnTo>
                      <a:pt x="1522599" y="1838225"/>
                    </a:lnTo>
                    <a:cubicBezTo>
                      <a:pt x="1522599" y="1842841"/>
                      <a:pt x="1518864" y="1846588"/>
                      <a:pt x="1514236" y="1846588"/>
                    </a:cubicBezTo>
                    <a:close/>
                  </a:path>
                </a:pathLst>
              </a:custGeom>
              <a:solidFill>
                <a:srgbClr val="30373B"/>
              </a:solidFill>
              <a:ln w="5573" cap="flat">
                <a:noFill/>
                <a:prstDash val="solid"/>
                <a:miter/>
              </a:ln>
            </p:spPr>
            <p:txBody>
              <a:bodyPr rtlCol="0" anchor="ctr"/>
              <a:lstStyle/>
              <a:p>
                <a:endParaRPr lang="en-GB"/>
              </a:p>
            </p:txBody>
          </p:sp>
          <p:sp>
            <p:nvSpPr>
              <p:cNvPr id="134" name="Graphic 6">
                <a:extLst>
                  <a:ext uri="{FF2B5EF4-FFF2-40B4-BE49-F238E27FC236}">
                    <a16:creationId xmlns:a16="http://schemas.microsoft.com/office/drawing/2014/main" id="{50ACB1D3-7A71-A8CC-A19A-6DEE811E1A97}"/>
                  </a:ext>
                </a:extLst>
              </p:cNvPr>
              <p:cNvSpPr/>
              <p:nvPr/>
            </p:nvSpPr>
            <p:spPr>
              <a:xfrm>
                <a:off x="8730738" y="4140125"/>
                <a:ext cx="47182" cy="573515"/>
              </a:xfrm>
              <a:custGeom>
                <a:avLst/>
                <a:gdLst>
                  <a:gd name="connsiteX0" fmla="*/ 7572 w 47182"/>
                  <a:gd name="connsiteY0" fmla="*/ 573049 h 573515"/>
                  <a:gd name="connsiteX1" fmla="*/ 6959 w 47182"/>
                  <a:gd name="connsiteY1" fmla="*/ 573049 h 573515"/>
                  <a:gd name="connsiteX2" fmla="*/ -791 w 47182"/>
                  <a:gd name="connsiteY2" fmla="*/ 564128 h 573515"/>
                  <a:gd name="connsiteX3" fmla="*/ 29650 w 47182"/>
                  <a:gd name="connsiteY3" fmla="*/ 123119 h 573515"/>
                  <a:gd name="connsiteX4" fmla="*/ 24577 w 47182"/>
                  <a:gd name="connsiteY4" fmla="*/ 8267 h 573515"/>
                  <a:gd name="connsiteX5" fmla="*/ 32605 w 47182"/>
                  <a:gd name="connsiteY5" fmla="*/ -459 h 573515"/>
                  <a:gd name="connsiteX6" fmla="*/ 41303 w 47182"/>
                  <a:gd name="connsiteY6" fmla="*/ 7542 h 573515"/>
                  <a:gd name="connsiteX7" fmla="*/ 46376 w 47182"/>
                  <a:gd name="connsiteY7" fmla="*/ 122840 h 573515"/>
                  <a:gd name="connsiteX8" fmla="*/ 46376 w 47182"/>
                  <a:gd name="connsiteY8" fmla="*/ 123788 h 573515"/>
                  <a:gd name="connsiteX9" fmla="*/ 15824 w 47182"/>
                  <a:gd name="connsiteY9" fmla="*/ 565243 h 573515"/>
                  <a:gd name="connsiteX10" fmla="*/ 7572 w 47182"/>
                  <a:gd name="connsiteY10" fmla="*/ 573049 h 573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2" h="573515">
                    <a:moveTo>
                      <a:pt x="7572" y="573049"/>
                    </a:moveTo>
                    <a:lnTo>
                      <a:pt x="6959" y="573049"/>
                    </a:lnTo>
                    <a:cubicBezTo>
                      <a:pt x="2387" y="572692"/>
                      <a:pt x="-1070" y="568717"/>
                      <a:pt x="-791" y="564128"/>
                    </a:cubicBezTo>
                    <a:lnTo>
                      <a:pt x="29650" y="123119"/>
                    </a:lnTo>
                    <a:lnTo>
                      <a:pt x="24577" y="8267"/>
                    </a:lnTo>
                    <a:cubicBezTo>
                      <a:pt x="24354" y="3650"/>
                      <a:pt x="27978" y="-258"/>
                      <a:pt x="32605" y="-459"/>
                    </a:cubicBezTo>
                    <a:cubicBezTo>
                      <a:pt x="37177" y="-660"/>
                      <a:pt x="41080" y="2925"/>
                      <a:pt x="41303" y="7542"/>
                    </a:cubicBezTo>
                    <a:lnTo>
                      <a:pt x="46376" y="122840"/>
                    </a:lnTo>
                    <a:lnTo>
                      <a:pt x="46376" y="123788"/>
                    </a:lnTo>
                    <a:lnTo>
                      <a:pt x="15824" y="565243"/>
                    </a:lnTo>
                    <a:cubicBezTo>
                      <a:pt x="15544" y="569603"/>
                      <a:pt x="11921" y="572999"/>
                      <a:pt x="7572" y="573049"/>
                    </a:cubicBezTo>
                    <a:close/>
                  </a:path>
                </a:pathLst>
              </a:custGeom>
              <a:solidFill>
                <a:srgbClr val="30373B"/>
              </a:solidFill>
              <a:ln w="5573" cap="flat">
                <a:noFill/>
                <a:prstDash val="solid"/>
                <a:miter/>
              </a:ln>
            </p:spPr>
            <p:txBody>
              <a:bodyPr rtlCol="0" anchor="ctr"/>
              <a:lstStyle/>
              <a:p>
                <a:endParaRPr lang="en-GB"/>
              </a:p>
            </p:txBody>
          </p:sp>
          <p:sp>
            <p:nvSpPr>
              <p:cNvPr id="135" name="Graphic 6">
                <a:extLst>
                  <a:ext uri="{FF2B5EF4-FFF2-40B4-BE49-F238E27FC236}">
                    <a16:creationId xmlns:a16="http://schemas.microsoft.com/office/drawing/2014/main" id="{70490746-F00E-9B9D-81E5-CF638E30FE9F}"/>
                  </a:ext>
                </a:extLst>
              </p:cNvPr>
              <p:cNvSpPr/>
              <p:nvPr/>
            </p:nvSpPr>
            <p:spPr>
              <a:xfrm>
                <a:off x="8498660" y="4140014"/>
                <a:ext cx="102810" cy="575021"/>
              </a:xfrm>
              <a:custGeom>
                <a:avLst/>
                <a:gdLst>
                  <a:gd name="connsiteX0" fmla="*/ 7548 w 102810"/>
                  <a:gd name="connsiteY0" fmla="*/ 574554 h 575021"/>
                  <a:gd name="connsiteX1" fmla="*/ 5931 w 102810"/>
                  <a:gd name="connsiteY1" fmla="*/ 574554 h 575021"/>
                  <a:gd name="connsiteX2" fmla="*/ -648 w 102810"/>
                  <a:gd name="connsiteY2" fmla="*/ 564741 h 575021"/>
                  <a:gd name="connsiteX3" fmla="*/ 78410 w 102810"/>
                  <a:gd name="connsiteY3" fmla="*/ 163317 h 575021"/>
                  <a:gd name="connsiteX4" fmla="*/ 85268 w 102810"/>
                  <a:gd name="connsiteY4" fmla="*/ 7542 h 575021"/>
                  <a:gd name="connsiteX5" fmla="*/ 93966 w 102810"/>
                  <a:gd name="connsiteY5" fmla="*/ -459 h 575021"/>
                  <a:gd name="connsiteX6" fmla="*/ 101994 w 102810"/>
                  <a:gd name="connsiteY6" fmla="*/ 8266 h 575021"/>
                  <a:gd name="connsiteX7" fmla="*/ 95136 w 102810"/>
                  <a:gd name="connsiteY7" fmla="*/ 164376 h 575021"/>
                  <a:gd name="connsiteX8" fmla="*/ 95136 w 102810"/>
                  <a:gd name="connsiteY8" fmla="*/ 165658 h 575021"/>
                  <a:gd name="connsiteX9" fmla="*/ 15967 w 102810"/>
                  <a:gd name="connsiteY9" fmla="*/ 567417 h 575021"/>
                  <a:gd name="connsiteX10" fmla="*/ 7548 w 102810"/>
                  <a:gd name="connsiteY10" fmla="*/ 574554 h 57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810" h="575021">
                    <a:moveTo>
                      <a:pt x="7548" y="574554"/>
                    </a:moveTo>
                    <a:lnTo>
                      <a:pt x="5931" y="574554"/>
                    </a:lnTo>
                    <a:cubicBezTo>
                      <a:pt x="1415" y="573656"/>
                      <a:pt x="-1540" y="569268"/>
                      <a:pt x="-648" y="564741"/>
                    </a:cubicBezTo>
                    <a:lnTo>
                      <a:pt x="78410" y="163317"/>
                    </a:lnTo>
                    <a:lnTo>
                      <a:pt x="85268" y="7542"/>
                    </a:lnTo>
                    <a:cubicBezTo>
                      <a:pt x="85491" y="2925"/>
                      <a:pt x="89394" y="-660"/>
                      <a:pt x="93966" y="-459"/>
                    </a:cubicBezTo>
                    <a:cubicBezTo>
                      <a:pt x="98593" y="-258"/>
                      <a:pt x="102217" y="3650"/>
                      <a:pt x="101994" y="8266"/>
                    </a:cubicBezTo>
                    <a:lnTo>
                      <a:pt x="95136" y="164376"/>
                    </a:lnTo>
                    <a:cubicBezTo>
                      <a:pt x="95192" y="164800"/>
                      <a:pt x="95192" y="165235"/>
                      <a:pt x="95136" y="165658"/>
                    </a:cubicBezTo>
                    <a:lnTo>
                      <a:pt x="15967" y="567417"/>
                    </a:lnTo>
                    <a:cubicBezTo>
                      <a:pt x="15354" y="571560"/>
                      <a:pt x="11729" y="574604"/>
                      <a:pt x="7548" y="574554"/>
                    </a:cubicBezTo>
                    <a:close/>
                  </a:path>
                </a:pathLst>
              </a:custGeom>
              <a:solidFill>
                <a:srgbClr val="30373B"/>
              </a:solidFill>
              <a:ln w="5573" cap="flat">
                <a:noFill/>
                <a:prstDash val="solid"/>
                <a:miter/>
              </a:ln>
            </p:spPr>
            <p:txBody>
              <a:bodyPr rtlCol="0" anchor="ctr"/>
              <a:lstStyle/>
              <a:p>
                <a:endParaRPr lang="en-GB"/>
              </a:p>
            </p:txBody>
          </p:sp>
          <p:sp>
            <p:nvSpPr>
              <p:cNvPr id="136" name="Graphic 6">
                <a:extLst>
                  <a:ext uri="{FF2B5EF4-FFF2-40B4-BE49-F238E27FC236}">
                    <a16:creationId xmlns:a16="http://schemas.microsoft.com/office/drawing/2014/main" id="{A0D34FDE-724C-8B6C-2DDD-3B4D10BCAABB}"/>
                  </a:ext>
                </a:extLst>
              </p:cNvPr>
              <p:cNvSpPr/>
              <p:nvPr/>
            </p:nvSpPr>
            <p:spPr>
              <a:xfrm>
                <a:off x="8553234" y="4337429"/>
                <a:ext cx="126801" cy="377605"/>
              </a:xfrm>
              <a:custGeom>
                <a:avLst/>
                <a:gdLst>
                  <a:gd name="connsiteX0" fmla="*/ 7612 w 126801"/>
                  <a:gd name="connsiteY0" fmla="*/ 377139 h 377605"/>
                  <a:gd name="connsiteX1" fmla="*/ 5160 w 126801"/>
                  <a:gd name="connsiteY1" fmla="*/ 376748 h 377605"/>
                  <a:gd name="connsiteX2" fmla="*/ -472 w 126801"/>
                  <a:gd name="connsiteY2" fmla="*/ 366423 h 377605"/>
                  <a:gd name="connsiteX3" fmla="*/ -416 w 126801"/>
                  <a:gd name="connsiteY3" fmla="*/ 366322 h 377605"/>
                  <a:gd name="connsiteX4" fmla="*/ 109697 w 126801"/>
                  <a:gd name="connsiteY4" fmla="*/ 5264 h 377605"/>
                  <a:gd name="connsiteX5" fmla="*/ 120290 w 126801"/>
                  <a:gd name="connsiteY5" fmla="*/ -39 h 377605"/>
                  <a:gd name="connsiteX6" fmla="*/ 125698 w 126801"/>
                  <a:gd name="connsiteY6" fmla="*/ 10114 h 377605"/>
                  <a:gd name="connsiteX7" fmla="*/ 15474 w 126801"/>
                  <a:gd name="connsiteY7" fmla="*/ 371229 h 377605"/>
                  <a:gd name="connsiteX8" fmla="*/ 7612 w 126801"/>
                  <a:gd name="connsiteY8" fmla="*/ 377139 h 37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801" h="377605">
                    <a:moveTo>
                      <a:pt x="7612" y="377139"/>
                    </a:moveTo>
                    <a:cubicBezTo>
                      <a:pt x="6777" y="377139"/>
                      <a:pt x="5940" y="377011"/>
                      <a:pt x="5160" y="376748"/>
                    </a:cubicBezTo>
                    <a:cubicBezTo>
                      <a:pt x="755" y="375444"/>
                      <a:pt x="-1754" y="370822"/>
                      <a:pt x="-472" y="366423"/>
                    </a:cubicBezTo>
                    <a:cubicBezTo>
                      <a:pt x="-416" y="366389"/>
                      <a:pt x="-416" y="366356"/>
                      <a:pt x="-416" y="366322"/>
                    </a:cubicBezTo>
                    <a:lnTo>
                      <a:pt x="109697" y="5264"/>
                    </a:lnTo>
                    <a:cubicBezTo>
                      <a:pt x="111147" y="881"/>
                      <a:pt x="115886" y="-1494"/>
                      <a:pt x="120290" y="-39"/>
                    </a:cubicBezTo>
                    <a:cubicBezTo>
                      <a:pt x="124472" y="1366"/>
                      <a:pt x="126869" y="5826"/>
                      <a:pt x="125698" y="10114"/>
                    </a:cubicBezTo>
                    <a:lnTo>
                      <a:pt x="15474" y="371229"/>
                    </a:lnTo>
                    <a:cubicBezTo>
                      <a:pt x="14415" y="374697"/>
                      <a:pt x="11237" y="377083"/>
                      <a:pt x="7612" y="377139"/>
                    </a:cubicBezTo>
                    <a:close/>
                  </a:path>
                </a:pathLst>
              </a:custGeom>
              <a:solidFill>
                <a:srgbClr val="30373B"/>
              </a:solidFill>
              <a:ln w="5573" cap="flat">
                <a:noFill/>
                <a:prstDash val="solid"/>
                <a:miter/>
              </a:ln>
            </p:spPr>
            <p:txBody>
              <a:bodyPr rtlCol="0" anchor="ctr"/>
              <a:lstStyle/>
              <a:p>
                <a:endParaRPr lang="en-GB"/>
              </a:p>
            </p:txBody>
          </p:sp>
          <p:sp>
            <p:nvSpPr>
              <p:cNvPr id="137" name="Graphic 6">
                <a:extLst>
                  <a:ext uri="{FF2B5EF4-FFF2-40B4-BE49-F238E27FC236}">
                    <a16:creationId xmlns:a16="http://schemas.microsoft.com/office/drawing/2014/main" id="{1B525BE5-DD1E-7937-ABF5-57DA7A123578}"/>
                  </a:ext>
                </a:extLst>
              </p:cNvPr>
              <p:cNvSpPr/>
              <p:nvPr/>
            </p:nvSpPr>
            <p:spPr>
              <a:xfrm>
                <a:off x="8663735" y="4337249"/>
                <a:ext cx="23700" cy="376391"/>
              </a:xfrm>
              <a:custGeom>
                <a:avLst/>
                <a:gdLst>
                  <a:gd name="connsiteX0" fmla="*/ 14249 w 23700"/>
                  <a:gd name="connsiteY0" fmla="*/ 375924 h 376391"/>
                  <a:gd name="connsiteX1" fmla="*/ 5886 w 23700"/>
                  <a:gd name="connsiteY1" fmla="*/ 367729 h 376391"/>
                  <a:gd name="connsiteX2" fmla="*/ -804 w 23700"/>
                  <a:gd name="connsiteY2" fmla="*/ 8064 h 376391"/>
                  <a:gd name="connsiteX3" fmla="*/ 7391 w 23700"/>
                  <a:gd name="connsiteY3" fmla="*/ -467 h 376391"/>
                  <a:gd name="connsiteX4" fmla="*/ 7391 w 23700"/>
                  <a:gd name="connsiteY4" fmla="*/ -467 h 376391"/>
                  <a:gd name="connsiteX5" fmla="*/ 15922 w 23700"/>
                  <a:gd name="connsiteY5" fmla="*/ 7729 h 376391"/>
                  <a:gd name="connsiteX6" fmla="*/ 22891 w 23700"/>
                  <a:gd name="connsiteY6" fmla="*/ 367394 h 376391"/>
                  <a:gd name="connsiteX7" fmla="*/ 14695 w 23700"/>
                  <a:gd name="connsiteY7" fmla="*/ 375924 h 376391"/>
                  <a:gd name="connsiteX8" fmla="*/ 14695 w 23700"/>
                  <a:gd name="connsiteY8" fmla="*/ 375924 h 37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00" h="376391">
                    <a:moveTo>
                      <a:pt x="14249" y="375924"/>
                    </a:moveTo>
                    <a:cubicBezTo>
                      <a:pt x="9678" y="375924"/>
                      <a:pt x="5998" y="372284"/>
                      <a:pt x="5886" y="367729"/>
                    </a:cubicBezTo>
                    <a:lnTo>
                      <a:pt x="-804" y="8064"/>
                    </a:lnTo>
                    <a:cubicBezTo>
                      <a:pt x="-916" y="3447"/>
                      <a:pt x="2764" y="-372"/>
                      <a:pt x="7391" y="-467"/>
                    </a:cubicBezTo>
                    <a:cubicBezTo>
                      <a:pt x="7391" y="-467"/>
                      <a:pt x="7391" y="-467"/>
                      <a:pt x="7391" y="-467"/>
                    </a:cubicBezTo>
                    <a:cubicBezTo>
                      <a:pt x="11964" y="-500"/>
                      <a:pt x="15754" y="3135"/>
                      <a:pt x="15922" y="7729"/>
                    </a:cubicBezTo>
                    <a:lnTo>
                      <a:pt x="22891" y="367394"/>
                    </a:lnTo>
                    <a:cubicBezTo>
                      <a:pt x="23003" y="372011"/>
                      <a:pt x="19323" y="375830"/>
                      <a:pt x="14695" y="375924"/>
                    </a:cubicBezTo>
                    <a:cubicBezTo>
                      <a:pt x="14695" y="375924"/>
                      <a:pt x="14695" y="375924"/>
                      <a:pt x="14695" y="375924"/>
                    </a:cubicBezTo>
                    <a:close/>
                  </a:path>
                </a:pathLst>
              </a:custGeom>
              <a:solidFill>
                <a:srgbClr val="30373B"/>
              </a:solidFill>
              <a:ln w="5573" cap="flat">
                <a:noFill/>
                <a:prstDash val="solid"/>
                <a:miter/>
              </a:ln>
            </p:spPr>
            <p:txBody>
              <a:bodyPr rtlCol="0" anchor="ctr"/>
              <a:lstStyle/>
              <a:p>
                <a:endParaRPr lang="en-GB"/>
              </a:p>
            </p:txBody>
          </p:sp>
          <p:sp>
            <p:nvSpPr>
              <p:cNvPr id="138" name="Graphic 6">
                <a:extLst>
                  <a:ext uri="{FF2B5EF4-FFF2-40B4-BE49-F238E27FC236}">
                    <a16:creationId xmlns:a16="http://schemas.microsoft.com/office/drawing/2014/main" id="{8E4B648A-5460-A8C7-BC4B-C6D897E0834C}"/>
                  </a:ext>
                </a:extLst>
              </p:cNvPr>
              <p:cNvSpPr/>
              <p:nvPr/>
            </p:nvSpPr>
            <p:spPr>
              <a:xfrm>
                <a:off x="8366659" y="4005517"/>
                <a:ext cx="468743" cy="380853"/>
              </a:xfrm>
              <a:custGeom>
                <a:avLst/>
                <a:gdLst>
                  <a:gd name="connsiteX0" fmla="*/ 458793 w 468743"/>
                  <a:gd name="connsiteY0" fmla="*/ 380385 h 380853"/>
                  <a:gd name="connsiteX1" fmla="*/ 458793 w 468743"/>
                  <a:gd name="connsiteY1" fmla="*/ 380385 h 380853"/>
                  <a:gd name="connsiteX2" fmla="*/ 450486 w 468743"/>
                  <a:gd name="connsiteY2" fmla="*/ 371966 h 380853"/>
                  <a:gd name="connsiteX3" fmla="*/ 450486 w 468743"/>
                  <a:gd name="connsiteY3" fmla="*/ 371966 h 380853"/>
                  <a:gd name="connsiteX4" fmla="*/ 450486 w 468743"/>
                  <a:gd name="connsiteY4" fmla="*/ 109646 h 380853"/>
                  <a:gd name="connsiteX5" fmla="*/ 357545 w 468743"/>
                  <a:gd name="connsiteY5" fmla="*/ 16482 h 380853"/>
                  <a:gd name="connsiteX6" fmla="*/ 271629 w 468743"/>
                  <a:gd name="connsiteY6" fmla="*/ 16482 h 380853"/>
                  <a:gd name="connsiteX7" fmla="*/ 192627 w 468743"/>
                  <a:gd name="connsiteY7" fmla="*/ 111263 h 380853"/>
                  <a:gd name="connsiteX8" fmla="*/ 123882 w 468743"/>
                  <a:gd name="connsiteY8" fmla="*/ 198238 h 380853"/>
                  <a:gd name="connsiteX9" fmla="*/ 611 w 468743"/>
                  <a:gd name="connsiteY9" fmla="*/ 115444 h 380853"/>
                  <a:gd name="connsiteX10" fmla="*/ 2898 w 468743"/>
                  <a:gd name="connsiteY10" fmla="*/ 103836 h 380853"/>
                  <a:gd name="connsiteX11" fmla="*/ 14494 w 468743"/>
                  <a:gd name="connsiteY11" fmla="*/ 106111 h 380853"/>
                  <a:gd name="connsiteX12" fmla="*/ 15107 w 468743"/>
                  <a:gd name="connsiteY12" fmla="*/ 107193 h 380853"/>
                  <a:gd name="connsiteX13" fmla="*/ 123882 w 468743"/>
                  <a:gd name="connsiteY13" fmla="*/ 181512 h 380853"/>
                  <a:gd name="connsiteX14" fmla="*/ 176570 w 468743"/>
                  <a:gd name="connsiteY14" fmla="*/ 106524 h 380853"/>
                  <a:gd name="connsiteX15" fmla="*/ 271350 w 468743"/>
                  <a:gd name="connsiteY15" fmla="*/ -467 h 380853"/>
                  <a:gd name="connsiteX16" fmla="*/ 357601 w 468743"/>
                  <a:gd name="connsiteY16" fmla="*/ -467 h 380853"/>
                  <a:gd name="connsiteX17" fmla="*/ 467268 w 468743"/>
                  <a:gd name="connsiteY17" fmla="*/ 108921 h 380853"/>
                  <a:gd name="connsiteX18" fmla="*/ 467268 w 468743"/>
                  <a:gd name="connsiteY18" fmla="*/ 371854 h 380853"/>
                  <a:gd name="connsiteX19" fmla="*/ 459183 w 468743"/>
                  <a:gd name="connsiteY19" fmla="*/ 380385 h 380853"/>
                  <a:gd name="connsiteX20" fmla="*/ 458793 w 468743"/>
                  <a:gd name="connsiteY20" fmla="*/ 380385 h 38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8743" h="380853">
                    <a:moveTo>
                      <a:pt x="458793" y="380385"/>
                    </a:moveTo>
                    <a:lnTo>
                      <a:pt x="458793" y="380385"/>
                    </a:lnTo>
                    <a:cubicBezTo>
                      <a:pt x="454165" y="380357"/>
                      <a:pt x="450430" y="376588"/>
                      <a:pt x="450486" y="371966"/>
                    </a:cubicBezTo>
                    <a:cubicBezTo>
                      <a:pt x="450486" y="371966"/>
                      <a:pt x="450486" y="371966"/>
                      <a:pt x="450486" y="371966"/>
                    </a:cubicBezTo>
                    <a:cubicBezTo>
                      <a:pt x="450486" y="369847"/>
                      <a:pt x="451936" y="161329"/>
                      <a:pt x="450486" y="109646"/>
                    </a:cubicBezTo>
                    <a:cubicBezTo>
                      <a:pt x="449036" y="59133"/>
                      <a:pt x="406496" y="16482"/>
                      <a:pt x="357545" y="16482"/>
                    </a:cubicBezTo>
                    <a:lnTo>
                      <a:pt x="271629" y="16482"/>
                    </a:lnTo>
                    <a:cubicBezTo>
                      <a:pt x="220559" y="16482"/>
                      <a:pt x="206955" y="62646"/>
                      <a:pt x="192627" y="111263"/>
                    </a:cubicBezTo>
                    <a:cubicBezTo>
                      <a:pt x="180026" y="154026"/>
                      <a:pt x="167035" y="198238"/>
                      <a:pt x="123882" y="198238"/>
                    </a:cubicBezTo>
                    <a:cubicBezTo>
                      <a:pt x="48448" y="198238"/>
                      <a:pt x="2508" y="118845"/>
                      <a:pt x="611" y="115444"/>
                    </a:cubicBezTo>
                    <a:cubicBezTo>
                      <a:pt x="-1953" y="111609"/>
                      <a:pt x="-950" y="106412"/>
                      <a:pt x="2898" y="103836"/>
                    </a:cubicBezTo>
                    <a:cubicBezTo>
                      <a:pt x="6744" y="101261"/>
                      <a:pt x="11930" y="102281"/>
                      <a:pt x="14494" y="106111"/>
                    </a:cubicBezTo>
                    <a:cubicBezTo>
                      <a:pt x="14717" y="106457"/>
                      <a:pt x="14940" y="106819"/>
                      <a:pt x="15107" y="107193"/>
                    </a:cubicBezTo>
                    <a:cubicBezTo>
                      <a:pt x="15554" y="107917"/>
                      <a:pt x="58261" y="181512"/>
                      <a:pt x="123882" y="181512"/>
                    </a:cubicBezTo>
                    <a:cubicBezTo>
                      <a:pt x="152484" y="181512"/>
                      <a:pt x="162910" y="153190"/>
                      <a:pt x="176570" y="106524"/>
                    </a:cubicBezTo>
                    <a:cubicBezTo>
                      <a:pt x="191288" y="56346"/>
                      <a:pt x="208015" y="-467"/>
                      <a:pt x="271350" y="-467"/>
                    </a:cubicBezTo>
                    <a:lnTo>
                      <a:pt x="357601" y="-467"/>
                    </a:lnTo>
                    <a:cubicBezTo>
                      <a:pt x="415361" y="-467"/>
                      <a:pt x="465539" y="49711"/>
                      <a:pt x="467268" y="108921"/>
                    </a:cubicBezTo>
                    <a:cubicBezTo>
                      <a:pt x="468773" y="160883"/>
                      <a:pt x="467268" y="369736"/>
                      <a:pt x="467268" y="371854"/>
                    </a:cubicBezTo>
                    <a:cubicBezTo>
                      <a:pt x="467379" y="376443"/>
                      <a:pt x="463755" y="380262"/>
                      <a:pt x="459183" y="380385"/>
                    </a:cubicBezTo>
                    <a:cubicBezTo>
                      <a:pt x="459072" y="380385"/>
                      <a:pt x="458905" y="380390"/>
                      <a:pt x="458793" y="380385"/>
                    </a:cubicBezTo>
                    <a:close/>
                  </a:path>
                </a:pathLst>
              </a:custGeom>
              <a:solidFill>
                <a:srgbClr val="30373B"/>
              </a:solidFill>
              <a:ln w="5573" cap="flat">
                <a:noFill/>
                <a:prstDash val="solid"/>
                <a:miter/>
              </a:ln>
            </p:spPr>
            <p:txBody>
              <a:bodyPr rtlCol="0" anchor="ctr"/>
              <a:lstStyle/>
              <a:p>
                <a:endParaRPr lang="en-GB"/>
              </a:p>
            </p:txBody>
          </p:sp>
          <p:sp>
            <p:nvSpPr>
              <p:cNvPr id="139" name="Graphic 6">
                <a:extLst>
                  <a:ext uri="{FF2B5EF4-FFF2-40B4-BE49-F238E27FC236}">
                    <a16:creationId xmlns:a16="http://schemas.microsoft.com/office/drawing/2014/main" id="{FD1F8E36-A071-56BF-7EB2-545F8B342CA7}"/>
                  </a:ext>
                </a:extLst>
              </p:cNvPr>
              <p:cNvSpPr/>
              <p:nvPr/>
            </p:nvSpPr>
            <p:spPr>
              <a:xfrm>
                <a:off x="8605167" y="3835795"/>
                <a:ext cx="145574" cy="186615"/>
              </a:xfrm>
              <a:custGeom>
                <a:avLst/>
                <a:gdLst>
                  <a:gd name="connsiteX0" fmla="*/ 71814 w 145574"/>
                  <a:gd name="connsiteY0" fmla="*/ 186148 h 186615"/>
                  <a:gd name="connsiteX1" fmla="*/ 63451 w 145574"/>
                  <a:gd name="connsiteY1" fmla="*/ 177785 h 186615"/>
                  <a:gd name="connsiteX2" fmla="*/ 71814 w 145574"/>
                  <a:gd name="connsiteY2" fmla="*/ 169422 h 186615"/>
                  <a:gd name="connsiteX3" fmla="*/ 127567 w 145574"/>
                  <a:gd name="connsiteY3" fmla="*/ 91981 h 186615"/>
                  <a:gd name="connsiteX4" fmla="*/ 111733 w 145574"/>
                  <a:gd name="connsiteY4" fmla="*/ 31934 h 186615"/>
                  <a:gd name="connsiteX5" fmla="*/ 32173 w 145574"/>
                  <a:gd name="connsiteY5" fmla="*/ 31934 h 186615"/>
                  <a:gd name="connsiteX6" fmla="*/ 16394 w 145574"/>
                  <a:gd name="connsiteY6" fmla="*/ 91981 h 186615"/>
                  <a:gd name="connsiteX7" fmla="*/ 25761 w 145574"/>
                  <a:gd name="connsiteY7" fmla="*/ 129447 h 186615"/>
                  <a:gd name="connsiteX8" fmla="*/ 21580 w 145574"/>
                  <a:gd name="connsiteY8" fmla="*/ 140514 h 186615"/>
                  <a:gd name="connsiteX9" fmla="*/ 10485 w 145574"/>
                  <a:gd name="connsiteY9" fmla="*/ 136305 h 186615"/>
                  <a:gd name="connsiteX10" fmla="*/ -276 w 145574"/>
                  <a:gd name="connsiteY10" fmla="*/ 93430 h 186615"/>
                  <a:gd name="connsiteX11" fmla="*/ 19851 w 145574"/>
                  <a:gd name="connsiteY11" fmla="*/ 20951 h 186615"/>
                  <a:gd name="connsiteX12" fmla="*/ 124110 w 145574"/>
                  <a:gd name="connsiteY12" fmla="*/ 20951 h 186615"/>
                  <a:gd name="connsiteX13" fmla="*/ 144237 w 145574"/>
                  <a:gd name="connsiteY13" fmla="*/ 93430 h 186615"/>
                  <a:gd name="connsiteX14" fmla="*/ 71814 w 145574"/>
                  <a:gd name="connsiteY14" fmla="*/ 186148 h 18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74" h="186615">
                    <a:moveTo>
                      <a:pt x="71814" y="186148"/>
                    </a:moveTo>
                    <a:cubicBezTo>
                      <a:pt x="67186" y="186148"/>
                      <a:pt x="63451" y="182402"/>
                      <a:pt x="63451" y="177785"/>
                    </a:cubicBezTo>
                    <a:cubicBezTo>
                      <a:pt x="63451" y="173169"/>
                      <a:pt x="67186" y="169422"/>
                      <a:pt x="71814" y="169422"/>
                    </a:cubicBezTo>
                    <a:cubicBezTo>
                      <a:pt x="92220" y="169422"/>
                      <a:pt x="122939" y="142493"/>
                      <a:pt x="127567" y="91981"/>
                    </a:cubicBezTo>
                    <a:cubicBezTo>
                      <a:pt x="129797" y="66836"/>
                      <a:pt x="124166" y="45483"/>
                      <a:pt x="111733" y="31934"/>
                    </a:cubicBezTo>
                    <a:cubicBezTo>
                      <a:pt x="89487" y="10675"/>
                      <a:pt x="54419" y="10675"/>
                      <a:pt x="32173" y="31934"/>
                    </a:cubicBezTo>
                    <a:cubicBezTo>
                      <a:pt x="19795" y="45483"/>
                      <a:pt x="14165" y="66836"/>
                      <a:pt x="16394" y="91981"/>
                    </a:cubicBezTo>
                    <a:cubicBezTo>
                      <a:pt x="17398" y="104904"/>
                      <a:pt x="20576" y="117560"/>
                      <a:pt x="25761" y="129447"/>
                    </a:cubicBezTo>
                    <a:cubicBezTo>
                      <a:pt x="27657" y="133667"/>
                      <a:pt x="25761" y="138618"/>
                      <a:pt x="21580" y="140514"/>
                    </a:cubicBezTo>
                    <a:cubicBezTo>
                      <a:pt x="17343" y="142410"/>
                      <a:pt x="12380" y="140525"/>
                      <a:pt x="10485" y="136305"/>
                    </a:cubicBezTo>
                    <a:cubicBezTo>
                      <a:pt x="4519" y="122707"/>
                      <a:pt x="896" y="108222"/>
                      <a:pt x="-276" y="93430"/>
                    </a:cubicBezTo>
                    <a:cubicBezTo>
                      <a:pt x="-2896" y="63547"/>
                      <a:pt x="4241" y="37677"/>
                      <a:pt x="19851" y="20951"/>
                    </a:cubicBezTo>
                    <a:cubicBezTo>
                      <a:pt x="48732" y="-7606"/>
                      <a:pt x="95230" y="-7606"/>
                      <a:pt x="124110" y="20951"/>
                    </a:cubicBezTo>
                    <a:cubicBezTo>
                      <a:pt x="139721" y="37677"/>
                      <a:pt x="146858" y="63825"/>
                      <a:pt x="144237" y="93430"/>
                    </a:cubicBezTo>
                    <a:cubicBezTo>
                      <a:pt x="140112" y="138033"/>
                      <a:pt x="111399" y="186148"/>
                      <a:pt x="71814" y="186148"/>
                    </a:cubicBezTo>
                    <a:close/>
                  </a:path>
                </a:pathLst>
              </a:custGeom>
              <a:solidFill>
                <a:srgbClr val="30373B"/>
              </a:solidFill>
              <a:ln w="5573" cap="flat">
                <a:noFill/>
                <a:prstDash val="solid"/>
                <a:miter/>
              </a:ln>
            </p:spPr>
            <p:txBody>
              <a:bodyPr rtlCol="0" anchor="ctr"/>
              <a:lstStyle/>
              <a:p>
                <a:endParaRPr lang="en-GB"/>
              </a:p>
            </p:txBody>
          </p:sp>
          <p:sp>
            <p:nvSpPr>
              <p:cNvPr id="140" name="Graphic 6">
                <a:extLst>
                  <a:ext uri="{FF2B5EF4-FFF2-40B4-BE49-F238E27FC236}">
                    <a16:creationId xmlns:a16="http://schemas.microsoft.com/office/drawing/2014/main" id="{9DF74694-D977-6C32-ECBC-48DE77049F24}"/>
                  </a:ext>
                </a:extLst>
              </p:cNvPr>
              <p:cNvSpPr/>
              <p:nvPr/>
            </p:nvSpPr>
            <p:spPr>
              <a:xfrm>
                <a:off x="7898500" y="5644664"/>
                <a:ext cx="47189" cy="630128"/>
              </a:xfrm>
              <a:custGeom>
                <a:avLst/>
                <a:gdLst>
                  <a:gd name="connsiteX0" fmla="*/ 7523 w 47189"/>
                  <a:gd name="connsiteY0" fmla="*/ 629661 h 630128"/>
                  <a:gd name="connsiteX1" fmla="*/ 6966 w 47189"/>
                  <a:gd name="connsiteY1" fmla="*/ 629661 h 630128"/>
                  <a:gd name="connsiteX2" fmla="*/ -784 w 47189"/>
                  <a:gd name="connsiteY2" fmla="*/ 620740 h 630128"/>
                  <a:gd name="connsiteX3" fmla="*/ 29657 w 47189"/>
                  <a:gd name="connsiteY3" fmla="*/ 179675 h 630128"/>
                  <a:gd name="connsiteX4" fmla="*/ 24584 w 47189"/>
                  <a:gd name="connsiteY4" fmla="*/ 8177 h 630128"/>
                  <a:gd name="connsiteX5" fmla="*/ 32724 w 47189"/>
                  <a:gd name="connsiteY5" fmla="*/ -464 h 630128"/>
                  <a:gd name="connsiteX6" fmla="*/ 41310 w 47189"/>
                  <a:gd name="connsiteY6" fmla="*/ 7675 h 630128"/>
                  <a:gd name="connsiteX7" fmla="*/ 46383 w 47189"/>
                  <a:gd name="connsiteY7" fmla="*/ 179563 h 630128"/>
                  <a:gd name="connsiteX8" fmla="*/ 46383 w 47189"/>
                  <a:gd name="connsiteY8" fmla="*/ 180399 h 630128"/>
                  <a:gd name="connsiteX9" fmla="*/ 15886 w 47189"/>
                  <a:gd name="connsiteY9" fmla="*/ 621855 h 630128"/>
                  <a:gd name="connsiteX10" fmla="*/ 7523 w 47189"/>
                  <a:gd name="connsiteY10" fmla="*/ 629661 h 63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9" h="630128">
                    <a:moveTo>
                      <a:pt x="7523" y="629661"/>
                    </a:moveTo>
                    <a:lnTo>
                      <a:pt x="6966" y="629661"/>
                    </a:lnTo>
                    <a:cubicBezTo>
                      <a:pt x="2338" y="629326"/>
                      <a:pt x="-1119" y="625368"/>
                      <a:pt x="-784" y="620740"/>
                    </a:cubicBezTo>
                    <a:lnTo>
                      <a:pt x="29657" y="179675"/>
                    </a:lnTo>
                    <a:lnTo>
                      <a:pt x="24584" y="8177"/>
                    </a:lnTo>
                    <a:cubicBezTo>
                      <a:pt x="24472" y="3550"/>
                      <a:pt x="28096" y="-297"/>
                      <a:pt x="32724" y="-464"/>
                    </a:cubicBezTo>
                    <a:cubicBezTo>
                      <a:pt x="37295" y="-576"/>
                      <a:pt x="41198" y="3048"/>
                      <a:pt x="41310" y="7675"/>
                    </a:cubicBezTo>
                    <a:lnTo>
                      <a:pt x="46383" y="179563"/>
                    </a:lnTo>
                    <a:lnTo>
                      <a:pt x="46383" y="180399"/>
                    </a:lnTo>
                    <a:lnTo>
                      <a:pt x="15886" y="621855"/>
                    </a:lnTo>
                    <a:cubicBezTo>
                      <a:pt x="15607" y="626259"/>
                      <a:pt x="11928" y="629717"/>
                      <a:pt x="7523" y="629661"/>
                    </a:cubicBezTo>
                    <a:close/>
                  </a:path>
                </a:pathLst>
              </a:custGeom>
              <a:solidFill>
                <a:srgbClr val="30373B"/>
              </a:solidFill>
              <a:ln w="5573" cap="flat">
                <a:noFill/>
                <a:prstDash val="solid"/>
                <a:miter/>
              </a:ln>
            </p:spPr>
            <p:txBody>
              <a:bodyPr rtlCol="0" anchor="ctr"/>
              <a:lstStyle/>
              <a:p>
                <a:endParaRPr lang="en-GB"/>
              </a:p>
            </p:txBody>
          </p:sp>
          <p:sp>
            <p:nvSpPr>
              <p:cNvPr id="141" name="Graphic 6">
                <a:extLst>
                  <a:ext uri="{FF2B5EF4-FFF2-40B4-BE49-F238E27FC236}">
                    <a16:creationId xmlns:a16="http://schemas.microsoft.com/office/drawing/2014/main" id="{38981A45-28E8-16A8-68C2-9BEF1BCC945C}"/>
                  </a:ext>
                </a:extLst>
              </p:cNvPr>
              <p:cNvSpPr/>
              <p:nvPr/>
            </p:nvSpPr>
            <p:spPr>
              <a:xfrm>
                <a:off x="7666429" y="5644887"/>
                <a:ext cx="102747" cy="631340"/>
              </a:xfrm>
              <a:custGeom>
                <a:avLst/>
                <a:gdLst>
                  <a:gd name="connsiteX0" fmla="*/ 7548 w 102747"/>
                  <a:gd name="connsiteY0" fmla="*/ 630832 h 631340"/>
                  <a:gd name="connsiteX1" fmla="*/ 5931 w 102747"/>
                  <a:gd name="connsiteY1" fmla="*/ 630832 h 631340"/>
                  <a:gd name="connsiteX2" fmla="*/ -648 w 102747"/>
                  <a:gd name="connsiteY2" fmla="*/ 621019 h 631340"/>
                  <a:gd name="connsiteX3" fmla="*/ 78354 w 102747"/>
                  <a:gd name="connsiteY3" fmla="*/ 219929 h 631340"/>
                  <a:gd name="connsiteX4" fmla="*/ 85213 w 102747"/>
                  <a:gd name="connsiteY4" fmla="*/ 7620 h 631340"/>
                  <a:gd name="connsiteX5" fmla="*/ 93854 w 102747"/>
                  <a:gd name="connsiteY5" fmla="*/ -464 h 631340"/>
                  <a:gd name="connsiteX6" fmla="*/ 101939 w 102747"/>
                  <a:gd name="connsiteY6" fmla="*/ 8066 h 631340"/>
                  <a:gd name="connsiteX7" fmla="*/ 101939 w 102747"/>
                  <a:gd name="connsiteY7" fmla="*/ 8122 h 631340"/>
                  <a:gd name="connsiteX8" fmla="*/ 95080 w 102747"/>
                  <a:gd name="connsiteY8" fmla="*/ 221155 h 631340"/>
                  <a:gd name="connsiteX9" fmla="*/ 95080 w 102747"/>
                  <a:gd name="connsiteY9" fmla="*/ 222494 h 631340"/>
                  <a:gd name="connsiteX10" fmla="*/ 15911 w 102747"/>
                  <a:gd name="connsiteY10" fmla="*/ 624253 h 631340"/>
                  <a:gd name="connsiteX11" fmla="*/ 7548 w 102747"/>
                  <a:gd name="connsiteY11" fmla="*/ 630832 h 63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747" h="631340">
                    <a:moveTo>
                      <a:pt x="7548" y="630832"/>
                    </a:moveTo>
                    <a:cubicBezTo>
                      <a:pt x="6991" y="630888"/>
                      <a:pt x="6489" y="630888"/>
                      <a:pt x="5931" y="630832"/>
                    </a:cubicBezTo>
                    <a:cubicBezTo>
                      <a:pt x="1415" y="629940"/>
                      <a:pt x="-1540" y="625535"/>
                      <a:pt x="-648" y="621019"/>
                    </a:cubicBezTo>
                    <a:lnTo>
                      <a:pt x="78354" y="219929"/>
                    </a:lnTo>
                    <a:lnTo>
                      <a:pt x="85213" y="7620"/>
                    </a:lnTo>
                    <a:cubicBezTo>
                      <a:pt x="85379" y="2992"/>
                      <a:pt x="89227" y="-575"/>
                      <a:pt x="93854" y="-464"/>
                    </a:cubicBezTo>
                    <a:cubicBezTo>
                      <a:pt x="98426" y="-353"/>
                      <a:pt x="102050" y="3495"/>
                      <a:pt x="101939" y="8066"/>
                    </a:cubicBezTo>
                    <a:cubicBezTo>
                      <a:pt x="101939" y="8066"/>
                      <a:pt x="101939" y="8122"/>
                      <a:pt x="101939" y="8122"/>
                    </a:cubicBezTo>
                    <a:lnTo>
                      <a:pt x="95080" y="221155"/>
                    </a:lnTo>
                    <a:lnTo>
                      <a:pt x="95080" y="222494"/>
                    </a:lnTo>
                    <a:lnTo>
                      <a:pt x="15911" y="624253"/>
                    </a:lnTo>
                    <a:cubicBezTo>
                      <a:pt x="15074" y="628155"/>
                      <a:pt x="11562" y="630943"/>
                      <a:pt x="7548" y="630832"/>
                    </a:cubicBezTo>
                    <a:close/>
                  </a:path>
                </a:pathLst>
              </a:custGeom>
              <a:solidFill>
                <a:srgbClr val="30373B"/>
              </a:solidFill>
              <a:ln w="5573" cap="flat">
                <a:noFill/>
                <a:prstDash val="solid"/>
                <a:miter/>
              </a:ln>
            </p:spPr>
            <p:txBody>
              <a:bodyPr rtlCol="0" anchor="ctr"/>
              <a:lstStyle/>
              <a:p>
                <a:endParaRPr lang="en-GB"/>
              </a:p>
            </p:txBody>
          </p:sp>
          <p:sp>
            <p:nvSpPr>
              <p:cNvPr id="142" name="Graphic 6">
                <a:extLst>
                  <a:ext uri="{FF2B5EF4-FFF2-40B4-BE49-F238E27FC236}">
                    <a16:creationId xmlns:a16="http://schemas.microsoft.com/office/drawing/2014/main" id="{153E743C-FCFC-2A8A-C41A-C42669C50627}"/>
                  </a:ext>
                </a:extLst>
              </p:cNvPr>
              <p:cNvSpPr/>
              <p:nvPr/>
            </p:nvSpPr>
            <p:spPr>
              <a:xfrm>
                <a:off x="7721034" y="5898375"/>
                <a:ext cx="126894" cy="377810"/>
              </a:xfrm>
              <a:custGeom>
                <a:avLst/>
                <a:gdLst>
                  <a:gd name="connsiteX0" fmla="*/ 7582 w 126894"/>
                  <a:gd name="connsiteY0" fmla="*/ 377344 h 377810"/>
                  <a:gd name="connsiteX1" fmla="*/ 5129 w 126894"/>
                  <a:gd name="connsiteY1" fmla="*/ 377009 h 377810"/>
                  <a:gd name="connsiteX2" fmla="*/ -447 w 126894"/>
                  <a:gd name="connsiteY2" fmla="*/ 366528 h 377810"/>
                  <a:gd name="connsiteX3" fmla="*/ 109722 w 126894"/>
                  <a:gd name="connsiteY3" fmla="*/ 5469 h 377810"/>
                  <a:gd name="connsiteX4" fmla="*/ 120148 w 126894"/>
                  <a:gd name="connsiteY4" fmla="*/ -107 h 377810"/>
                  <a:gd name="connsiteX5" fmla="*/ 125723 w 126894"/>
                  <a:gd name="connsiteY5" fmla="*/ 10375 h 377810"/>
                  <a:gd name="connsiteX6" fmla="*/ 15555 w 126894"/>
                  <a:gd name="connsiteY6" fmla="*/ 371434 h 377810"/>
                  <a:gd name="connsiteX7" fmla="*/ 7582 w 126894"/>
                  <a:gd name="connsiteY7" fmla="*/ 377344 h 37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94" h="377810">
                    <a:moveTo>
                      <a:pt x="7582" y="377344"/>
                    </a:moveTo>
                    <a:cubicBezTo>
                      <a:pt x="6746" y="377344"/>
                      <a:pt x="5909" y="377233"/>
                      <a:pt x="5129" y="377009"/>
                    </a:cubicBezTo>
                    <a:cubicBezTo>
                      <a:pt x="724" y="375615"/>
                      <a:pt x="-1785" y="370988"/>
                      <a:pt x="-447" y="366528"/>
                    </a:cubicBezTo>
                    <a:lnTo>
                      <a:pt x="109722" y="5469"/>
                    </a:lnTo>
                    <a:cubicBezTo>
                      <a:pt x="111060" y="1064"/>
                      <a:pt x="115743" y="-1445"/>
                      <a:pt x="120148" y="-107"/>
                    </a:cubicBezTo>
                    <a:cubicBezTo>
                      <a:pt x="124609" y="1287"/>
                      <a:pt x="127061" y="5970"/>
                      <a:pt x="125723" y="10375"/>
                    </a:cubicBezTo>
                    <a:lnTo>
                      <a:pt x="15555" y="371434"/>
                    </a:lnTo>
                    <a:cubicBezTo>
                      <a:pt x="14496" y="374946"/>
                      <a:pt x="11262" y="377344"/>
                      <a:pt x="7582" y="377344"/>
                    </a:cubicBezTo>
                    <a:close/>
                  </a:path>
                </a:pathLst>
              </a:custGeom>
              <a:solidFill>
                <a:srgbClr val="30373B"/>
              </a:solidFill>
              <a:ln w="5573" cap="flat">
                <a:noFill/>
                <a:prstDash val="solid"/>
                <a:miter/>
              </a:ln>
            </p:spPr>
            <p:txBody>
              <a:bodyPr rtlCol="0" anchor="ctr"/>
              <a:lstStyle/>
              <a:p>
                <a:endParaRPr lang="en-GB"/>
              </a:p>
            </p:txBody>
          </p:sp>
          <p:sp>
            <p:nvSpPr>
              <p:cNvPr id="143" name="Graphic 6">
                <a:extLst>
                  <a:ext uri="{FF2B5EF4-FFF2-40B4-BE49-F238E27FC236}">
                    <a16:creationId xmlns:a16="http://schemas.microsoft.com/office/drawing/2014/main" id="{F5D58B6F-BE0C-22D4-D086-9FBBB397B808}"/>
                  </a:ext>
                </a:extLst>
              </p:cNvPr>
              <p:cNvSpPr/>
              <p:nvPr/>
            </p:nvSpPr>
            <p:spPr>
              <a:xfrm>
                <a:off x="7831226" y="5898400"/>
                <a:ext cx="23698" cy="376392"/>
              </a:xfrm>
              <a:custGeom>
                <a:avLst/>
                <a:gdLst>
                  <a:gd name="connsiteX0" fmla="*/ 14528 w 23698"/>
                  <a:gd name="connsiteY0" fmla="*/ 375925 h 376392"/>
                  <a:gd name="connsiteX1" fmla="*/ 6165 w 23698"/>
                  <a:gd name="connsiteY1" fmla="*/ 367729 h 376392"/>
                  <a:gd name="connsiteX2" fmla="*/ -804 w 23698"/>
                  <a:gd name="connsiteY2" fmla="*/ 8064 h 376392"/>
                  <a:gd name="connsiteX3" fmla="*/ 7391 w 23698"/>
                  <a:gd name="connsiteY3" fmla="*/ -466 h 376392"/>
                  <a:gd name="connsiteX4" fmla="*/ 7391 w 23698"/>
                  <a:gd name="connsiteY4" fmla="*/ -466 h 376392"/>
                  <a:gd name="connsiteX5" fmla="*/ 15922 w 23698"/>
                  <a:gd name="connsiteY5" fmla="*/ 7729 h 376392"/>
                  <a:gd name="connsiteX6" fmla="*/ 22891 w 23698"/>
                  <a:gd name="connsiteY6" fmla="*/ 367395 h 376392"/>
                  <a:gd name="connsiteX7" fmla="*/ 14639 w 23698"/>
                  <a:gd name="connsiteY7" fmla="*/ 375925 h 37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8" h="376392">
                    <a:moveTo>
                      <a:pt x="14528" y="375925"/>
                    </a:moveTo>
                    <a:cubicBezTo>
                      <a:pt x="9956" y="375981"/>
                      <a:pt x="6220" y="372301"/>
                      <a:pt x="6165" y="367729"/>
                    </a:cubicBezTo>
                    <a:lnTo>
                      <a:pt x="-804" y="8064"/>
                    </a:lnTo>
                    <a:cubicBezTo>
                      <a:pt x="-916" y="3436"/>
                      <a:pt x="2763" y="-355"/>
                      <a:pt x="7391" y="-466"/>
                    </a:cubicBezTo>
                    <a:cubicBezTo>
                      <a:pt x="7391" y="-466"/>
                      <a:pt x="7391" y="-466"/>
                      <a:pt x="7391" y="-466"/>
                    </a:cubicBezTo>
                    <a:cubicBezTo>
                      <a:pt x="11963" y="-522"/>
                      <a:pt x="15754" y="3157"/>
                      <a:pt x="15922" y="7729"/>
                    </a:cubicBezTo>
                    <a:lnTo>
                      <a:pt x="22891" y="367395"/>
                    </a:lnTo>
                    <a:cubicBezTo>
                      <a:pt x="22946" y="372022"/>
                      <a:pt x="19267" y="375813"/>
                      <a:pt x="14639" y="375925"/>
                    </a:cubicBezTo>
                    <a:close/>
                  </a:path>
                </a:pathLst>
              </a:custGeom>
              <a:solidFill>
                <a:srgbClr val="30373B"/>
              </a:solidFill>
              <a:ln w="5573" cap="flat">
                <a:noFill/>
                <a:prstDash val="solid"/>
                <a:miter/>
              </a:ln>
            </p:spPr>
            <p:txBody>
              <a:bodyPr rtlCol="0" anchor="ctr"/>
              <a:lstStyle/>
              <a:p>
                <a:endParaRPr lang="en-GB"/>
              </a:p>
            </p:txBody>
          </p:sp>
          <p:sp>
            <p:nvSpPr>
              <p:cNvPr id="144" name="Graphic 6">
                <a:extLst>
                  <a:ext uri="{FF2B5EF4-FFF2-40B4-BE49-F238E27FC236}">
                    <a16:creationId xmlns:a16="http://schemas.microsoft.com/office/drawing/2014/main" id="{416F12BD-2951-1CE6-DCFC-380B53097E9A}"/>
                  </a:ext>
                </a:extLst>
              </p:cNvPr>
              <p:cNvSpPr/>
              <p:nvPr/>
            </p:nvSpPr>
            <p:spPr>
              <a:xfrm>
                <a:off x="7566210" y="5240663"/>
                <a:ext cx="491907" cy="365674"/>
              </a:xfrm>
              <a:custGeom>
                <a:avLst/>
                <a:gdLst>
                  <a:gd name="connsiteX0" fmla="*/ 325094 w 491907"/>
                  <a:gd name="connsiteY0" fmla="*/ 365179 h 365674"/>
                  <a:gd name="connsiteX1" fmla="*/ 233101 w 491907"/>
                  <a:gd name="connsiteY1" fmla="*/ 365179 h 365674"/>
                  <a:gd name="connsiteX2" fmla="*/ -784 w 491907"/>
                  <a:gd name="connsiteY2" fmla="*/ 70243 h 365674"/>
                  <a:gd name="connsiteX3" fmla="*/ 6966 w 491907"/>
                  <a:gd name="connsiteY3" fmla="*/ 61267 h 365674"/>
                  <a:gd name="connsiteX4" fmla="*/ 15942 w 491907"/>
                  <a:gd name="connsiteY4" fmla="*/ 69017 h 365674"/>
                  <a:gd name="connsiteX5" fmla="*/ 233380 w 491907"/>
                  <a:gd name="connsiteY5" fmla="*/ 348453 h 365674"/>
                  <a:gd name="connsiteX6" fmla="*/ 325373 w 491907"/>
                  <a:gd name="connsiteY6" fmla="*/ 348453 h 365674"/>
                  <a:gd name="connsiteX7" fmla="*/ 443013 w 491907"/>
                  <a:gd name="connsiteY7" fmla="*/ 288685 h 365674"/>
                  <a:gd name="connsiteX8" fmla="*/ 439946 w 491907"/>
                  <a:gd name="connsiteY8" fmla="*/ 10921 h 365674"/>
                  <a:gd name="connsiteX9" fmla="*/ 444741 w 491907"/>
                  <a:gd name="connsiteY9" fmla="*/ 105 h 365674"/>
                  <a:gd name="connsiteX10" fmla="*/ 455557 w 491907"/>
                  <a:gd name="connsiteY10" fmla="*/ 4845 h 365674"/>
                  <a:gd name="connsiteX11" fmla="*/ 455613 w 491907"/>
                  <a:gd name="connsiteY11" fmla="*/ 5067 h 365674"/>
                  <a:gd name="connsiteX12" fmla="*/ 456728 w 491907"/>
                  <a:gd name="connsiteY12" fmla="*/ 298219 h 365674"/>
                  <a:gd name="connsiteX13" fmla="*/ 325094 w 491907"/>
                  <a:gd name="connsiteY13" fmla="*/ 365179 h 36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907" h="365674">
                    <a:moveTo>
                      <a:pt x="325094" y="365179"/>
                    </a:moveTo>
                    <a:lnTo>
                      <a:pt x="233101" y="365179"/>
                    </a:lnTo>
                    <a:cubicBezTo>
                      <a:pt x="90484" y="365179"/>
                      <a:pt x="13935" y="268725"/>
                      <a:pt x="-784" y="70243"/>
                    </a:cubicBezTo>
                    <a:cubicBezTo>
                      <a:pt x="-1119" y="65616"/>
                      <a:pt x="2338" y="61601"/>
                      <a:pt x="6966" y="61267"/>
                    </a:cubicBezTo>
                    <a:cubicBezTo>
                      <a:pt x="11593" y="60932"/>
                      <a:pt x="15607" y="64389"/>
                      <a:pt x="15942" y="69017"/>
                    </a:cubicBezTo>
                    <a:cubicBezTo>
                      <a:pt x="29936" y="257073"/>
                      <a:pt x="100966" y="348453"/>
                      <a:pt x="233380" y="348453"/>
                    </a:cubicBezTo>
                    <a:lnTo>
                      <a:pt x="325373" y="348453"/>
                    </a:lnTo>
                    <a:cubicBezTo>
                      <a:pt x="372095" y="349345"/>
                      <a:pt x="416195" y="326932"/>
                      <a:pt x="443013" y="288685"/>
                    </a:cubicBezTo>
                    <a:cubicBezTo>
                      <a:pt x="485274" y="227747"/>
                      <a:pt x="484159" y="129119"/>
                      <a:pt x="439946" y="10921"/>
                    </a:cubicBezTo>
                    <a:cubicBezTo>
                      <a:pt x="438274" y="6629"/>
                      <a:pt x="440392" y="1778"/>
                      <a:pt x="444741" y="105"/>
                    </a:cubicBezTo>
                    <a:cubicBezTo>
                      <a:pt x="449034" y="-1567"/>
                      <a:pt x="453884" y="551"/>
                      <a:pt x="455557" y="4845"/>
                    </a:cubicBezTo>
                    <a:cubicBezTo>
                      <a:pt x="455557" y="4956"/>
                      <a:pt x="455613" y="5012"/>
                      <a:pt x="455613" y="5067"/>
                    </a:cubicBezTo>
                    <a:cubicBezTo>
                      <a:pt x="514823" y="163295"/>
                      <a:pt x="489065" y="251832"/>
                      <a:pt x="456728" y="298219"/>
                    </a:cubicBezTo>
                    <a:cubicBezTo>
                      <a:pt x="426732" y="341093"/>
                      <a:pt x="377391" y="366182"/>
                      <a:pt x="325094" y="365179"/>
                    </a:cubicBezTo>
                    <a:close/>
                  </a:path>
                </a:pathLst>
              </a:custGeom>
              <a:solidFill>
                <a:srgbClr val="30373B"/>
              </a:solidFill>
              <a:ln w="5573" cap="flat">
                <a:noFill/>
                <a:prstDash val="solid"/>
                <a:miter/>
              </a:ln>
            </p:spPr>
            <p:txBody>
              <a:bodyPr rtlCol="0" anchor="ctr"/>
              <a:lstStyle/>
              <a:p>
                <a:endParaRPr lang="en-GB"/>
              </a:p>
            </p:txBody>
          </p:sp>
          <p:sp>
            <p:nvSpPr>
              <p:cNvPr id="145" name="Graphic 6">
                <a:extLst>
                  <a:ext uri="{FF2B5EF4-FFF2-40B4-BE49-F238E27FC236}">
                    <a16:creationId xmlns:a16="http://schemas.microsoft.com/office/drawing/2014/main" id="{0964D3E6-C939-4DAC-45BF-65928CCF393B}"/>
                  </a:ext>
                </a:extLst>
              </p:cNvPr>
              <p:cNvSpPr/>
              <p:nvPr/>
            </p:nvSpPr>
            <p:spPr>
              <a:xfrm>
                <a:off x="7772825" y="5419702"/>
                <a:ext cx="145591" cy="186606"/>
              </a:xfrm>
              <a:custGeom>
                <a:avLst/>
                <a:gdLst>
                  <a:gd name="connsiteX0" fmla="*/ 71869 w 145591"/>
                  <a:gd name="connsiteY0" fmla="*/ 186140 h 186606"/>
                  <a:gd name="connsiteX1" fmla="*/ 63506 w 145591"/>
                  <a:gd name="connsiteY1" fmla="*/ 177777 h 186606"/>
                  <a:gd name="connsiteX2" fmla="*/ 71869 w 145591"/>
                  <a:gd name="connsiteY2" fmla="*/ 169414 h 186606"/>
                  <a:gd name="connsiteX3" fmla="*/ 127622 w 145591"/>
                  <a:gd name="connsiteY3" fmla="*/ 91972 h 186606"/>
                  <a:gd name="connsiteX4" fmla="*/ 111789 w 145591"/>
                  <a:gd name="connsiteY4" fmla="*/ 31926 h 186606"/>
                  <a:gd name="connsiteX5" fmla="*/ 32228 w 145591"/>
                  <a:gd name="connsiteY5" fmla="*/ 31926 h 186606"/>
                  <a:gd name="connsiteX6" fmla="*/ 16395 w 145591"/>
                  <a:gd name="connsiteY6" fmla="*/ 91972 h 186606"/>
                  <a:gd name="connsiteX7" fmla="*/ 25817 w 145591"/>
                  <a:gd name="connsiteY7" fmla="*/ 129494 h 186606"/>
                  <a:gd name="connsiteX8" fmla="*/ 21357 w 145591"/>
                  <a:gd name="connsiteY8" fmla="*/ 140422 h 186606"/>
                  <a:gd name="connsiteX9" fmla="*/ 10540 w 145591"/>
                  <a:gd name="connsiteY9" fmla="*/ 136296 h 186606"/>
                  <a:gd name="connsiteX10" fmla="*/ -276 w 145591"/>
                  <a:gd name="connsiteY10" fmla="*/ 93422 h 186606"/>
                  <a:gd name="connsiteX11" fmla="*/ 19907 w 145591"/>
                  <a:gd name="connsiteY11" fmla="*/ 20942 h 186606"/>
                  <a:gd name="connsiteX12" fmla="*/ 124110 w 145591"/>
                  <a:gd name="connsiteY12" fmla="*/ 20942 h 186606"/>
                  <a:gd name="connsiteX13" fmla="*/ 144237 w 145591"/>
                  <a:gd name="connsiteY13" fmla="*/ 93422 h 186606"/>
                  <a:gd name="connsiteX14" fmla="*/ 71869 w 145591"/>
                  <a:gd name="connsiteY14" fmla="*/ 186140 h 18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91" h="186606">
                    <a:moveTo>
                      <a:pt x="71869" y="186140"/>
                    </a:moveTo>
                    <a:cubicBezTo>
                      <a:pt x="67242" y="186140"/>
                      <a:pt x="63506" y="182404"/>
                      <a:pt x="63506" y="177777"/>
                    </a:cubicBezTo>
                    <a:cubicBezTo>
                      <a:pt x="63506" y="173149"/>
                      <a:pt x="67242" y="169414"/>
                      <a:pt x="71869" y="169414"/>
                    </a:cubicBezTo>
                    <a:cubicBezTo>
                      <a:pt x="92331" y="169414"/>
                      <a:pt x="123051" y="142484"/>
                      <a:pt x="127622" y="91972"/>
                    </a:cubicBezTo>
                    <a:cubicBezTo>
                      <a:pt x="129797" y="66827"/>
                      <a:pt x="124221" y="45474"/>
                      <a:pt x="111789" y="31926"/>
                    </a:cubicBezTo>
                    <a:cubicBezTo>
                      <a:pt x="89543" y="10684"/>
                      <a:pt x="54474" y="10684"/>
                      <a:pt x="32228" y="31926"/>
                    </a:cubicBezTo>
                    <a:cubicBezTo>
                      <a:pt x="19795" y="45474"/>
                      <a:pt x="14220" y="66827"/>
                      <a:pt x="16395" y="91972"/>
                    </a:cubicBezTo>
                    <a:cubicBezTo>
                      <a:pt x="17454" y="104907"/>
                      <a:pt x="20632" y="117563"/>
                      <a:pt x="25817" y="129494"/>
                    </a:cubicBezTo>
                    <a:cubicBezTo>
                      <a:pt x="27601" y="133732"/>
                      <a:pt x="25593" y="138638"/>
                      <a:pt x="21357" y="140422"/>
                    </a:cubicBezTo>
                    <a:cubicBezTo>
                      <a:pt x="17230" y="142206"/>
                      <a:pt x="12436" y="140366"/>
                      <a:pt x="10540" y="136296"/>
                    </a:cubicBezTo>
                    <a:cubicBezTo>
                      <a:pt x="4631" y="122692"/>
                      <a:pt x="951" y="108197"/>
                      <a:pt x="-276" y="93422"/>
                    </a:cubicBezTo>
                    <a:cubicBezTo>
                      <a:pt x="-2897" y="63538"/>
                      <a:pt x="4240" y="37668"/>
                      <a:pt x="19907" y="20942"/>
                    </a:cubicBezTo>
                    <a:cubicBezTo>
                      <a:pt x="48787" y="-7603"/>
                      <a:pt x="95230" y="-7603"/>
                      <a:pt x="124110" y="20942"/>
                    </a:cubicBezTo>
                    <a:cubicBezTo>
                      <a:pt x="139721" y="38003"/>
                      <a:pt x="146913" y="63817"/>
                      <a:pt x="144237" y="93422"/>
                    </a:cubicBezTo>
                    <a:cubicBezTo>
                      <a:pt x="140223" y="138025"/>
                      <a:pt x="111454" y="186140"/>
                      <a:pt x="71869" y="186140"/>
                    </a:cubicBezTo>
                    <a:close/>
                  </a:path>
                </a:pathLst>
              </a:custGeom>
              <a:solidFill>
                <a:srgbClr val="30373B"/>
              </a:solidFill>
              <a:ln w="5573" cap="flat">
                <a:noFill/>
                <a:prstDash val="solid"/>
                <a:miter/>
              </a:ln>
            </p:spPr>
            <p:txBody>
              <a:bodyPr rtlCol="0" anchor="ctr"/>
              <a:lstStyle/>
              <a:p>
                <a:endParaRPr lang="en-GB"/>
              </a:p>
            </p:txBody>
          </p:sp>
          <p:sp>
            <p:nvSpPr>
              <p:cNvPr id="146" name="Graphic 6">
                <a:extLst>
                  <a:ext uri="{FF2B5EF4-FFF2-40B4-BE49-F238E27FC236}">
                    <a16:creationId xmlns:a16="http://schemas.microsoft.com/office/drawing/2014/main" id="{AFC62D7A-80DF-C129-7E1A-8968FB8E0F6B}"/>
                  </a:ext>
                </a:extLst>
              </p:cNvPr>
              <p:cNvSpPr/>
              <p:nvPr/>
            </p:nvSpPr>
            <p:spPr>
              <a:xfrm>
                <a:off x="5239414" y="5623084"/>
                <a:ext cx="64012" cy="416150"/>
              </a:xfrm>
              <a:custGeom>
                <a:avLst/>
                <a:gdLst>
                  <a:gd name="connsiteX0" fmla="*/ 7561 w 64012"/>
                  <a:gd name="connsiteY0" fmla="*/ 415683 h 416150"/>
                  <a:gd name="connsiteX1" fmla="*/ 6558 w 64012"/>
                  <a:gd name="connsiteY1" fmla="*/ 415683 h 416150"/>
                  <a:gd name="connsiteX2" fmla="*/ -752 w 64012"/>
                  <a:gd name="connsiteY2" fmla="*/ 406483 h 416150"/>
                  <a:gd name="connsiteX3" fmla="*/ -746 w 64012"/>
                  <a:gd name="connsiteY3" fmla="*/ 406427 h 416150"/>
                  <a:gd name="connsiteX4" fmla="*/ 46422 w 64012"/>
                  <a:gd name="connsiteY4" fmla="*/ 6954 h 416150"/>
                  <a:gd name="connsiteX5" fmla="*/ 55760 w 64012"/>
                  <a:gd name="connsiteY5" fmla="*/ -405 h 416150"/>
                  <a:gd name="connsiteX6" fmla="*/ 63148 w 64012"/>
                  <a:gd name="connsiteY6" fmla="*/ 8905 h 416150"/>
                  <a:gd name="connsiteX7" fmla="*/ 15980 w 64012"/>
                  <a:gd name="connsiteY7" fmla="*/ 408379 h 416150"/>
                  <a:gd name="connsiteX8" fmla="*/ 7561 w 64012"/>
                  <a:gd name="connsiteY8" fmla="*/ 415683 h 4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12" h="416150">
                    <a:moveTo>
                      <a:pt x="7561" y="415683"/>
                    </a:moveTo>
                    <a:lnTo>
                      <a:pt x="6558" y="415683"/>
                    </a:lnTo>
                    <a:cubicBezTo>
                      <a:pt x="1997" y="415180"/>
                      <a:pt x="-1276" y="411055"/>
                      <a:pt x="-752" y="406483"/>
                    </a:cubicBezTo>
                    <a:cubicBezTo>
                      <a:pt x="-752" y="406483"/>
                      <a:pt x="-746" y="406427"/>
                      <a:pt x="-746" y="406427"/>
                    </a:cubicBezTo>
                    <a:lnTo>
                      <a:pt x="46422" y="6954"/>
                    </a:lnTo>
                    <a:cubicBezTo>
                      <a:pt x="46962" y="2327"/>
                      <a:pt x="51144" y="-963"/>
                      <a:pt x="55760" y="-405"/>
                    </a:cubicBezTo>
                    <a:cubicBezTo>
                      <a:pt x="60377" y="96"/>
                      <a:pt x="63688" y="4278"/>
                      <a:pt x="63148" y="8905"/>
                    </a:cubicBezTo>
                    <a:lnTo>
                      <a:pt x="15980" y="408379"/>
                    </a:lnTo>
                    <a:cubicBezTo>
                      <a:pt x="15440" y="412616"/>
                      <a:pt x="11815" y="415738"/>
                      <a:pt x="7561" y="415683"/>
                    </a:cubicBezTo>
                    <a:close/>
                  </a:path>
                </a:pathLst>
              </a:custGeom>
              <a:solidFill>
                <a:srgbClr val="30373B"/>
              </a:solidFill>
              <a:ln w="5573" cap="flat">
                <a:noFill/>
                <a:prstDash val="solid"/>
                <a:miter/>
              </a:ln>
            </p:spPr>
            <p:txBody>
              <a:bodyPr rtlCol="0" anchor="ctr"/>
              <a:lstStyle/>
              <a:p>
                <a:endParaRPr lang="en-GB"/>
              </a:p>
            </p:txBody>
          </p:sp>
          <p:sp>
            <p:nvSpPr>
              <p:cNvPr id="147" name="Graphic 6">
                <a:extLst>
                  <a:ext uri="{FF2B5EF4-FFF2-40B4-BE49-F238E27FC236}">
                    <a16:creationId xmlns:a16="http://schemas.microsoft.com/office/drawing/2014/main" id="{A152EACF-9EAB-FAE0-D5E5-9B760435190C}"/>
                  </a:ext>
                </a:extLst>
              </p:cNvPr>
              <p:cNvSpPr/>
              <p:nvPr/>
            </p:nvSpPr>
            <p:spPr>
              <a:xfrm>
                <a:off x="5438052" y="5485927"/>
                <a:ext cx="46961" cy="551856"/>
              </a:xfrm>
              <a:custGeom>
                <a:avLst/>
                <a:gdLst>
                  <a:gd name="connsiteX0" fmla="*/ 7573 w 46961"/>
                  <a:gd name="connsiteY0" fmla="*/ 551390 h 551856"/>
                  <a:gd name="connsiteX1" fmla="*/ 6960 w 46961"/>
                  <a:gd name="connsiteY1" fmla="*/ 551390 h 551856"/>
                  <a:gd name="connsiteX2" fmla="*/ -790 w 46961"/>
                  <a:gd name="connsiteY2" fmla="*/ 542414 h 551856"/>
                  <a:gd name="connsiteX3" fmla="*/ 29429 w 46961"/>
                  <a:gd name="connsiteY3" fmla="*/ 122089 h 551856"/>
                  <a:gd name="connsiteX4" fmla="*/ 24411 w 46961"/>
                  <a:gd name="connsiteY4" fmla="*/ 8296 h 551856"/>
                  <a:gd name="connsiteX5" fmla="*/ 32384 w 46961"/>
                  <a:gd name="connsiteY5" fmla="*/ -457 h 551856"/>
                  <a:gd name="connsiteX6" fmla="*/ 41137 w 46961"/>
                  <a:gd name="connsiteY6" fmla="*/ 7515 h 551856"/>
                  <a:gd name="connsiteX7" fmla="*/ 46155 w 46961"/>
                  <a:gd name="connsiteY7" fmla="*/ 121810 h 551856"/>
                  <a:gd name="connsiteX8" fmla="*/ 46155 w 46961"/>
                  <a:gd name="connsiteY8" fmla="*/ 122758 h 551856"/>
                  <a:gd name="connsiteX9" fmla="*/ 15936 w 46961"/>
                  <a:gd name="connsiteY9" fmla="*/ 543640 h 551856"/>
                  <a:gd name="connsiteX10" fmla="*/ 7573 w 46961"/>
                  <a:gd name="connsiteY10" fmla="*/ 551390 h 55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961" h="551856">
                    <a:moveTo>
                      <a:pt x="7573" y="551390"/>
                    </a:moveTo>
                    <a:lnTo>
                      <a:pt x="6960" y="551390"/>
                    </a:lnTo>
                    <a:cubicBezTo>
                      <a:pt x="2366" y="551000"/>
                      <a:pt x="-1080" y="547041"/>
                      <a:pt x="-790" y="542414"/>
                    </a:cubicBezTo>
                    <a:lnTo>
                      <a:pt x="29429" y="122089"/>
                    </a:lnTo>
                    <a:lnTo>
                      <a:pt x="24411" y="8296"/>
                    </a:lnTo>
                    <a:cubicBezTo>
                      <a:pt x="24194" y="3669"/>
                      <a:pt x="27767" y="-234"/>
                      <a:pt x="32384" y="-457"/>
                    </a:cubicBezTo>
                    <a:cubicBezTo>
                      <a:pt x="37000" y="-680"/>
                      <a:pt x="40920" y="2888"/>
                      <a:pt x="41137" y="7515"/>
                    </a:cubicBezTo>
                    <a:lnTo>
                      <a:pt x="46155" y="121810"/>
                    </a:lnTo>
                    <a:lnTo>
                      <a:pt x="46155" y="122758"/>
                    </a:lnTo>
                    <a:lnTo>
                      <a:pt x="15936" y="543640"/>
                    </a:lnTo>
                    <a:cubicBezTo>
                      <a:pt x="15613" y="548044"/>
                      <a:pt x="11961" y="551390"/>
                      <a:pt x="7573" y="551390"/>
                    </a:cubicBezTo>
                    <a:close/>
                  </a:path>
                </a:pathLst>
              </a:custGeom>
              <a:solidFill>
                <a:srgbClr val="30373B"/>
              </a:solidFill>
              <a:ln w="5573" cap="flat">
                <a:noFill/>
                <a:prstDash val="solid"/>
                <a:miter/>
              </a:ln>
            </p:spPr>
            <p:txBody>
              <a:bodyPr rtlCol="0" anchor="ctr"/>
              <a:lstStyle/>
              <a:p>
                <a:endParaRPr lang="en-GB"/>
              </a:p>
            </p:txBody>
          </p:sp>
          <p:sp>
            <p:nvSpPr>
              <p:cNvPr id="148" name="Graphic 6">
                <a:extLst>
                  <a:ext uri="{FF2B5EF4-FFF2-40B4-BE49-F238E27FC236}">
                    <a16:creationId xmlns:a16="http://schemas.microsoft.com/office/drawing/2014/main" id="{ACEA9D10-A952-4615-9E48-43E3C94883C8}"/>
                  </a:ext>
                </a:extLst>
              </p:cNvPr>
              <p:cNvSpPr/>
              <p:nvPr/>
            </p:nvSpPr>
            <p:spPr>
              <a:xfrm>
                <a:off x="5292744" y="5682686"/>
                <a:ext cx="102283" cy="356589"/>
              </a:xfrm>
              <a:custGeom>
                <a:avLst/>
                <a:gdLst>
                  <a:gd name="connsiteX0" fmla="*/ 7532 w 102283"/>
                  <a:gd name="connsiteY0" fmla="*/ 356081 h 356589"/>
                  <a:gd name="connsiteX1" fmla="*/ 5525 w 102283"/>
                  <a:gd name="connsiteY1" fmla="*/ 356081 h 356589"/>
                  <a:gd name="connsiteX2" fmla="*/ -552 w 102283"/>
                  <a:gd name="connsiteY2" fmla="*/ 345934 h 356589"/>
                  <a:gd name="connsiteX3" fmla="*/ -552 w 102283"/>
                  <a:gd name="connsiteY3" fmla="*/ 345934 h 356589"/>
                  <a:gd name="connsiteX4" fmla="*/ 84973 w 102283"/>
                  <a:gd name="connsiteY4" fmla="*/ 5838 h 356589"/>
                  <a:gd name="connsiteX5" fmla="*/ 94117 w 102283"/>
                  <a:gd name="connsiteY5" fmla="*/ -407 h 356589"/>
                  <a:gd name="connsiteX6" fmla="*/ 101476 w 102283"/>
                  <a:gd name="connsiteY6" fmla="*/ 7901 h 356589"/>
                  <a:gd name="connsiteX7" fmla="*/ 101476 w 102283"/>
                  <a:gd name="connsiteY7" fmla="*/ 347662 h 356589"/>
                  <a:gd name="connsiteX8" fmla="*/ 93113 w 102283"/>
                  <a:gd name="connsiteY8" fmla="*/ 356025 h 356589"/>
                  <a:gd name="connsiteX9" fmla="*/ 84750 w 102283"/>
                  <a:gd name="connsiteY9" fmla="*/ 347662 h 356589"/>
                  <a:gd name="connsiteX10" fmla="*/ 84750 w 102283"/>
                  <a:gd name="connsiteY10" fmla="*/ 75362 h 356589"/>
                  <a:gd name="connsiteX11" fmla="*/ 15672 w 102283"/>
                  <a:gd name="connsiteY11" fmla="*/ 349725 h 356589"/>
                  <a:gd name="connsiteX12" fmla="*/ 7532 w 102283"/>
                  <a:gd name="connsiteY12" fmla="*/ 356081 h 35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83" h="356589">
                    <a:moveTo>
                      <a:pt x="7532" y="356081"/>
                    </a:moveTo>
                    <a:cubicBezTo>
                      <a:pt x="6863" y="356137"/>
                      <a:pt x="6194" y="356137"/>
                      <a:pt x="5525" y="356081"/>
                    </a:cubicBezTo>
                    <a:cubicBezTo>
                      <a:pt x="1042" y="354966"/>
                      <a:pt x="-1678" y="350394"/>
                      <a:pt x="-552" y="345934"/>
                    </a:cubicBezTo>
                    <a:cubicBezTo>
                      <a:pt x="-552" y="345934"/>
                      <a:pt x="-552" y="345934"/>
                      <a:pt x="-552" y="345934"/>
                    </a:cubicBezTo>
                    <a:lnTo>
                      <a:pt x="84973" y="5838"/>
                    </a:lnTo>
                    <a:cubicBezTo>
                      <a:pt x="86033" y="1768"/>
                      <a:pt x="89936" y="-908"/>
                      <a:pt x="94117" y="-407"/>
                    </a:cubicBezTo>
                    <a:cubicBezTo>
                      <a:pt x="98332" y="95"/>
                      <a:pt x="101504" y="3663"/>
                      <a:pt x="101476" y="7901"/>
                    </a:cubicBezTo>
                    <a:lnTo>
                      <a:pt x="101476" y="347662"/>
                    </a:lnTo>
                    <a:cubicBezTo>
                      <a:pt x="101476" y="352290"/>
                      <a:pt x="97730" y="356025"/>
                      <a:pt x="93113" y="356025"/>
                    </a:cubicBezTo>
                    <a:cubicBezTo>
                      <a:pt x="88497" y="356025"/>
                      <a:pt x="84750" y="352290"/>
                      <a:pt x="84750" y="347662"/>
                    </a:cubicBezTo>
                    <a:lnTo>
                      <a:pt x="84750" y="75362"/>
                    </a:lnTo>
                    <a:lnTo>
                      <a:pt x="15672" y="349725"/>
                    </a:lnTo>
                    <a:cubicBezTo>
                      <a:pt x="14746" y="353460"/>
                      <a:pt x="11384" y="356081"/>
                      <a:pt x="7532" y="356081"/>
                    </a:cubicBezTo>
                    <a:close/>
                  </a:path>
                </a:pathLst>
              </a:custGeom>
              <a:solidFill>
                <a:srgbClr val="30373B"/>
              </a:solidFill>
              <a:ln w="5573" cap="flat">
                <a:noFill/>
                <a:prstDash val="solid"/>
                <a:miter/>
              </a:ln>
            </p:spPr>
            <p:txBody>
              <a:bodyPr rtlCol="0" anchor="ctr"/>
              <a:lstStyle/>
              <a:p>
                <a:endParaRPr lang="en-GB"/>
              </a:p>
            </p:txBody>
          </p:sp>
          <p:sp>
            <p:nvSpPr>
              <p:cNvPr id="149" name="Graphic 6">
                <a:extLst>
                  <a:ext uri="{FF2B5EF4-FFF2-40B4-BE49-F238E27FC236}">
                    <a16:creationId xmlns:a16="http://schemas.microsoft.com/office/drawing/2014/main" id="{DD820316-7EB2-0F60-46A9-04D1C3160273}"/>
                  </a:ext>
                </a:extLst>
              </p:cNvPr>
              <p:cNvSpPr/>
              <p:nvPr/>
            </p:nvSpPr>
            <p:spPr>
              <a:xfrm>
                <a:off x="5342665" y="5197150"/>
                <a:ext cx="155283" cy="171258"/>
              </a:xfrm>
              <a:custGeom>
                <a:avLst/>
                <a:gdLst>
                  <a:gd name="connsiteX0" fmla="*/ 51110 w 155283"/>
                  <a:gd name="connsiteY0" fmla="*/ 170792 h 171258"/>
                  <a:gd name="connsiteX1" fmla="*/ 44754 w 155283"/>
                  <a:gd name="connsiteY1" fmla="*/ 170458 h 171258"/>
                  <a:gd name="connsiteX2" fmla="*/ 37255 w 155283"/>
                  <a:gd name="connsiteY2" fmla="*/ 161202 h 171258"/>
                  <a:gd name="connsiteX3" fmla="*/ 46482 w 155283"/>
                  <a:gd name="connsiteY3" fmla="*/ 153731 h 171258"/>
                  <a:gd name="connsiteX4" fmla="*/ 117791 w 155283"/>
                  <a:gd name="connsiteY4" fmla="*/ 116600 h 171258"/>
                  <a:gd name="connsiteX5" fmla="*/ 137528 w 155283"/>
                  <a:gd name="connsiteY5" fmla="*/ 59954 h 171258"/>
                  <a:gd name="connsiteX6" fmla="*/ 73857 w 155283"/>
                  <a:gd name="connsiteY6" fmla="*/ 17024 h 171258"/>
                  <a:gd name="connsiteX7" fmla="*/ 28809 w 155283"/>
                  <a:gd name="connsiteY7" fmla="*/ 56609 h 171258"/>
                  <a:gd name="connsiteX8" fmla="*/ 16041 w 155283"/>
                  <a:gd name="connsiteY8" fmla="*/ 91789 h 171258"/>
                  <a:gd name="connsiteX9" fmla="*/ 6256 w 155283"/>
                  <a:gd name="connsiteY9" fmla="*/ 98703 h 171258"/>
                  <a:gd name="connsiteX10" fmla="*/ -685 w 155283"/>
                  <a:gd name="connsiteY10" fmla="*/ 88946 h 171258"/>
                  <a:gd name="connsiteX11" fmla="*/ 13867 w 155283"/>
                  <a:gd name="connsiteY11" fmla="*/ 48525 h 171258"/>
                  <a:gd name="connsiteX12" fmla="*/ 69620 w 155283"/>
                  <a:gd name="connsiteY12" fmla="*/ 800 h 171258"/>
                  <a:gd name="connsiteX13" fmla="*/ 153752 w 155283"/>
                  <a:gd name="connsiteY13" fmla="*/ 57501 h 171258"/>
                  <a:gd name="connsiteX14" fmla="*/ 130447 w 155283"/>
                  <a:gd name="connsiteY14" fmla="*/ 127137 h 171258"/>
                  <a:gd name="connsiteX15" fmla="*/ 51110 w 155283"/>
                  <a:gd name="connsiteY15" fmla="*/ 170792 h 17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283" h="171258">
                    <a:moveTo>
                      <a:pt x="51110" y="170792"/>
                    </a:moveTo>
                    <a:cubicBezTo>
                      <a:pt x="48986" y="170792"/>
                      <a:pt x="46867" y="170680"/>
                      <a:pt x="44754" y="170458"/>
                    </a:cubicBezTo>
                    <a:cubicBezTo>
                      <a:pt x="40138" y="169955"/>
                      <a:pt x="36776" y="165830"/>
                      <a:pt x="37255" y="161202"/>
                    </a:cubicBezTo>
                    <a:cubicBezTo>
                      <a:pt x="37735" y="156631"/>
                      <a:pt x="41866" y="153230"/>
                      <a:pt x="46482" y="153731"/>
                    </a:cubicBezTo>
                    <a:cubicBezTo>
                      <a:pt x="64045" y="155515"/>
                      <a:pt x="93260" y="146874"/>
                      <a:pt x="117791" y="116600"/>
                    </a:cubicBezTo>
                    <a:cubicBezTo>
                      <a:pt x="133123" y="97643"/>
                      <a:pt x="140092" y="77572"/>
                      <a:pt x="137528" y="59954"/>
                    </a:cubicBezTo>
                    <a:cubicBezTo>
                      <a:pt x="131111" y="30963"/>
                      <a:pt x="103122" y="12107"/>
                      <a:pt x="73857" y="17024"/>
                    </a:cubicBezTo>
                    <a:cubicBezTo>
                      <a:pt x="56630" y="21206"/>
                      <a:pt x="40405" y="35255"/>
                      <a:pt x="28809" y="56609"/>
                    </a:cubicBezTo>
                    <a:cubicBezTo>
                      <a:pt x="22648" y="67537"/>
                      <a:pt x="18332" y="79468"/>
                      <a:pt x="16041" y="91789"/>
                    </a:cubicBezTo>
                    <a:cubicBezTo>
                      <a:pt x="15255" y="96417"/>
                      <a:pt x="10873" y="99539"/>
                      <a:pt x="6256" y="98703"/>
                    </a:cubicBezTo>
                    <a:cubicBezTo>
                      <a:pt x="1640" y="97922"/>
                      <a:pt x="-1471" y="93573"/>
                      <a:pt x="-685" y="88946"/>
                    </a:cubicBezTo>
                    <a:cubicBezTo>
                      <a:pt x="1908" y="74785"/>
                      <a:pt x="6819" y="61125"/>
                      <a:pt x="13867" y="48525"/>
                    </a:cubicBezTo>
                    <a:cubicBezTo>
                      <a:pt x="27972" y="22989"/>
                      <a:pt x="47765" y="6041"/>
                      <a:pt x="69620" y="800"/>
                    </a:cubicBezTo>
                    <a:cubicBezTo>
                      <a:pt x="108463" y="-6537"/>
                      <a:pt x="145980" y="18741"/>
                      <a:pt x="153752" y="57501"/>
                    </a:cubicBezTo>
                    <a:cubicBezTo>
                      <a:pt x="157097" y="79802"/>
                      <a:pt x="148790" y="104445"/>
                      <a:pt x="130447" y="127137"/>
                    </a:cubicBezTo>
                    <a:cubicBezTo>
                      <a:pt x="104633" y="159474"/>
                      <a:pt x="73634" y="170792"/>
                      <a:pt x="51110" y="170792"/>
                    </a:cubicBezTo>
                    <a:close/>
                  </a:path>
                </a:pathLst>
              </a:custGeom>
              <a:solidFill>
                <a:srgbClr val="30373B"/>
              </a:solidFill>
              <a:ln w="5573" cap="flat">
                <a:noFill/>
                <a:prstDash val="solid"/>
                <a:miter/>
              </a:ln>
            </p:spPr>
            <p:txBody>
              <a:bodyPr rtlCol="0" anchor="ctr"/>
              <a:lstStyle/>
              <a:p>
                <a:endParaRPr lang="en-GB"/>
              </a:p>
            </p:txBody>
          </p:sp>
          <p:sp>
            <p:nvSpPr>
              <p:cNvPr id="150" name="Graphic 6">
                <a:extLst>
                  <a:ext uri="{FF2B5EF4-FFF2-40B4-BE49-F238E27FC236}">
                    <a16:creationId xmlns:a16="http://schemas.microsoft.com/office/drawing/2014/main" id="{A98354E0-1BCA-1AA0-18A8-7D509B8A2B50}"/>
                  </a:ext>
                </a:extLst>
              </p:cNvPr>
              <p:cNvSpPr/>
              <p:nvPr/>
            </p:nvSpPr>
            <p:spPr>
              <a:xfrm>
                <a:off x="5254811" y="5227363"/>
                <a:ext cx="332633" cy="392326"/>
              </a:xfrm>
              <a:custGeom>
                <a:avLst/>
                <a:gdLst>
                  <a:gd name="connsiteX0" fmla="*/ 134670 w 332633"/>
                  <a:gd name="connsiteY0" fmla="*/ 391860 h 392326"/>
                  <a:gd name="connsiteX1" fmla="*/ 47806 w 332633"/>
                  <a:gd name="connsiteY1" fmla="*/ 365153 h 392326"/>
                  <a:gd name="connsiteX2" fmla="*/ -532 w 332633"/>
                  <a:gd name="connsiteY2" fmla="*/ 214619 h 392326"/>
                  <a:gd name="connsiteX3" fmla="*/ 19930 w 332633"/>
                  <a:gd name="connsiteY3" fmla="*/ 144760 h 392326"/>
                  <a:gd name="connsiteX4" fmla="*/ 100717 w 332633"/>
                  <a:gd name="connsiteY4" fmla="*/ 120954 h 392326"/>
                  <a:gd name="connsiteX5" fmla="*/ 179384 w 332633"/>
                  <a:gd name="connsiteY5" fmla="*/ 127532 h 392326"/>
                  <a:gd name="connsiteX6" fmla="*/ 239486 w 332633"/>
                  <a:gd name="connsiteY6" fmla="*/ 169347 h 392326"/>
                  <a:gd name="connsiteX7" fmla="*/ 297024 w 332633"/>
                  <a:gd name="connsiteY7" fmla="*/ 189530 h 392326"/>
                  <a:gd name="connsiteX8" fmla="*/ 315032 w 332633"/>
                  <a:gd name="connsiteY8" fmla="*/ 157081 h 392326"/>
                  <a:gd name="connsiteX9" fmla="*/ 262234 w 332633"/>
                  <a:gd name="connsiteY9" fmla="*/ 71166 h 392326"/>
                  <a:gd name="connsiteX10" fmla="*/ 218300 w 332633"/>
                  <a:gd name="connsiteY10" fmla="*/ 10673 h 392326"/>
                  <a:gd name="connsiteX11" fmla="*/ 223413 w 332633"/>
                  <a:gd name="connsiteY11" fmla="*/ 24 h 392326"/>
                  <a:gd name="connsiteX12" fmla="*/ 234079 w 332633"/>
                  <a:gd name="connsiteY12" fmla="*/ 5098 h 392326"/>
                  <a:gd name="connsiteX13" fmla="*/ 234357 w 332633"/>
                  <a:gd name="connsiteY13" fmla="*/ 6101 h 392326"/>
                  <a:gd name="connsiteX14" fmla="*/ 274500 w 332633"/>
                  <a:gd name="connsiteY14" fmla="*/ 59792 h 392326"/>
                  <a:gd name="connsiteX15" fmla="*/ 331758 w 332633"/>
                  <a:gd name="connsiteY15" fmla="*/ 157974 h 392326"/>
                  <a:gd name="connsiteX16" fmla="*/ 308063 w 332633"/>
                  <a:gd name="connsiteY16" fmla="*/ 202075 h 392326"/>
                  <a:gd name="connsiteX17" fmla="*/ 227054 w 332633"/>
                  <a:gd name="connsiteY17" fmla="*/ 180610 h 392326"/>
                  <a:gd name="connsiteX18" fmla="*/ 177489 w 332633"/>
                  <a:gd name="connsiteY18" fmla="*/ 144147 h 392326"/>
                  <a:gd name="connsiteX19" fmla="*/ 99713 w 332633"/>
                  <a:gd name="connsiteY19" fmla="*/ 137679 h 392326"/>
                  <a:gd name="connsiteX20" fmla="*/ 31917 w 332633"/>
                  <a:gd name="connsiteY20" fmla="*/ 156468 h 392326"/>
                  <a:gd name="connsiteX21" fmla="*/ 16194 w 332633"/>
                  <a:gd name="connsiteY21" fmla="*/ 213671 h 392326"/>
                  <a:gd name="connsiteX22" fmla="*/ 58846 w 332633"/>
                  <a:gd name="connsiteY22" fmla="*/ 352441 h 392326"/>
                  <a:gd name="connsiteX23" fmla="*/ 153626 w 332633"/>
                  <a:gd name="connsiteY23" fmla="*/ 374353 h 392326"/>
                  <a:gd name="connsiteX24" fmla="*/ 162575 w 332633"/>
                  <a:gd name="connsiteY24" fmla="*/ 382158 h 392326"/>
                  <a:gd name="connsiteX25" fmla="*/ 154797 w 332633"/>
                  <a:gd name="connsiteY25" fmla="*/ 391079 h 392326"/>
                  <a:gd name="connsiteX26" fmla="*/ 134670 w 332633"/>
                  <a:gd name="connsiteY26" fmla="*/ 391860 h 39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2633" h="392326">
                    <a:moveTo>
                      <a:pt x="134670" y="391860"/>
                    </a:moveTo>
                    <a:cubicBezTo>
                      <a:pt x="96200" y="391860"/>
                      <a:pt x="68323" y="383217"/>
                      <a:pt x="47806" y="365153"/>
                    </a:cubicBezTo>
                    <a:cubicBezTo>
                      <a:pt x="18647" y="339451"/>
                      <a:pt x="4152" y="294458"/>
                      <a:pt x="-532" y="214619"/>
                    </a:cubicBezTo>
                    <a:cubicBezTo>
                      <a:pt x="-2316" y="183955"/>
                      <a:pt x="4597" y="160427"/>
                      <a:pt x="19930" y="144760"/>
                    </a:cubicBezTo>
                    <a:cubicBezTo>
                      <a:pt x="36656" y="127588"/>
                      <a:pt x="63975" y="119560"/>
                      <a:pt x="100717" y="120954"/>
                    </a:cubicBezTo>
                    <a:lnTo>
                      <a:pt x="179384" y="127532"/>
                    </a:lnTo>
                    <a:cubicBezTo>
                      <a:pt x="204864" y="131212"/>
                      <a:pt x="223262" y="151451"/>
                      <a:pt x="239486" y="169347"/>
                    </a:cubicBezTo>
                    <a:cubicBezTo>
                      <a:pt x="265412" y="197949"/>
                      <a:pt x="277064" y="207093"/>
                      <a:pt x="297024" y="189530"/>
                    </a:cubicBezTo>
                    <a:cubicBezTo>
                      <a:pt x="308565" y="179328"/>
                      <a:pt x="314475" y="168734"/>
                      <a:pt x="315032" y="157081"/>
                    </a:cubicBezTo>
                    <a:cubicBezTo>
                      <a:pt x="316426" y="129651"/>
                      <a:pt x="287658" y="98596"/>
                      <a:pt x="262234" y="71166"/>
                    </a:cubicBezTo>
                    <a:cubicBezTo>
                      <a:pt x="242386" y="49701"/>
                      <a:pt x="223653" y="29462"/>
                      <a:pt x="218300" y="10673"/>
                    </a:cubicBezTo>
                    <a:cubicBezTo>
                      <a:pt x="216767" y="6325"/>
                      <a:pt x="219058" y="1530"/>
                      <a:pt x="223413" y="24"/>
                    </a:cubicBezTo>
                    <a:cubicBezTo>
                      <a:pt x="227773" y="-1537"/>
                      <a:pt x="232545" y="749"/>
                      <a:pt x="234079" y="5098"/>
                    </a:cubicBezTo>
                    <a:cubicBezTo>
                      <a:pt x="234190" y="5432"/>
                      <a:pt x="234285" y="5767"/>
                      <a:pt x="234357" y="6101"/>
                    </a:cubicBezTo>
                    <a:cubicBezTo>
                      <a:pt x="238650" y="21043"/>
                      <a:pt x="256045" y="39888"/>
                      <a:pt x="274500" y="59792"/>
                    </a:cubicBezTo>
                    <a:cubicBezTo>
                      <a:pt x="302377" y="89620"/>
                      <a:pt x="333487" y="123462"/>
                      <a:pt x="331758" y="157974"/>
                    </a:cubicBezTo>
                    <a:cubicBezTo>
                      <a:pt x="330922" y="174086"/>
                      <a:pt x="322950" y="188917"/>
                      <a:pt x="308063" y="202075"/>
                    </a:cubicBezTo>
                    <a:cubicBezTo>
                      <a:pt x="273887" y="232237"/>
                      <a:pt x="247905" y="203580"/>
                      <a:pt x="227054" y="180610"/>
                    </a:cubicBezTo>
                    <a:cubicBezTo>
                      <a:pt x="212056" y="163884"/>
                      <a:pt x="196501" y="147158"/>
                      <a:pt x="177489" y="144147"/>
                    </a:cubicBezTo>
                    <a:lnTo>
                      <a:pt x="99713" y="137679"/>
                    </a:lnTo>
                    <a:cubicBezTo>
                      <a:pt x="68156" y="136453"/>
                      <a:pt x="45298" y="142809"/>
                      <a:pt x="31917" y="156468"/>
                    </a:cubicBezTo>
                    <a:cubicBezTo>
                      <a:pt x="19762" y="168790"/>
                      <a:pt x="14633" y="187523"/>
                      <a:pt x="16194" y="213671"/>
                    </a:cubicBezTo>
                    <a:cubicBezTo>
                      <a:pt x="20599" y="288492"/>
                      <a:pt x="33366" y="330029"/>
                      <a:pt x="58846" y="352441"/>
                    </a:cubicBezTo>
                    <a:cubicBezTo>
                      <a:pt x="79251" y="370394"/>
                      <a:pt x="109414" y="377363"/>
                      <a:pt x="153626" y="374353"/>
                    </a:cubicBezTo>
                    <a:cubicBezTo>
                      <a:pt x="158243" y="374018"/>
                      <a:pt x="162251" y="377531"/>
                      <a:pt x="162575" y="382158"/>
                    </a:cubicBezTo>
                    <a:cubicBezTo>
                      <a:pt x="162898" y="386730"/>
                      <a:pt x="159413" y="390744"/>
                      <a:pt x="154797" y="391079"/>
                    </a:cubicBezTo>
                    <a:cubicBezTo>
                      <a:pt x="147884" y="391636"/>
                      <a:pt x="140970" y="391860"/>
                      <a:pt x="134670" y="391860"/>
                    </a:cubicBezTo>
                    <a:close/>
                  </a:path>
                </a:pathLst>
              </a:custGeom>
              <a:solidFill>
                <a:srgbClr val="30373B"/>
              </a:solidFill>
              <a:ln w="5573" cap="flat">
                <a:noFill/>
                <a:prstDash val="solid"/>
                <a:miter/>
              </a:ln>
            </p:spPr>
            <p:txBody>
              <a:bodyPr rtlCol="0" anchor="ctr"/>
              <a:lstStyle/>
              <a:p>
                <a:endParaRPr lang="en-GB"/>
              </a:p>
            </p:txBody>
          </p:sp>
          <p:sp>
            <p:nvSpPr>
              <p:cNvPr id="151" name="Graphic 6">
                <a:extLst>
                  <a:ext uri="{FF2B5EF4-FFF2-40B4-BE49-F238E27FC236}">
                    <a16:creationId xmlns:a16="http://schemas.microsoft.com/office/drawing/2014/main" id="{D42D43AE-3699-3F60-646C-91A9B4E39A6B}"/>
                  </a:ext>
                </a:extLst>
              </p:cNvPr>
              <p:cNvSpPr/>
              <p:nvPr/>
            </p:nvSpPr>
            <p:spPr>
              <a:xfrm>
                <a:off x="7553074" y="3241807"/>
                <a:ext cx="1224846" cy="352027"/>
              </a:xfrm>
              <a:custGeom>
                <a:avLst/>
                <a:gdLst>
                  <a:gd name="connsiteX0" fmla="*/ 1153066 w 1224846"/>
                  <a:gd name="connsiteY0" fmla="*/ 351560 h 352027"/>
                  <a:gd name="connsiteX1" fmla="*/ 7556 w 1224846"/>
                  <a:gd name="connsiteY1" fmla="*/ 351560 h 352027"/>
                  <a:gd name="connsiteX2" fmla="*/ -807 w 1224846"/>
                  <a:gd name="connsiteY2" fmla="*/ 343197 h 352027"/>
                  <a:gd name="connsiteX3" fmla="*/ 7556 w 1224846"/>
                  <a:gd name="connsiteY3" fmla="*/ 334834 h 352027"/>
                  <a:gd name="connsiteX4" fmla="*/ 1153066 w 1224846"/>
                  <a:gd name="connsiteY4" fmla="*/ 334834 h 352027"/>
                  <a:gd name="connsiteX5" fmla="*/ 1207314 w 1224846"/>
                  <a:gd name="connsiteY5" fmla="*/ 280586 h 352027"/>
                  <a:gd name="connsiteX6" fmla="*/ 1207314 w 1224846"/>
                  <a:gd name="connsiteY6" fmla="*/ 7896 h 352027"/>
                  <a:gd name="connsiteX7" fmla="*/ 1215677 w 1224846"/>
                  <a:gd name="connsiteY7" fmla="*/ -467 h 352027"/>
                  <a:gd name="connsiteX8" fmla="*/ 1224040 w 1224846"/>
                  <a:gd name="connsiteY8" fmla="*/ 7896 h 352027"/>
                  <a:gd name="connsiteX9" fmla="*/ 1224040 w 1224846"/>
                  <a:gd name="connsiteY9" fmla="*/ 280586 h 352027"/>
                  <a:gd name="connsiteX10" fmla="*/ 1153066 w 1224846"/>
                  <a:gd name="connsiteY10" fmla="*/ 351560 h 35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846" h="352027">
                    <a:moveTo>
                      <a:pt x="1153066" y="351560"/>
                    </a:moveTo>
                    <a:lnTo>
                      <a:pt x="7556" y="351560"/>
                    </a:lnTo>
                    <a:cubicBezTo>
                      <a:pt x="2928" y="351560"/>
                      <a:pt x="-807" y="347814"/>
                      <a:pt x="-807" y="343197"/>
                    </a:cubicBezTo>
                    <a:cubicBezTo>
                      <a:pt x="-807" y="338581"/>
                      <a:pt x="2928" y="334834"/>
                      <a:pt x="7556" y="334834"/>
                    </a:cubicBezTo>
                    <a:lnTo>
                      <a:pt x="1153066" y="334834"/>
                    </a:lnTo>
                    <a:cubicBezTo>
                      <a:pt x="1183005" y="334834"/>
                      <a:pt x="1207314" y="310548"/>
                      <a:pt x="1207314" y="280586"/>
                    </a:cubicBezTo>
                    <a:lnTo>
                      <a:pt x="1207314" y="7896"/>
                    </a:lnTo>
                    <a:cubicBezTo>
                      <a:pt x="1207314" y="3280"/>
                      <a:pt x="1211049" y="-467"/>
                      <a:pt x="1215677" y="-467"/>
                    </a:cubicBezTo>
                    <a:cubicBezTo>
                      <a:pt x="1220305" y="-467"/>
                      <a:pt x="1224040" y="3280"/>
                      <a:pt x="1224040" y="7896"/>
                    </a:cubicBezTo>
                    <a:lnTo>
                      <a:pt x="1224040" y="280586"/>
                    </a:lnTo>
                    <a:cubicBezTo>
                      <a:pt x="1223984" y="319770"/>
                      <a:pt x="1192260" y="351532"/>
                      <a:pt x="1153066" y="351560"/>
                    </a:cubicBezTo>
                    <a:close/>
                  </a:path>
                </a:pathLst>
              </a:custGeom>
              <a:solidFill>
                <a:srgbClr val="30373B"/>
              </a:solidFill>
              <a:ln w="5573" cap="flat">
                <a:noFill/>
                <a:prstDash val="solid"/>
                <a:miter/>
              </a:ln>
            </p:spPr>
            <p:txBody>
              <a:bodyPr rtlCol="0" anchor="ctr"/>
              <a:lstStyle/>
              <a:p>
                <a:endParaRPr lang="en-GB"/>
              </a:p>
            </p:txBody>
          </p:sp>
          <p:sp>
            <p:nvSpPr>
              <p:cNvPr id="152" name="Graphic 6">
                <a:extLst>
                  <a:ext uri="{FF2B5EF4-FFF2-40B4-BE49-F238E27FC236}">
                    <a16:creationId xmlns:a16="http://schemas.microsoft.com/office/drawing/2014/main" id="{4A892AE8-7CA1-758E-2ACB-783A93AE8B2B}"/>
                  </a:ext>
                </a:extLst>
              </p:cNvPr>
              <p:cNvSpPr/>
              <p:nvPr/>
            </p:nvSpPr>
            <p:spPr>
              <a:xfrm>
                <a:off x="7553074" y="3106326"/>
                <a:ext cx="1224567" cy="329614"/>
              </a:xfrm>
              <a:custGeom>
                <a:avLst/>
                <a:gdLst>
                  <a:gd name="connsiteX0" fmla="*/ 7556 w 1224567"/>
                  <a:gd name="connsiteY0" fmla="*/ 329147 h 329614"/>
                  <a:gd name="connsiteX1" fmla="*/ -807 w 1224567"/>
                  <a:gd name="connsiteY1" fmla="*/ 320784 h 329614"/>
                  <a:gd name="connsiteX2" fmla="*/ -807 w 1224567"/>
                  <a:gd name="connsiteY2" fmla="*/ 61419 h 329614"/>
                  <a:gd name="connsiteX3" fmla="*/ 61303 w 1224567"/>
                  <a:gd name="connsiteY3" fmla="*/ -467 h 329614"/>
                  <a:gd name="connsiteX4" fmla="*/ 1215398 w 1224567"/>
                  <a:gd name="connsiteY4" fmla="*/ -467 h 329614"/>
                  <a:gd name="connsiteX5" fmla="*/ 1223761 w 1224567"/>
                  <a:gd name="connsiteY5" fmla="*/ 7896 h 329614"/>
                  <a:gd name="connsiteX6" fmla="*/ 1215398 w 1224567"/>
                  <a:gd name="connsiteY6" fmla="*/ 16259 h 329614"/>
                  <a:gd name="connsiteX7" fmla="*/ 61303 w 1224567"/>
                  <a:gd name="connsiteY7" fmla="*/ 16259 h 329614"/>
                  <a:gd name="connsiteX8" fmla="*/ 15919 w 1224567"/>
                  <a:gd name="connsiteY8" fmla="*/ 61643 h 329614"/>
                  <a:gd name="connsiteX9" fmla="*/ 15919 w 1224567"/>
                  <a:gd name="connsiteY9" fmla="*/ 321007 h 329614"/>
                  <a:gd name="connsiteX10" fmla="*/ 7556 w 1224567"/>
                  <a:gd name="connsiteY10" fmla="*/ 329147 h 32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67" h="329614">
                    <a:moveTo>
                      <a:pt x="7556" y="329147"/>
                    </a:moveTo>
                    <a:cubicBezTo>
                      <a:pt x="2928" y="329147"/>
                      <a:pt x="-807" y="325401"/>
                      <a:pt x="-807" y="320784"/>
                    </a:cubicBezTo>
                    <a:lnTo>
                      <a:pt x="-807" y="61419"/>
                    </a:lnTo>
                    <a:cubicBezTo>
                      <a:pt x="-640" y="27232"/>
                      <a:pt x="27126" y="-406"/>
                      <a:pt x="61303" y="-467"/>
                    </a:cubicBezTo>
                    <a:lnTo>
                      <a:pt x="1215398" y="-467"/>
                    </a:lnTo>
                    <a:cubicBezTo>
                      <a:pt x="1220026" y="-467"/>
                      <a:pt x="1223761" y="3280"/>
                      <a:pt x="1223761" y="7896"/>
                    </a:cubicBezTo>
                    <a:cubicBezTo>
                      <a:pt x="1223761" y="12513"/>
                      <a:pt x="1220026" y="16259"/>
                      <a:pt x="1215398" y="16259"/>
                    </a:cubicBezTo>
                    <a:lnTo>
                      <a:pt x="61303" y="16259"/>
                    </a:lnTo>
                    <a:cubicBezTo>
                      <a:pt x="36269" y="16287"/>
                      <a:pt x="15975" y="36592"/>
                      <a:pt x="15919" y="61643"/>
                    </a:cubicBezTo>
                    <a:lnTo>
                      <a:pt x="15919" y="321007"/>
                    </a:lnTo>
                    <a:cubicBezTo>
                      <a:pt x="15808" y="325540"/>
                      <a:pt x="12072" y="329147"/>
                      <a:pt x="7556" y="329147"/>
                    </a:cubicBezTo>
                    <a:close/>
                  </a:path>
                </a:pathLst>
              </a:custGeom>
              <a:solidFill>
                <a:srgbClr val="30373B"/>
              </a:solidFill>
              <a:ln w="5573" cap="flat">
                <a:noFill/>
                <a:prstDash val="solid"/>
                <a:miter/>
              </a:ln>
            </p:spPr>
            <p:txBody>
              <a:bodyPr rtlCol="0" anchor="ctr"/>
              <a:lstStyle/>
              <a:p>
                <a:endParaRPr lang="en-GB"/>
              </a:p>
            </p:txBody>
          </p:sp>
          <p:sp>
            <p:nvSpPr>
              <p:cNvPr id="153" name="Graphic 6">
                <a:extLst>
                  <a:ext uri="{FF2B5EF4-FFF2-40B4-BE49-F238E27FC236}">
                    <a16:creationId xmlns:a16="http://schemas.microsoft.com/office/drawing/2014/main" id="{D38896DC-77E6-A640-6783-3D0940578809}"/>
                  </a:ext>
                </a:extLst>
              </p:cNvPr>
              <p:cNvSpPr/>
              <p:nvPr/>
            </p:nvSpPr>
            <p:spPr>
              <a:xfrm>
                <a:off x="5950275" y="3095175"/>
                <a:ext cx="1224846" cy="487730"/>
              </a:xfrm>
              <a:custGeom>
                <a:avLst/>
                <a:gdLst>
                  <a:gd name="connsiteX0" fmla="*/ 1138068 w 1224846"/>
                  <a:gd name="connsiteY0" fmla="*/ 487264 h 487730"/>
                  <a:gd name="connsiteX1" fmla="*/ 85221 w 1224846"/>
                  <a:gd name="connsiteY1" fmla="*/ 487264 h 487730"/>
                  <a:gd name="connsiteX2" fmla="*/ -807 w 1224846"/>
                  <a:gd name="connsiteY2" fmla="*/ 401236 h 487730"/>
                  <a:gd name="connsiteX3" fmla="*/ -807 w 1224846"/>
                  <a:gd name="connsiteY3" fmla="*/ 85505 h 487730"/>
                  <a:gd name="connsiteX4" fmla="*/ 85221 w 1224846"/>
                  <a:gd name="connsiteY4" fmla="*/ -467 h 487730"/>
                  <a:gd name="connsiteX5" fmla="*/ 1138068 w 1224846"/>
                  <a:gd name="connsiteY5" fmla="*/ -467 h 487730"/>
                  <a:gd name="connsiteX6" fmla="*/ 1224040 w 1224846"/>
                  <a:gd name="connsiteY6" fmla="*/ 85505 h 487730"/>
                  <a:gd name="connsiteX7" fmla="*/ 1224040 w 1224846"/>
                  <a:gd name="connsiteY7" fmla="*/ 401236 h 487730"/>
                  <a:gd name="connsiteX8" fmla="*/ 1138068 w 1224846"/>
                  <a:gd name="connsiteY8" fmla="*/ 487264 h 487730"/>
                  <a:gd name="connsiteX9" fmla="*/ 85221 w 1224846"/>
                  <a:gd name="connsiteY9" fmla="*/ 16259 h 487730"/>
                  <a:gd name="connsiteX10" fmla="*/ 15919 w 1224846"/>
                  <a:gd name="connsiteY10" fmla="*/ 85561 h 487730"/>
                  <a:gd name="connsiteX11" fmla="*/ 15919 w 1224846"/>
                  <a:gd name="connsiteY11" fmla="*/ 401292 h 487730"/>
                  <a:gd name="connsiteX12" fmla="*/ 85221 w 1224846"/>
                  <a:gd name="connsiteY12" fmla="*/ 470594 h 487730"/>
                  <a:gd name="connsiteX13" fmla="*/ 1138068 w 1224846"/>
                  <a:gd name="connsiteY13" fmla="*/ 470594 h 487730"/>
                  <a:gd name="connsiteX14" fmla="*/ 1207314 w 1224846"/>
                  <a:gd name="connsiteY14" fmla="*/ 401236 h 487730"/>
                  <a:gd name="connsiteX15" fmla="*/ 1207314 w 1224846"/>
                  <a:gd name="connsiteY15" fmla="*/ 85505 h 487730"/>
                  <a:gd name="connsiteX16" fmla="*/ 1138068 w 1224846"/>
                  <a:gd name="connsiteY16" fmla="*/ 16259 h 48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4846" h="487730">
                    <a:moveTo>
                      <a:pt x="1138068" y="487264"/>
                    </a:moveTo>
                    <a:lnTo>
                      <a:pt x="85221" y="487264"/>
                    </a:lnTo>
                    <a:cubicBezTo>
                      <a:pt x="37736" y="487203"/>
                      <a:pt x="-745" y="448722"/>
                      <a:pt x="-807" y="401236"/>
                    </a:cubicBezTo>
                    <a:lnTo>
                      <a:pt x="-807" y="85505"/>
                    </a:lnTo>
                    <a:cubicBezTo>
                      <a:pt x="-712" y="38042"/>
                      <a:pt x="37758" y="-406"/>
                      <a:pt x="85221" y="-467"/>
                    </a:cubicBezTo>
                    <a:lnTo>
                      <a:pt x="1138068" y="-467"/>
                    </a:lnTo>
                    <a:cubicBezTo>
                      <a:pt x="1185514" y="-378"/>
                      <a:pt x="1223928" y="38064"/>
                      <a:pt x="1224040" y="85505"/>
                    </a:cubicBezTo>
                    <a:lnTo>
                      <a:pt x="1224040" y="401236"/>
                    </a:lnTo>
                    <a:cubicBezTo>
                      <a:pt x="1223984" y="448699"/>
                      <a:pt x="1185514" y="487169"/>
                      <a:pt x="1138068" y="487264"/>
                    </a:cubicBezTo>
                    <a:close/>
                    <a:moveTo>
                      <a:pt x="85221" y="16259"/>
                    </a:moveTo>
                    <a:cubicBezTo>
                      <a:pt x="46957" y="16287"/>
                      <a:pt x="15947" y="47297"/>
                      <a:pt x="15919" y="85561"/>
                    </a:cubicBezTo>
                    <a:lnTo>
                      <a:pt x="15919" y="401292"/>
                    </a:lnTo>
                    <a:cubicBezTo>
                      <a:pt x="15947" y="439556"/>
                      <a:pt x="46957" y="470560"/>
                      <a:pt x="85221" y="470594"/>
                    </a:cubicBezTo>
                    <a:lnTo>
                      <a:pt x="1138068" y="470594"/>
                    </a:lnTo>
                    <a:cubicBezTo>
                      <a:pt x="1176315" y="470499"/>
                      <a:pt x="1207258" y="439483"/>
                      <a:pt x="1207314" y="401236"/>
                    </a:cubicBezTo>
                    <a:lnTo>
                      <a:pt x="1207314" y="85505"/>
                    </a:lnTo>
                    <a:cubicBezTo>
                      <a:pt x="1207202" y="47297"/>
                      <a:pt x="1176260" y="16348"/>
                      <a:pt x="1138068" y="16259"/>
                    </a:cubicBezTo>
                    <a:close/>
                  </a:path>
                </a:pathLst>
              </a:custGeom>
              <a:solidFill>
                <a:srgbClr val="30373B"/>
              </a:solidFill>
              <a:ln w="5573" cap="flat">
                <a:noFill/>
                <a:prstDash val="solid"/>
                <a:miter/>
              </a:ln>
            </p:spPr>
            <p:txBody>
              <a:bodyPr rtlCol="0" anchor="ctr"/>
              <a:lstStyle/>
              <a:p>
                <a:endParaRPr lang="en-GB"/>
              </a:p>
            </p:txBody>
          </p:sp>
          <p:sp>
            <p:nvSpPr>
              <p:cNvPr id="154" name="Graphic 6">
                <a:extLst>
                  <a:ext uri="{FF2B5EF4-FFF2-40B4-BE49-F238E27FC236}">
                    <a16:creationId xmlns:a16="http://schemas.microsoft.com/office/drawing/2014/main" id="{327604BF-299B-BC4A-12CD-25E5A0DF0996}"/>
                  </a:ext>
                </a:extLst>
              </p:cNvPr>
              <p:cNvSpPr/>
              <p:nvPr/>
            </p:nvSpPr>
            <p:spPr>
              <a:xfrm>
                <a:off x="5934887" y="4965479"/>
                <a:ext cx="397521" cy="397521"/>
              </a:xfrm>
              <a:custGeom>
                <a:avLst/>
                <a:gdLst>
                  <a:gd name="connsiteX0" fmla="*/ 197954 w 397521"/>
                  <a:gd name="connsiteY0" fmla="*/ 397055 h 397521"/>
                  <a:gd name="connsiteX1" fmla="*/ -807 w 397521"/>
                  <a:gd name="connsiteY1" fmla="*/ 198294 h 397521"/>
                  <a:gd name="connsiteX2" fmla="*/ 197954 w 397521"/>
                  <a:gd name="connsiteY2" fmla="*/ -467 h 397521"/>
                  <a:gd name="connsiteX3" fmla="*/ 396715 w 397521"/>
                  <a:gd name="connsiteY3" fmla="*/ 198294 h 397521"/>
                  <a:gd name="connsiteX4" fmla="*/ 197954 w 397521"/>
                  <a:gd name="connsiteY4" fmla="*/ 397055 h 397521"/>
                  <a:gd name="connsiteX5" fmla="*/ 197954 w 397521"/>
                  <a:gd name="connsiteY5" fmla="*/ 16259 h 397521"/>
                  <a:gd name="connsiteX6" fmla="*/ 15919 w 397521"/>
                  <a:gd name="connsiteY6" fmla="*/ 198294 h 397521"/>
                  <a:gd name="connsiteX7" fmla="*/ 197954 w 397521"/>
                  <a:gd name="connsiteY7" fmla="*/ 380329 h 397521"/>
                  <a:gd name="connsiteX8" fmla="*/ 379989 w 397521"/>
                  <a:gd name="connsiteY8" fmla="*/ 198294 h 397521"/>
                  <a:gd name="connsiteX9" fmla="*/ 197954 w 397521"/>
                  <a:gd name="connsiteY9" fmla="*/ 16259 h 397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521" h="397521">
                    <a:moveTo>
                      <a:pt x="197954" y="397055"/>
                    </a:moveTo>
                    <a:cubicBezTo>
                      <a:pt x="88181" y="397055"/>
                      <a:pt x="-807" y="308072"/>
                      <a:pt x="-807" y="198294"/>
                    </a:cubicBezTo>
                    <a:cubicBezTo>
                      <a:pt x="-807" y="88521"/>
                      <a:pt x="88181" y="-467"/>
                      <a:pt x="197954" y="-467"/>
                    </a:cubicBezTo>
                    <a:cubicBezTo>
                      <a:pt x="307733" y="-467"/>
                      <a:pt x="396715" y="88521"/>
                      <a:pt x="396715" y="198294"/>
                    </a:cubicBezTo>
                    <a:cubicBezTo>
                      <a:pt x="396603" y="308017"/>
                      <a:pt x="307677" y="396943"/>
                      <a:pt x="197954" y="397055"/>
                    </a:cubicBezTo>
                    <a:close/>
                    <a:moveTo>
                      <a:pt x="197954" y="16259"/>
                    </a:moveTo>
                    <a:cubicBezTo>
                      <a:pt x="97420" y="16259"/>
                      <a:pt x="15919" y="97759"/>
                      <a:pt x="15919" y="198294"/>
                    </a:cubicBezTo>
                    <a:cubicBezTo>
                      <a:pt x="15919" y="298817"/>
                      <a:pt x="97420" y="380329"/>
                      <a:pt x="197954" y="380329"/>
                    </a:cubicBezTo>
                    <a:cubicBezTo>
                      <a:pt x="298478" y="380329"/>
                      <a:pt x="379989" y="298817"/>
                      <a:pt x="379989" y="198294"/>
                    </a:cubicBezTo>
                    <a:cubicBezTo>
                      <a:pt x="379877" y="97799"/>
                      <a:pt x="298478" y="16354"/>
                      <a:pt x="197954" y="16259"/>
                    </a:cubicBezTo>
                    <a:close/>
                  </a:path>
                </a:pathLst>
              </a:custGeom>
              <a:solidFill>
                <a:srgbClr val="30373B"/>
              </a:solidFill>
              <a:ln w="5573" cap="flat">
                <a:noFill/>
                <a:prstDash val="solid"/>
                <a:miter/>
              </a:ln>
            </p:spPr>
            <p:txBody>
              <a:bodyPr rtlCol="0" anchor="ctr"/>
              <a:lstStyle/>
              <a:p>
                <a:endParaRPr lang="en-GB"/>
              </a:p>
            </p:txBody>
          </p:sp>
          <p:sp>
            <p:nvSpPr>
              <p:cNvPr id="155" name="Graphic 6">
                <a:extLst>
                  <a:ext uri="{FF2B5EF4-FFF2-40B4-BE49-F238E27FC236}">
                    <a16:creationId xmlns:a16="http://schemas.microsoft.com/office/drawing/2014/main" id="{38ED5D2D-96E6-E658-41A4-32C2A341EB69}"/>
                  </a:ext>
                </a:extLst>
              </p:cNvPr>
              <p:cNvSpPr/>
              <p:nvPr/>
            </p:nvSpPr>
            <p:spPr>
              <a:xfrm>
                <a:off x="6125285" y="4965702"/>
                <a:ext cx="16726" cy="222901"/>
              </a:xfrm>
              <a:custGeom>
                <a:avLst/>
                <a:gdLst>
                  <a:gd name="connsiteX0" fmla="*/ 7556 w 16726"/>
                  <a:gd name="connsiteY0" fmla="*/ 222435 h 222901"/>
                  <a:gd name="connsiteX1" fmla="*/ -807 w 16726"/>
                  <a:gd name="connsiteY1" fmla="*/ 214072 h 222901"/>
                  <a:gd name="connsiteX2" fmla="*/ -807 w 16726"/>
                  <a:gd name="connsiteY2" fmla="*/ 7896 h 222901"/>
                  <a:gd name="connsiteX3" fmla="*/ 7556 w 16726"/>
                  <a:gd name="connsiteY3" fmla="*/ -467 h 222901"/>
                  <a:gd name="connsiteX4" fmla="*/ 15919 w 16726"/>
                  <a:gd name="connsiteY4" fmla="*/ 7896 h 222901"/>
                  <a:gd name="connsiteX5" fmla="*/ 15919 w 16726"/>
                  <a:gd name="connsiteY5" fmla="*/ 214184 h 222901"/>
                  <a:gd name="connsiteX6" fmla="*/ 7556 w 16726"/>
                  <a:gd name="connsiteY6" fmla="*/ 222435 h 22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222901">
                    <a:moveTo>
                      <a:pt x="7556" y="222435"/>
                    </a:moveTo>
                    <a:cubicBezTo>
                      <a:pt x="2940" y="222435"/>
                      <a:pt x="-807" y="218689"/>
                      <a:pt x="-807" y="214072"/>
                    </a:cubicBezTo>
                    <a:lnTo>
                      <a:pt x="-807" y="7896"/>
                    </a:lnTo>
                    <a:cubicBezTo>
                      <a:pt x="-807" y="3280"/>
                      <a:pt x="2940" y="-467"/>
                      <a:pt x="7556" y="-467"/>
                    </a:cubicBezTo>
                    <a:cubicBezTo>
                      <a:pt x="12173" y="-467"/>
                      <a:pt x="15919" y="3280"/>
                      <a:pt x="15919" y="7896"/>
                    </a:cubicBezTo>
                    <a:lnTo>
                      <a:pt x="15919" y="214184"/>
                    </a:lnTo>
                    <a:cubicBezTo>
                      <a:pt x="15858" y="218761"/>
                      <a:pt x="12134" y="222435"/>
                      <a:pt x="7556" y="222435"/>
                    </a:cubicBezTo>
                    <a:close/>
                  </a:path>
                </a:pathLst>
              </a:custGeom>
              <a:solidFill>
                <a:srgbClr val="30373B"/>
              </a:solidFill>
              <a:ln w="5573" cap="flat">
                <a:noFill/>
                <a:prstDash val="solid"/>
                <a:miter/>
              </a:ln>
            </p:spPr>
            <p:txBody>
              <a:bodyPr rtlCol="0" anchor="ctr"/>
              <a:lstStyle/>
              <a:p>
                <a:endParaRPr lang="en-GB"/>
              </a:p>
            </p:txBody>
          </p:sp>
          <p:sp>
            <p:nvSpPr>
              <p:cNvPr id="156" name="Graphic 6">
                <a:extLst>
                  <a:ext uri="{FF2B5EF4-FFF2-40B4-BE49-F238E27FC236}">
                    <a16:creationId xmlns:a16="http://schemas.microsoft.com/office/drawing/2014/main" id="{96C732E8-263A-9048-05B4-B4901D9C3161}"/>
                  </a:ext>
                </a:extLst>
              </p:cNvPr>
              <p:cNvSpPr/>
              <p:nvPr/>
            </p:nvSpPr>
            <p:spPr>
              <a:xfrm>
                <a:off x="7561716" y="4965367"/>
                <a:ext cx="397633" cy="397633"/>
              </a:xfrm>
              <a:custGeom>
                <a:avLst/>
                <a:gdLst>
                  <a:gd name="connsiteX0" fmla="*/ 198010 w 397633"/>
                  <a:gd name="connsiteY0" fmla="*/ 397167 h 397633"/>
                  <a:gd name="connsiteX1" fmla="*/ -807 w 397633"/>
                  <a:gd name="connsiteY1" fmla="*/ 198350 h 397633"/>
                  <a:gd name="connsiteX2" fmla="*/ 198010 w 397633"/>
                  <a:gd name="connsiteY2" fmla="*/ -467 h 397633"/>
                  <a:gd name="connsiteX3" fmla="*/ 396827 w 397633"/>
                  <a:gd name="connsiteY3" fmla="*/ 198350 h 397633"/>
                  <a:gd name="connsiteX4" fmla="*/ 237762 w 397633"/>
                  <a:gd name="connsiteY4" fmla="*/ 393152 h 397633"/>
                  <a:gd name="connsiteX5" fmla="*/ 237762 w 397633"/>
                  <a:gd name="connsiteY5" fmla="*/ 393152 h 397633"/>
                  <a:gd name="connsiteX6" fmla="*/ 198010 w 397633"/>
                  <a:gd name="connsiteY6" fmla="*/ 397167 h 397633"/>
                  <a:gd name="connsiteX7" fmla="*/ 236090 w 397633"/>
                  <a:gd name="connsiteY7" fmla="*/ 384957 h 397633"/>
                  <a:gd name="connsiteX8" fmla="*/ 236090 w 397633"/>
                  <a:gd name="connsiteY8" fmla="*/ 384957 h 397633"/>
                  <a:gd name="connsiteX9" fmla="*/ 198456 w 397633"/>
                  <a:gd name="connsiteY9" fmla="*/ 16315 h 397633"/>
                  <a:gd name="connsiteX10" fmla="*/ 16254 w 397633"/>
                  <a:gd name="connsiteY10" fmla="*/ 198171 h 397633"/>
                  <a:gd name="connsiteX11" fmla="*/ 198122 w 397633"/>
                  <a:gd name="connsiteY11" fmla="*/ 380385 h 397633"/>
                  <a:gd name="connsiteX12" fmla="*/ 234417 w 397633"/>
                  <a:gd name="connsiteY12" fmla="*/ 376761 h 397633"/>
                  <a:gd name="connsiteX13" fmla="*/ 234417 w 397633"/>
                  <a:gd name="connsiteY13" fmla="*/ 376761 h 397633"/>
                  <a:gd name="connsiteX14" fmla="*/ 376086 w 397633"/>
                  <a:gd name="connsiteY14" fmla="*/ 161720 h 397633"/>
                  <a:gd name="connsiteX15" fmla="*/ 198456 w 397633"/>
                  <a:gd name="connsiteY15" fmla="*/ 16315 h 39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7633" h="397633">
                    <a:moveTo>
                      <a:pt x="198010" y="397167"/>
                    </a:moveTo>
                    <a:cubicBezTo>
                      <a:pt x="88232" y="397167"/>
                      <a:pt x="-807" y="308128"/>
                      <a:pt x="-807" y="198350"/>
                    </a:cubicBezTo>
                    <a:cubicBezTo>
                      <a:pt x="-807" y="88544"/>
                      <a:pt x="88232" y="-467"/>
                      <a:pt x="198010" y="-467"/>
                    </a:cubicBezTo>
                    <a:cubicBezTo>
                      <a:pt x="307844" y="-467"/>
                      <a:pt x="396827" y="88549"/>
                      <a:pt x="396827" y="198350"/>
                    </a:cubicBezTo>
                    <a:cubicBezTo>
                      <a:pt x="396827" y="292852"/>
                      <a:pt x="330313" y="374252"/>
                      <a:pt x="237762" y="393152"/>
                    </a:cubicBezTo>
                    <a:lnTo>
                      <a:pt x="237762" y="393152"/>
                    </a:lnTo>
                    <a:cubicBezTo>
                      <a:pt x="224660" y="395828"/>
                      <a:pt x="211335" y="397167"/>
                      <a:pt x="198010" y="397167"/>
                    </a:cubicBezTo>
                    <a:close/>
                    <a:moveTo>
                      <a:pt x="236090" y="384957"/>
                    </a:moveTo>
                    <a:lnTo>
                      <a:pt x="236090" y="384957"/>
                    </a:lnTo>
                    <a:close/>
                    <a:moveTo>
                      <a:pt x="198456" y="16315"/>
                    </a:moveTo>
                    <a:cubicBezTo>
                      <a:pt x="97933" y="16215"/>
                      <a:pt x="16366" y="97637"/>
                      <a:pt x="16254" y="198171"/>
                    </a:cubicBezTo>
                    <a:cubicBezTo>
                      <a:pt x="16143" y="298706"/>
                      <a:pt x="97542" y="380273"/>
                      <a:pt x="198122" y="380385"/>
                    </a:cubicBezTo>
                    <a:cubicBezTo>
                      <a:pt x="210276" y="380385"/>
                      <a:pt x="222486" y="379158"/>
                      <a:pt x="234417" y="376761"/>
                    </a:cubicBezTo>
                    <a:lnTo>
                      <a:pt x="234417" y="376761"/>
                    </a:lnTo>
                    <a:cubicBezTo>
                      <a:pt x="332933" y="356522"/>
                      <a:pt x="396325" y="260236"/>
                      <a:pt x="376086" y="161720"/>
                    </a:cubicBezTo>
                    <a:cubicBezTo>
                      <a:pt x="358747" y="77331"/>
                      <a:pt x="284595" y="16661"/>
                      <a:pt x="198456" y="16315"/>
                    </a:cubicBezTo>
                    <a:close/>
                  </a:path>
                </a:pathLst>
              </a:custGeom>
              <a:solidFill>
                <a:srgbClr val="30373B"/>
              </a:solidFill>
              <a:ln w="5573" cap="flat">
                <a:noFill/>
                <a:prstDash val="solid"/>
                <a:miter/>
              </a:ln>
            </p:spPr>
            <p:txBody>
              <a:bodyPr rtlCol="0" anchor="ctr"/>
              <a:lstStyle/>
              <a:p>
                <a:endParaRPr lang="en-GB"/>
              </a:p>
            </p:txBody>
          </p:sp>
          <p:sp>
            <p:nvSpPr>
              <p:cNvPr id="157" name="Graphic 6">
                <a:extLst>
                  <a:ext uri="{FF2B5EF4-FFF2-40B4-BE49-F238E27FC236}">
                    <a16:creationId xmlns:a16="http://schemas.microsoft.com/office/drawing/2014/main" id="{514BBECC-ECB9-22DA-1E25-C99C5F388BC3}"/>
                  </a:ext>
                </a:extLst>
              </p:cNvPr>
              <p:cNvSpPr/>
              <p:nvPr/>
            </p:nvSpPr>
            <p:spPr>
              <a:xfrm>
                <a:off x="7737233" y="5098055"/>
                <a:ext cx="213475" cy="79445"/>
              </a:xfrm>
              <a:custGeom>
                <a:avLst/>
                <a:gdLst>
                  <a:gd name="connsiteX0" fmla="*/ 7551 w 213475"/>
                  <a:gd name="connsiteY0" fmla="*/ 78931 h 79445"/>
                  <a:gd name="connsiteX1" fmla="*/ -421 w 213475"/>
                  <a:gd name="connsiteY1" fmla="*/ 73356 h 79445"/>
                  <a:gd name="connsiteX2" fmla="*/ 5154 w 213475"/>
                  <a:gd name="connsiteY2" fmla="*/ 62824 h 79445"/>
                  <a:gd name="connsiteX3" fmla="*/ 5154 w 213475"/>
                  <a:gd name="connsiteY3" fmla="*/ 62819 h 79445"/>
                  <a:gd name="connsiteX4" fmla="*/ 201741 w 213475"/>
                  <a:gd name="connsiteY4" fmla="*/ -71 h 79445"/>
                  <a:gd name="connsiteX5" fmla="*/ 212278 w 213475"/>
                  <a:gd name="connsiteY5" fmla="*/ 5365 h 79445"/>
                  <a:gd name="connsiteX6" fmla="*/ 206814 w 213475"/>
                  <a:gd name="connsiteY6" fmla="*/ 15874 h 79445"/>
                  <a:gd name="connsiteX7" fmla="*/ 10228 w 213475"/>
                  <a:gd name="connsiteY7" fmla="*/ 78764 h 79445"/>
                  <a:gd name="connsiteX8" fmla="*/ 7551 w 213475"/>
                  <a:gd name="connsiteY8" fmla="*/ 78931 h 7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475" h="79445">
                    <a:moveTo>
                      <a:pt x="7551" y="78931"/>
                    </a:moveTo>
                    <a:cubicBezTo>
                      <a:pt x="3983" y="78987"/>
                      <a:pt x="749" y="76740"/>
                      <a:pt x="-421" y="73356"/>
                    </a:cubicBezTo>
                    <a:cubicBezTo>
                      <a:pt x="-1815" y="68912"/>
                      <a:pt x="693" y="64201"/>
                      <a:pt x="5154" y="62824"/>
                    </a:cubicBezTo>
                    <a:cubicBezTo>
                      <a:pt x="5154" y="62824"/>
                      <a:pt x="5154" y="62819"/>
                      <a:pt x="5154" y="62819"/>
                    </a:cubicBezTo>
                    <a:lnTo>
                      <a:pt x="201741" y="-71"/>
                    </a:lnTo>
                    <a:cubicBezTo>
                      <a:pt x="206145" y="-1471"/>
                      <a:pt x="210828" y="960"/>
                      <a:pt x="212278" y="5365"/>
                    </a:cubicBezTo>
                    <a:cubicBezTo>
                      <a:pt x="213672" y="9769"/>
                      <a:pt x="211218" y="14475"/>
                      <a:pt x="206814" y="15874"/>
                    </a:cubicBezTo>
                    <a:lnTo>
                      <a:pt x="10228" y="78764"/>
                    </a:lnTo>
                    <a:cubicBezTo>
                      <a:pt x="9336" y="78970"/>
                      <a:pt x="8443" y="79032"/>
                      <a:pt x="7551" y="78931"/>
                    </a:cubicBezTo>
                    <a:close/>
                  </a:path>
                </a:pathLst>
              </a:custGeom>
              <a:solidFill>
                <a:srgbClr val="30373B"/>
              </a:solidFill>
              <a:ln w="5573" cap="flat">
                <a:noFill/>
                <a:prstDash val="solid"/>
                <a:miter/>
              </a:ln>
            </p:spPr>
            <p:txBody>
              <a:bodyPr rtlCol="0" anchor="ctr"/>
              <a:lstStyle/>
              <a:p>
                <a:endParaRPr lang="en-GB"/>
              </a:p>
            </p:txBody>
          </p:sp>
          <p:sp>
            <p:nvSpPr>
              <p:cNvPr id="158" name="Graphic 6">
                <a:extLst>
                  <a:ext uri="{FF2B5EF4-FFF2-40B4-BE49-F238E27FC236}">
                    <a16:creationId xmlns:a16="http://schemas.microsoft.com/office/drawing/2014/main" id="{B0B9BA0C-CDE9-7906-84BB-84585F73E294}"/>
                  </a:ext>
                </a:extLst>
              </p:cNvPr>
              <p:cNvSpPr/>
              <p:nvPr/>
            </p:nvSpPr>
            <p:spPr>
              <a:xfrm>
                <a:off x="758373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59" name="Graphic 6">
                <a:extLst>
                  <a:ext uri="{FF2B5EF4-FFF2-40B4-BE49-F238E27FC236}">
                    <a16:creationId xmlns:a16="http://schemas.microsoft.com/office/drawing/2014/main" id="{D901E415-F37C-2EDA-4C4A-212DD7FBEA76}"/>
                  </a:ext>
                </a:extLst>
              </p:cNvPr>
              <p:cNvSpPr/>
              <p:nvPr/>
            </p:nvSpPr>
            <p:spPr>
              <a:xfrm>
                <a:off x="773159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0" name="Graphic 6">
                <a:extLst>
                  <a:ext uri="{FF2B5EF4-FFF2-40B4-BE49-F238E27FC236}">
                    <a16:creationId xmlns:a16="http://schemas.microsoft.com/office/drawing/2014/main" id="{B77A4349-31F1-D390-C644-1CC31A900EAA}"/>
                  </a:ext>
                </a:extLst>
              </p:cNvPr>
              <p:cNvSpPr/>
              <p:nvPr/>
            </p:nvSpPr>
            <p:spPr>
              <a:xfrm>
                <a:off x="758373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61" name="Graphic 6">
                <a:extLst>
                  <a:ext uri="{FF2B5EF4-FFF2-40B4-BE49-F238E27FC236}">
                    <a16:creationId xmlns:a16="http://schemas.microsoft.com/office/drawing/2014/main" id="{4BB3F4DA-2704-61B1-8C94-3416983CE5BB}"/>
                  </a:ext>
                </a:extLst>
              </p:cNvPr>
              <p:cNvSpPr/>
              <p:nvPr/>
            </p:nvSpPr>
            <p:spPr>
              <a:xfrm>
                <a:off x="773159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2" name="Graphic 6">
                <a:extLst>
                  <a:ext uri="{FF2B5EF4-FFF2-40B4-BE49-F238E27FC236}">
                    <a16:creationId xmlns:a16="http://schemas.microsoft.com/office/drawing/2014/main" id="{6B0320F4-0748-F058-FE07-8D1071106BDB}"/>
                  </a:ext>
                </a:extLst>
              </p:cNvPr>
              <p:cNvSpPr/>
              <p:nvPr/>
            </p:nvSpPr>
            <p:spPr>
              <a:xfrm>
                <a:off x="787482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3" name="Graphic 6">
                <a:extLst>
                  <a:ext uri="{FF2B5EF4-FFF2-40B4-BE49-F238E27FC236}">
                    <a16:creationId xmlns:a16="http://schemas.microsoft.com/office/drawing/2014/main" id="{7E2894DE-14AC-31AA-1372-505E1208265E}"/>
                  </a:ext>
                </a:extLst>
              </p:cNvPr>
              <p:cNvSpPr/>
              <p:nvPr/>
            </p:nvSpPr>
            <p:spPr>
              <a:xfrm>
                <a:off x="787482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4" name="Graphic 6">
                <a:extLst>
                  <a:ext uri="{FF2B5EF4-FFF2-40B4-BE49-F238E27FC236}">
                    <a16:creationId xmlns:a16="http://schemas.microsoft.com/office/drawing/2014/main" id="{20A940E3-5BD6-43F9-7879-3313BC58B189}"/>
                  </a:ext>
                </a:extLst>
              </p:cNvPr>
              <p:cNvSpPr/>
              <p:nvPr/>
            </p:nvSpPr>
            <p:spPr>
              <a:xfrm>
                <a:off x="8363171"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75"/>
                      <a:pt x="81374" y="105431"/>
                      <a:pt x="52159" y="105465"/>
                    </a:cubicBezTo>
                    <a:close/>
                    <a:moveTo>
                      <a:pt x="52159" y="16259"/>
                    </a:moveTo>
                    <a:cubicBezTo>
                      <a:pt x="32144" y="16259"/>
                      <a:pt x="15919" y="32484"/>
                      <a:pt x="15919" y="52499"/>
                    </a:cubicBezTo>
                    <a:cubicBezTo>
                      <a:pt x="15919" y="72515"/>
                      <a:pt x="32144" y="88739"/>
                      <a:pt x="52159" y="88739"/>
                    </a:cubicBezTo>
                    <a:cubicBezTo>
                      <a:pt x="72175" y="88739"/>
                      <a:pt x="88399" y="72515"/>
                      <a:pt x="88399" y="52499"/>
                    </a:cubicBezTo>
                    <a:cubicBezTo>
                      <a:pt x="88343" y="32517"/>
                      <a:pt x="72119" y="16343"/>
                      <a:pt x="52159" y="16315"/>
                    </a:cubicBezTo>
                    <a:close/>
                  </a:path>
                </a:pathLst>
              </a:custGeom>
              <a:solidFill>
                <a:srgbClr val="30373B"/>
              </a:solidFill>
              <a:ln w="5573" cap="flat">
                <a:noFill/>
                <a:prstDash val="solid"/>
                <a:miter/>
              </a:ln>
            </p:spPr>
            <p:txBody>
              <a:bodyPr rtlCol="0" anchor="ctr"/>
              <a:lstStyle/>
              <a:p>
                <a:endParaRPr lang="en-GB"/>
              </a:p>
            </p:txBody>
          </p:sp>
          <p:sp>
            <p:nvSpPr>
              <p:cNvPr id="165" name="Graphic 6">
                <a:extLst>
                  <a:ext uri="{FF2B5EF4-FFF2-40B4-BE49-F238E27FC236}">
                    <a16:creationId xmlns:a16="http://schemas.microsoft.com/office/drawing/2014/main" id="{1F6CF991-43F2-9CA2-3F73-CFCCB80553F8}"/>
                  </a:ext>
                </a:extLst>
              </p:cNvPr>
              <p:cNvSpPr/>
              <p:nvPr/>
            </p:nvSpPr>
            <p:spPr>
              <a:xfrm>
                <a:off x="8510973"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6" name="Graphic 6">
                <a:extLst>
                  <a:ext uri="{FF2B5EF4-FFF2-40B4-BE49-F238E27FC236}">
                    <a16:creationId xmlns:a16="http://schemas.microsoft.com/office/drawing/2014/main" id="{2EAD32A4-8568-4DCF-7911-571E1EA9FBE0}"/>
                  </a:ext>
                </a:extLst>
              </p:cNvPr>
              <p:cNvSpPr/>
              <p:nvPr/>
            </p:nvSpPr>
            <p:spPr>
              <a:xfrm>
                <a:off x="8363171"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09"/>
                      <a:pt x="52159" y="105465"/>
                    </a:cubicBezTo>
                    <a:close/>
                    <a:moveTo>
                      <a:pt x="52159" y="16259"/>
                    </a:moveTo>
                    <a:cubicBezTo>
                      <a:pt x="32144" y="16259"/>
                      <a:pt x="15919" y="32483"/>
                      <a:pt x="15919" y="52499"/>
                    </a:cubicBezTo>
                    <a:cubicBezTo>
                      <a:pt x="15919" y="72514"/>
                      <a:pt x="32144" y="88739"/>
                      <a:pt x="52159" y="88739"/>
                    </a:cubicBezTo>
                    <a:cubicBezTo>
                      <a:pt x="72175" y="88739"/>
                      <a:pt x="88399" y="72514"/>
                      <a:pt x="88399" y="52499"/>
                    </a:cubicBezTo>
                    <a:cubicBezTo>
                      <a:pt x="88343" y="32517"/>
                      <a:pt x="72119" y="16348"/>
                      <a:pt x="52159" y="16315"/>
                    </a:cubicBezTo>
                    <a:close/>
                  </a:path>
                </a:pathLst>
              </a:custGeom>
              <a:solidFill>
                <a:srgbClr val="30373B"/>
              </a:solidFill>
              <a:ln w="5573" cap="flat">
                <a:noFill/>
                <a:prstDash val="solid"/>
                <a:miter/>
              </a:ln>
            </p:spPr>
            <p:txBody>
              <a:bodyPr rtlCol="0" anchor="ctr"/>
              <a:lstStyle/>
              <a:p>
                <a:endParaRPr lang="en-GB"/>
              </a:p>
            </p:txBody>
          </p:sp>
          <p:sp>
            <p:nvSpPr>
              <p:cNvPr id="167" name="Graphic 6">
                <a:extLst>
                  <a:ext uri="{FF2B5EF4-FFF2-40B4-BE49-F238E27FC236}">
                    <a16:creationId xmlns:a16="http://schemas.microsoft.com/office/drawing/2014/main" id="{2EA44193-9527-289E-7573-C12BEEF3D096}"/>
                  </a:ext>
                </a:extLst>
              </p:cNvPr>
              <p:cNvSpPr/>
              <p:nvPr/>
            </p:nvSpPr>
            <p:spPr>
              <a:xfrm>
                <a:off x="8510973"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8" name="Graphic 6">
                <a:extLst>
                  <a:ext uri="{FF2B5EF4-FFF2-40B4-BE49-F238E27FC236}">
                    <a16:creationId xmlns:a16="http://schemas.microsoft.com/office/drawing/2014/main" id="{3B6774C7-3B06-7240-6471-00E417768866}"/>
                  </a:ext>
                </a:extLst>
              </p:cNvPr>
              <p:cNvSpPr/>
              <p:nvPr/>
            </p:nvSpPr>
            <p:spPr>
              <a:xfrm>
                <a:off x="8654204"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9" name="Graphic 6">
                <a:extLst>
                  <a:ext uri="{FF2B5EF4-FFF2-40B4-BE49-F238E27FC236}">
                    <a16:creationId xmlns:a16="http://schemas.microsoft.com/office/drawing/2014/main" id="{F1D66DC7-AD83-028A-679D-949673EE65F1}"/>
                  </a:ext>
                </a:extLst>
              </p:cNvPr>
              <p:cNvSpPr/>
              <p:nvPr/>
            </p:nvSpPr>
            <p:spPr>
              <a:xfrm>
                <a:off x="6727032"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0" name="Graphic 6">
                <a:extLst>
                  <a:ext uri="{FF2B5EF4-FFF2-40B4-BE49-F238E27FC236}">
                    <a16:creationId xmlns:a16="http://schemas.microsoft.com/office/drawing/2014/main" id="{8D4A0829-DDB2-21FA-D79F-CE20C8B39411}"/>
                  </a:ext>
                </a:extLst>
              </p:cNvPr>
              <p:cNvSpPr/>
              <p:nvPr/>
            </p:nvSpPr>
            <p:spPr>
              <a:xfrm>
                <a:off x="687483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1" name="Graphic 6">
                <a:extLst>
                  <a:ext uri="{FF2B5EF4-FFF2-40B4-BE49-F238E27FC236}">
                    <a16:creationId xmlns:a16="http://schemas.microsoft.com/office/drawing/2014/main" id="{A0309058-70F9-F61B-63F8-C55DF2A0DF97}"/>
                  </a:ext>
                </a:extLst>
              </p:cNvPr>
              <p:cNvSpPr/>
              <p:nvPr/>
            </p:nvSpPr>
            <p:spPr>
              <a:xfrm>
                <a:off x="6727032"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2" name="Graphic 6">
                <a:extLst>
                  <a:ext uri="{FF2B5EF4-FFF2-40B4-BE49-F238E27FC236}">
                    <a16:creationId xmlns:a16="http://schemas.microsoft.com/office/drawing/2014/main" id="{2AAA7506-410A-EDB2-0CF6-FAB72BD77FD0}"/>
                  </a:ext>
                </a:extLst>
              </p:cNvPr>
              <p:cNvSpPr/>
              <p:nvPr/>
            </p:nvSpPr>
            <p:spPr>
              <a:xfrm>
                <a:off x="6874834" y="5160895"/>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520"/>
                      <a:pt x="-751" y="81825"/>
                      <a:pt x="-807" y="52555"/>
                    </a:cubicBezTo>
                    <a:cubicBezTo>
                      <a:pt x="-862" y="23301"/>
                      <a:pt x="22833" y="-433"/>
                      <a:pt x="52103" y="-467"/>
                    </a:cubicBezTo>
                    <a:cubicBezTo>
                      <a:pt x="81374" y="-495"/>
                      <a:pt x="105069" y="23189"/>
                      <a:pt x="105125" y="52443"/>
                    </a:cubicBezTo>
                    <a:cubicBezTo>
                      <a:pt x="105125" y="52482"/>
                      <a:pt x="105125" y="52516"/>
                      <a:pt x="105125" y="52555"/>
                    </a:cubicBezTo>
                    <a:cubicBezTo>
                      <a:pt x="105069" y="81769"/>
                      <a:pt x="81430" y="105409"/>
                      <a:pt x="52215" y="105465"/>
                    </a:cubicBezTo>
                    <a:close/>
                    <a:moveTo>
                      <a:pt x="52215" y="16259"/>
                    </a:moveTo>
                    <a:cubicBezTo>
                      <a:pt x="32200" y="16231"/>
                      <a:pt x="15975" y="32428"/>
                      <a:pt x="15919" y="52443"/>
                    </a:cubicBezTo>
                    <a:cubicBezTo>
                      <a:pt x="15864" y="72459"/>
                      <a:pt x="32088" y="88683"/>
                      <a:pt x="52103" y="88739"/>
                    </a:cubicBezTo>
                    <a:cubicBezTo>
                      <a:pt x="72119" y="88794"/>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3" name="Graphic 6">
                <a:extLst>
                  <a:ext uri="{FF2B5EF4-FFF2-40B4-BE49-F238E27FC236}">
                    <a16:creationId xmlns:a16="http://schemas.microsoft.com/office/drawing/2014/main" id="{2DF20DD4-5308-5D52-54DB-44970B30CCBB}"/>
                  </a:ext>
                </a:extLst>
              </p:cNvPr>
              <p:cNvSpPr/>
              <p:nvPr/>
            </p:nvSpPr>
            <p:spPr>
              <a:xfrm>
                <a:off x="701806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28"/>
                      <a:pt x="72175" y="16343"/>
                      <a:pt x="52215" y="16315"/>
                    </a:cubicBezTo>
                    <a:close/>
                  </a:path>
                </a:pathLst>
              </a:custGeom>
              <a:solidFill>
                <a:srgbClr val="30373B"/>
              </a:solidFill>
              <a:ln w="5573" cap="flat">
                <a:noFill/>
                <a:prstDash val="solid"/>
                <a:miter/>
              </a:ln>
            </p:spPr>
            <p:txBody>
              <a:bodyPr rtlCol="0" anchor="ctr"/>
              <a:lstStyle/>
              <a:p>
                <a:endParaRPr lang="en-GB"/>
              </a:p>
            </p:txBody>
          </p:sp>
          <p:sp>
            <p:nvSpPr>
              <p:cNvPr id="174" name="Graphic 6">
                <a:extLst>
                  <a:ext uri="{FF2B5EF4-FFF2-40B4-BE49-F238E27FC236}">
                    <a16:creationId xmlns:a16="http://schemas.microsoft.com/office/drawing/2014/main" id="{0E5F12BF-DCDA-E6BA-C046-264B0D2105B0}"/>
                  </a:ext>
                </a:extLst>
              </p:cNvPr>
              <p:cNvSpPr/>
              <p:nvPr/>
            </p:nvSpPr>
            <p:spPr>
              <a:xfrm>
                <a:off x="817901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5" name="Graphic 6">
                <a:extLst>
                  <a:ext uri="{FF2B5EF4-FFF2-40B4-BE49-F238E27FC236}">
                    <a16:creationId xmlns:a16="http://schemas.microsoft.com/office/drawing/2014/main" id="{DCC2EC4D-EAF5-AC44-C051-5D1166AFEE36}"/>
                  </a:ext>
                </a:extLst>
              </p:cNvPr>
              <p:cNvSpPr/>
              <p:nvPr/>
            </p:nvSpPr>
            <p:spPr>
              <a:xfrm>
                <a:off x="817901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6" name="Graphic 6">
                <a:extLst>
                  <a:ext uri="{FF2B5EF4-FFF2-40B4-BE49-F238E27FC236}">
                    <a16:creationId xmlns:a16="http://schemas.microsoft.com/office/drawing/2014/main" id="{516B5E94-D967-5DAC-46A1-7F313F3F3A2C}"/>
                  </a:ext>
                </a:extLst>
              </p:cNvPr>
              <p:cNvSpPr/>
              <p:nvPr/>
            </p:nvSpPr>
            <p:spPr>
              <a:xfrm>
                <a:off x="832224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7" name="Graphic 6">
                <a:extLst>
                  <a:ext uri="{FF2B5EF4-FFF2-40B4-BE49-F238E27FC236}">
                    <a16:creationId xmlns:a16="http://schemas.microsoft.com/office/drawing/2014/main" id="{637730E0-296A-2067-6057-0C6C09D1ED73}"/>
                  </a:ext>
                </a:extLst>
              </p:cNvPr>
              <p:cNvSpPr/>
              <p:nvPr/>
            </p:nvSpPr>
            <p:spPr>
              <a:xfrm>
                <a:off x="832224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8" name="Graphic 6">
                <a:extLst>
                  <a:ext uri="{FF2B5EF4-FFF2-40B4-BE49-F238E27FC236}">
                    <a16:creationId xmlns:a16="http://schemas.microsoft.com/office/drawing/2014/main" id="{34A4D711-BAC7-7178-97D9-683EBB1EDC77}"/>
                  </a:ext>
                </a:extLst>
              </p:cNvPr>
              <p:cNvSpPr/>
              <p:nvPr/>
            </p:nvSpPr>
            <p:spPr>
              <a:xfrm>
                <a:off x="5931486"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1"/>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79" name="Graphic 6">
                <a:extLst>
                  <a:ext uri="{FF2B5EF4-FFF2-40B4-BE49-F238E27FC236}">
                    <a16:creationId xmlns:a16="http://schemas.microsoft.com/office/drawing/2014/main" id="{7BEBB9F2-F109-2F89-3463-7243292515C7}"/>
                  </a:ext>
                </a:extLst>
              </p:cNvPr>
              <p:cNvSpPr/>
              <p:nvPr/>
            </p:nvSpPr>
            <p:spPr>
              <a:xfrm>
                <a:off x="6079512"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0" name="Graphic 6">
                <a:extLst>
                  <a:ext uri="{FF2B5EF4-FFF2-40B4-BE49-F238E27FC236}">
                    <a16:creationId xmlns:a16="http://schemas.microsoft.com/office/drawing/2014/main" id="{8EC8DF68-2875-2832-4BC0-4D3C631A7F65}"/>
                  </a:ext>
                </a:extLst>
              </p:cNvPr>
              <p:cNvSpPr/>
              <p:nvPr/>
            </p:nvSpPr>
            <p:spPr>
              <a:xfrm>
                <a:off x="5931486"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7"/>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81" name="Graphic 6">
                <a:extLst>
                  <a:ext uri="{FF2B5EF4-FFF2-40B4-BE49-F238E27FC236}">
                    <a16:creationId xmlns:a16="http://schemas.microsoft.com/office/drawing/2014/main" id="{1E00A7C8-0116-B87A-DBDA-87588A4B83F7}"/>
                  </a:ext>
                </a:extLst>
              </p:cNvPr>
              <p:cNvSpPr/>
              <p:nvPr/>
            </p:nvSpPr>
            <p:spPr>
              <a:xfrm>
                <a:off x="6079512"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2" name="Graphic 6">
                <a:extLst>
                  <a:ext uri="{FF2B5EF4-FFF2-40B4-BE49-F238E27FC236}">
                    <a16:creationId xmlns:a16="http://schemas.microsoft.com/office/drawing/2014/main" id="{3B4F1DA2-371B-CB11-5D75-83720FF59D7B}"/>
                  </a:ext>
                </a:extLst>
              </p:cNvPr>
              <p:cNvSpPr/>
              <p:nvPr/>
            </p:nvSpPr>
            <p:spPr>
              <a:xfrm>
                <a:off x="6222519"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3" name="Graphic 6">
                <a:extLst>
                  <a:ext uri="{FF2B5EF4-FFF2-40B4-BE49-F238E27FC236}">
                    <a16:creationId xmlns:a16="http://schemas.microsoft.com/office/drawing/2014/main" id="{5F6DD8A4-F025-D67C-2414-27F0DF3AD35C}"/>
                  </a:ext>
                </a:extLst>
              </p:cNvPr>
              <p:cNvSpPr/>
              <p:nvPr/>
            </p:nvSpPr>
            <p:spPr>
              <a:xfrm>
                <a:off x="6222519"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4" name="Graphic 6">
                <a:extLst>
                  <a:ext uri="{FF2B5EF4-FFF2-40B4-BE49-F238E27FC236}">
                    <a16:creationId xmlns:a16="http://schemas.microsoft.com/office/drawing/2014/main" id="{8E1000D6-40AB-34B9-02F6-D8DD68900C88}"/>
                  </a:ext>
                </a:extLst>
              </p:cNvPr>
              <p:cNvSpPr/>
              <p:nvPr/>
            </p:nvSpPr>
            <p:spPr>
              <a:xfrm>
                <a:off x="657175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5" name="Graphic 6">
                <a:extLst>
                  <a:ext uri="{FF2B5EF4-FFF2-40B4-BE49-F238E27FC236}">
                    <a16:creationId xmlns:a16="http://schemas.microsoft.com/office/drawing/2014/main" id="{D3A1441C-C34F-81C2-38AF-5DFD37200CBA}"/>
                  </a:ext>
                </a:extLst>
              </p:cNvPr>
              <p:cNvSpPr/>
              <p:nvPr/>
            </p:nvSpPr>
            <p:spPr>
              <a:xfrm>
                <a:off x="657175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6" name="Graphic 6">
                <a:extLst>
                  <a:ext uri="{FF2B5EF4-FFF2-40B4-BE49-F238E27FC236}">
                    <a16:creationId xmlns:a16="http://schemas.microsoft.com/office/drawing/2014/main" id="{F847CD6B-5181-82E9-A3E8-D7255FCE6134}"/>
                  </a:ext>
                </a:extLst>
              </p:cNvPr>
              <p:cNvSpPr/>
              <p:nvPr/>
            </p:nvSpPr>
            <p:spPr>
              <a:xfrm>
                <a:off x="6715100"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7" name="Graphic 6">
                <a:extLst>
                  <a:ext uri="{FF2B5EF4-FFF2-40B4-BE49-F238E27FC236}">
                    <a16:creationId xmlns:a16="http://schemas.microsoft.com/office/drawing/2014/main" id="{8DA57CD1-ECC3-BA0C-DABE-86AB486A698B}"/>
                  </a:ext>
                </a:extLst>
              </p:cNvPr>
              <p:cNvSpPr/>
              <p:nvPr/>
            </p:nvSpPr>
            <p:spPr>
              <a:xfrm>
                <a:off x="6715100"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200"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8" name="Graphic 6">
                <a:extLst>
                  <a:ext uri="{FF2B5EF4-FFF2-40B4-BE49-F238E27FC236}">
                    <a16:creationId xmlns:a16="http://schemas.microsoft.com/office/drawing/2014/main" id="{471182A4-818C-76EF-35A4-D853F474A767}"/>
                  </a:ext>
                </a:extLst>
              </p:cNvPr>
              <p:cNvSpPr/>
              <p:nvPr/>
            </p:nvSpPr>
            <p:spPr>
              <a:xfrm>
                <a:off x="7449596" y="4796267"/>
                <a:ext cx="1684143" cy="16726"/>
              </a:xfrm>
              <a:custGeom>
                <a:avLst/>
                <a:gdLst>
                  <a:gd name="connsiteX0" fmla="*/ 1674974 w 1684143"/>
                  <a:gd name="connsiteY0" fmla="*/ 16259 h 16726"/>
                  <a:gd name="connsiteX1" fmla="*/ 7556 w 1684143"/>
                  <a:gd name="connsiteY1" fmla="*/ 16259 h 16726"/>
                  <a:gd name="connsiteX2" fmla="*/ -807 w 1684143"/>
                  <a:gd name="connsiteY2" fmla="*/ 7896 h 16726"/>
                  <a:gd name="connsiteX3" fmla="*/ 7556 w 1684143"/>
                  <a:gd name="connsiteY3" fmla="*/ -467 h 16726"/>
                  <a:gd name="connsiteX4" fmla="*/ 1674974 w 1684143"/>
                  <a:gd name="connsiteY4" fmla="*/ -467 h 16726"/>
                  <a:gd name="connsiteX5" fmla="*/ 1683337 w 1684143"/>
                  <a:gd name="connsiteY5" fmla="*/ 7896 h 16726"/>
                  <a:gd name="connsiteX6" fmla="*/ 1674974 w 1684143"/>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4143" h="16726">
                    <a:moveTo>
                      <a:pt x="1674974" y="16259"/>
                    </a:moveTo>
                    <a:lnTo>
                      <a:pt x="7556" y="16259"/>
                    </a:lnTo>
                    <a:cubicBezTo>
                      <a:pt x="2929" y="16259"/>
                      <a:pt x="-807" y="12513"/>
                      <a:pt x="-807" y="7896"/>
                    </a:cubicBezTo>
                    <a:cubicBezTo>
                      <a:pt x="-807" y="3280"/>
                      <a:pt x="2929" y="-467"/>
                      <a:pt x="7556" y="-467"/>
                    </a:cubicBezTo>
                    <a:lnTo>
                      <a:pt x="1674974" y="-467"/>
                    </a:lnTo>
                    <a:cubicBezTo>
                      <a:pt x="1679601" y="-467"/>
                      <a:pt x="1683337" y="3280"/>
                      <a:pt x="1683337" y="7896"/>
                    </a:cubicBezTo>
                    <a:cubicBezTo>
                      <a:pt x="1683337" y="12513"/>
                      <a:pt x="1679601" y="16259"/>
                      <a:pt x="1674974" y="16259"/>
                    </a:cubicBezTo>
                    <a:close/>
                  </a:path>
                </a:pathLst>
              </a:custGeom>
              <a:solidFill>
                <a:srgbClr val="30373B"/>
              </a:solidFill>
              <a:ln w="5573" cap="flat">
                <a:noFill/>
                <a:prstDash val="solid"/>
                <a:miter/>
              </a:ln>
            </p:spPr>
            <p:txBody>
              <a:bodyPr rtlCol="0" anchor="ctr"/>
              <a:lstStyle/>
              <a:p>
                <a:endParaRPr lang="en-GB"/>
              </a:p>
            </p:txBody>
          </p:sp>
          <p:sp>
            <p:nvSpPr>
              <p:cNvPr id="189" name="Graphic 6">
                <a:extLst>
                  <a:ext uri="{FF2B5EF4-FFF2-40B4-BE49-F238E27FC236}">
                    <a16:creationId xmlns:a16="http://schemas.microsoft.com/office/drawing/2014/main" id="{26DBA74E-D12B-A00E-59EC-05316BCE8B78}"/>
                  </a:ext>
                </a:extLst>
              </p:cNvPr>
              <p:cNvSpPr/>
              <p:nvPr/>
            </p:nvSpPr>
            <p:spPr>
              <a:xfrm>
                <a:off x="7454948" y="4699312"/>
                <a:ext cx="1678791" cy="16726"/>
              </a:xfrm>
              <a:custGeom>
                <a:avLst/>
                <a:gdLst>
                  <a:gd name="connsiteX0" fmla="*/ 1669622 w 1678791"/>
                  <a:gd name="connsiteY0" fmla="*/ 16259 h 16726"/>
                  <a:gd name="connsiteX1" fmla="*/ 7556 w 1678791"/>
                  <a:gd name="connsiteY1" fmla="*/ 16259 h 16726"/>
                  <a:gd name="connsiteX2" fmla="*/ -807 w 1678791"/>
                  <a:gd name="connsiteY2" fmla="*/ 7896 h 16726"/>
                  <a:gd name="connsiteX3" fmla="*/ 7556 w 1678791"/>
                  <a:gd name="connsiteY3" fmla="*/ -467 h 16726"/>
                  <a:gd name="connsiteX4" fmla="*/ 1669622 w 1678791"/>
                  <a:gd name="connsiteY4" fmla="*/ -467 h 16726"/>
                  <a:gd name="connsiteX5" fmla="*/ 1677985 w 1678791"/>
                  <a:gd name="connsiteY5" fmla="*/ 7896 h 16726"/>
                  <a:gd name="connsiteX6" fmla="*/ 1669622 w 1678791"/>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8791" h="16726">
                    <a:moveTo>
                      <a:pt x="1669622" y="16259"/>
                    </a:moveTo>
                    <a:lnTo>
                      <a:pt x="7556" y="16259"/>
                    </a:lnTo>
                    <a:cubicBezTo>
                      <a:pt x="2929" y="16259"/>
                      <a:pt x="-807" y="12513"/>
                      <a:pt x="-807" y="7896"/>
                    </a:cubicBezTo>
                    <a:cubicBezTo>
                      <a:pt x="-807" y="3280"/>
                      <a:pt x="2929" y="-467"/>
                      <a:pt x="7556" y="-467"/>
                    </a:cubicBezTo>
                    <a:lnTo>
                      <a:pt x="1669622" y="-467"/>
                    </a:lnTo>
                    <a:cubicBezTo>
                      <a:pt x="1674249" y="-467"/>
                      <a:pt x="1677985" y="3280"/>
                      <a:pt x="1677985" y="7896"/>
                    </a:cubicBezTo>
                    <a:cubicBezTo>
                      <a:pt x="1677985" y="12513"/>
                      <a:pt x="1674249" y="16259"/>
                      <a:pt x="1669622" y="16259"/>
                    </a:cubicBezTo>
                    <a:close/>
                  </a:path>
                </a:pathLst>
              </a:custGeom>
              <a:solidFill>
                <a:srgbClr val="30373B"/>
              </a:solidFill>
              <a:ln w="5573" cap="flat">
                <a:noFill/>
                <a:prstDash val="solid"/>
                <a:miter/>
              </a:ln>
            </p:spPr>
            <p:txBody>
              <a:bodyPr rtlCol="0" anchor="ctr"/>
              <a:lstStyle/>
              <a:p>
                <a:endParaRPr lang="en-GB"/>
              </a:p>
            </p:txBody>
          </p:sp>
          <p:sp>
            <p:nvSpPr>
              <p:cNvPr id="190" name="Graphic 6">
                <a:extLst>
                  <a:ext uri="{FF2B5EF4-FFF2-40B4-BE49-F238E27FC236}">
                    <a16:creationId xmlns:a16="http://schemas.microsoft.com/office/drawing/2014/main" id="{F1A2F235-E754-2681-0188-6E0E9E9E2FDB}"/>
                  </a:ext>
                </a:extLst>
              </p:cNvPr>
              <p:cNvSpPr/>
              <p:nvPr/>
            </p:nvSpPr>
            <p:spPr>
              <a:xfrm>
                <a:off x="5517016" y="4699312"/>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1" name="Graphic 6">
                <a:extLst>
                  <a:ext uri="{FF2B5EF4-FFF2-40B4-BE49-F238E27FC236}">
                    <a16:creationId xmlns:a16="http://schemas.microsoft.com/office/drawing/2014/main" id="{3431755F-8576-4A81-F2A0-063B58E5E759}"/>
                  </a:ext>
                </a:extLst>
              </p:cNvPr>
              <p:cNvSpPr/>
              <p:nvPr/>
            </p:nvSpPr>
            <p:spPr>
              <a:xfrm>
                <a:off x="5517016" y="4796267"/>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2" name="Graphic 6">
                <a:extLst>
                  <a:ext uri="{FF2B5EF4-FFF2-40B4-BE49-F238E27FC236}">
                    <a16:creationId xmlns:a16="http://schemas.microsoft.com/office/drawing/2014/main" id="{C43A4D56-54CE-3716-AE25-8601AFF40F36}"/>
                  </a:ext>
                </a:extLst>
              </p:cNvPr>
              <p:cNvSpPr/>
              <p:nvPr/>
            </p:nvSpPr>
            <p:spPr>
              <a:xfrm>
                <a:off x="8423106" y="5388940"/>
                <a:ext cx="263937" cy="299381"/>
              </a:xfrm>
              <a:custGeom>
                <a:avLst/>
                <a:gdLst>
                  <a:gd name="connsiteX0" fmla="*/ 131162 w 263937"/>
                  <a:gd name="connsiteY0" fmla="*/ 298915 h 299381"/>
                  <a:gd name="connsiteX1" fmla="*/ 116722 w 263937"/>
                  <a:gd name="connsiteY1" fmla="*/ 294510 h 299381"/>
                  <a:gd name="connsiteX2" fmla="*/ 10791 w 263937"/>
                  <a:gd name="connsiteY2" fmla="*/ 223815 h 299381"/>
                  <a:gd name="connsiteX3" fmla="*/ -807 w 263937"/>
                  <a:gd name="connsiteY3" fmla="*/ 202183 h 299381"/>
                  <a:gd name="connsiteX4" fmla="*/ -807 w 263937"/>
                  <a:gd name="connsiteY4" fmla="*/ 96251 h 299381"/>
                  <a:gd name="connsiteX5" fmla="*/ 10791 w 263937"/>
                  <a:gd name="connsiteY5" fmla="*/ 74619 h 299381"/>
                  <a:gd name="connsiteX6" fmla="*/ 116722 w 263937"/>
                  <a:gd name="connsiteY6" fmla="*/ 3923 h 299381"/>
                  <a:gd name="connsiteX7" fmla="*/ 145602 w 263937"/>
                  <a:gd name="connsiteY7" fmla="*/ 3923 h 299381"/>
                  <a:gd name="connsiteX8" fmla="*/ 251533 w 263937"/>
                  <a:gd name="connsiteY8" fmla="*/ 74619 h 299381"/>
                  <a:gd name="connsiteX9" fmla="*/ 263130 w 263937"/>
                  <a:gd name="connsiteY9" fmla="*/ 96251 h 299381"/>
                  <a:gd name="connsiteX10" fmla="*/ 263130 w 263937"/>
                  <a:gd name="connsiteY10" fmla="*/ 110357 h 299381"/>
                  <a:gd name="connsiteX11" fmla="*/ 254767 w 263937"/>
                  <a:gd name="connsiteY11" fmla="*/ 118720 h 299381"/>
                  <a:gd name="connsiteX12" fmla="*/ 246404 w 263937"/>
                  <a:gd name="connsiteY12" fmla="*/ 110357 h 299381"/>
                  <a:gd name="connsiteX13" fmla="*/ 246404 w 263937"/>
                  <a:gd name="connsiteY13" fmla="*/ 96251 h 299381"/>
                  <a:gd name="connsiteX14" fmla="*/ 242278 w 263937"/>
                  <a:gd name="connsiteY14" fmla="*/ 88502 h 299381"/>
                  <a:gd name="connsiteX15" fmla="*/ 136347 w 263937"/>
                  <a:gd name="connsiteY15" fmla="*/ 17806 h 299381"/>
                  <a:gd name="connsiteX16" fmla="*/ 125977 w 263937"/>
                  <a:gd name="connsiteY16" fmla="*/ 17806 h 299381"/>
                  <a:gd name="connsiteX17" fmla="*/ 20045 w 263937"/>
                  <a:gd name="connsiteY17" fmla="*/ 88502 h 299381"/>
                  <a:gd name="connsiteX18" fmla="*/ 15919 w 263937"/>
                  <a:gd name="connsiteY18" fmla="*/ 96251 h 299381"/>
                  <a:gd name="connsiteX19" fmla="*/ 15919 w 263937"/>
                  <a:gd name="connsiteY19" fmla="*/ 202183 h 299381"/>
                  <a:gd name="connsiteX20" fmla="*/ 20045 w 263937"/>
                  <a:gd name="connsiteY20" fmla="*/ 209933 h 299381"/>
                  <a:gd name="connsiteX21" fmla="*/ 125977 w 263937"/>
                  <a:gd name="connsiteY21" fmla="*/ 280628 h 299381"/>
                  <a:gd name="connsiteX22" fmla="*/ 136291 w 263937"/>
                  <a:gd name="connsiteY22" fmla="*/ 280628 h 299381"/>
                  <a:gd name="connsiteX23" fmla="*/ 188421 w 263937"/>
                  <a:gd name="connsiteY23" fmla="*/ 245893 h 299381"/>
                  <a:gd name="connsiteX24" fmla="*/ 199961 w 263937"/>
                  <a:gd name="connsiteY24" fmla="*/ 248569 h 299381"/>
                  <a:gd name="connsiteX25" fmla="*/ 197731 w 263937"/>
                  <a:gd name="connsiteY25" fmla="*/ 259776 h 299381"/>
                  <a:gd name="connsiteX26" fmla="*/ 145602 w 263937"/>
                  <a:gd name="connsiteY26" fmla="*/ 294510 h 299381"/>
                  <a:gd name="connsiteX27" fmla="*/ 131162 w 263937"/>
                  <a:gd name="connsiteY27" fmla="*/ 298915 h 299381"/>
                  <a:gd name="connsiteX28" fmla="*/ 131162 w 263937"/>
                  <a:gd name="connsiteY28" fmla="*/ 228220 h 299381"/>
                  <a:gd name="connsiteX29" fmla="*/ 52103 w 263937"/>
                  <a:gd name="connsiteY29" fmla="*/ 149161 h 299381"/>
                  <a:gd name="connsiteX30" fmla="*/ 131162 w 263937"/>
                  <a:gd name="connsiteY30" fmla="*/ 70103 h 299381"/>
                  <a:gd name="connsiteX31" fmla="*/ 193550 w 263937"/>
                  <a:gd name="connsiteY31" fmla="*/ 100600 h 299381"/>
                  <a:gd name="connsiteX32" fmla="*/ 192491 w 263937"/>
                  <a:gd name="connsiteY32" fmla="*/ 112364 h 299381"/>
                  <a:gd name="connsiteX33" fmla="*/ 180671 w 263937"/>
                  <a:gd name="connsiteY33" fmla="*/ 111305 h 299381"/>
                  <a:gd name="connsiteX34" fmla="*/ 180392 w 263937"/>
                  <a:gd name="connsiteY34" fmla="*/ 110915 h 299381"/>
                  <a:gd name="connsiteX35" fmla="*/ 92971 w 263937"/>
                  <a:gd name="connsiteY35" fmla="*/ 99541 h 299381"/>
                  <a:gd name="connsiteX36" fmla="*/ 81597 w 263937"/>
                  <a:gd name="connsiteY36" fmla="*/ 186962 h 299381"/>
                  <a:gd name="connsiteX37" fmla="*/ 131162 w 263937"/>
                  <a:gd name="connsiteY37" fmla="*/ 211271 h 299381"/>
                  <a:gd name="connsiteX38" fmla="*/ 139525 w 263937"/>
                  <a:gd name="connsiteY38" fmla="*/ 219634 h 299381"/>
                  <a:gd name="connsiteX39" fmla="*/ 131162 w 263937"/>
                  <a:gd name="connsiteY39" fmla="*/ 227997 h 29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3937" h="299381">
                    <a:moveTo>
                      <a:pt x="131162" y="298915"/>
                    </a:moveTo>
                    <a:cubicBezTo>
                      <a:pt x="126032" y="298915"/>
                      <a:pt x="121014" y="297409"/>
                      <a:pt x="116722" y="294510"/>
                    </a:cubicBezTo>
                    <a:lnTo>
                      <a:pt x="10791" y="223815"/>
                    </a:lnTo>
                    <a:cubicBezTo>
                      <a:pt x="3542" y="219021"/>
                      <a:pt x="-807" y="210880"/>
                      <a:pt x="-807" y="202183"/>
                    </a:cubicBezTo>
                    <a:lnTo>
                      <a:pt x="-807" y="96251"/>
                    </a:lnTo>
                    <a:cubicBezTo>
                      <a:pt x="-807" y="87554"/>
                      <a:pt x="3542" y="79414"/>
                      <a:pt x="10791" y="74619"/>
                    </a:cubicBezTo>
                    <a:lnTo>
                      <a:pt x="116722" y="3923"/>
                    </a:lnTo>
                    <a:cubicBezTo>
                      <a:pt x="125475" y="-1930"/>
                      <a:pt x="136849" y="-1930"/>
                      <a:pt x="145602" y="3923"/>
                    </a:cubicBezTo>
                    <a:lnTo>
                      <a:pt x="251533" y="74619"/>
                    </a:lnTo>
                    <a:cubicBezTo>
                      <a:pt x="258782" y="79414"/>
                      <a:pt x="263130" y="87554"/>
                      <a:pt x="263130" y="96251"/>
                    </a:cubicBezTo>
                    <a:lnTo>
                      <a:pt x="263130" y="110357"/>
                    </a:lnTo>
                    <a:cubicBezTo>
                      <a:pt x="263130" y="114984"/>
                      <a:pt x="259395" y="118720"/>
                      <a:pt x="254767" y="118720"/>
                    </a:cubicBezTo>
                    <a:cubicBezTo>
                      <a:pt x="250139" y="118720"/>
                      <a:pt x="246404" y="114984"/>
                      <a:pt x="246404" y="110357"/>
                    </a:cubicBezTo>
                    <a:lnTo>
                      <a:pt x="246404" y="96251"/>
                    </a:lnTo>
                    <a:cubicBezTo>
                      <a:pt x="246404" y="93129"/>
                      <a:pt x="244843" y="90230"/>
                      <a:pt x="242278" y="88502"/>
                    </a:cubicBezTo>
                    <a:lnTo>
                      <a:pt x="136347" y="17806"/>
                    </a:lnTo>
                    <a:cubicBezTo>
                      <a:pt x="133169" y="15743"/>
                      <a:pt x="129155" y="15743"/>
                      <a:pt x="125977" y="17806"/>
                    </a:cubicBezTo>
                    <a:lnTo>
                      <a:pt x="20045" y="88502"/>
                    </a:lnTo>
                    <a:cubicBezTo>
                      <a:pt x="17481" y="90230"/>
                      <a:pt x="15919" y="93129"/>
                      <a:pt x="15919" y="96251"/>
                    </a:cubicBezTo>
                    <a:lnTo>
                      <a:pt x="15919" y="202183"/>
                    </a:lnTo>
                    <a:cubicBezTo>
                      <a:pt x="15919" y="205305"/>
                      <a:pt x="17481" y="208204"/>
                      <a:pt x="20045" y="209933"/>
                    </a:cubicBezTo>
                    <a:lnTo>
                      <a:pt x="125977" y="280628"/>
                    </a:lnTo>
                    <a:cubicBezTo>
                      <a:pt x="129099" y="282635"/>
                      <a:pt x="133169" y="282635"/>
                      <a:pt x="136291" y="280628"/>
                    </a:cubicBezTo>
                    <a:lnTo>
                      <a:pt x="188421" y="245893"/>
                    </a:lnTo>
                    <a:cubicBezTo>
                      <a:pt x="192323" y="243441"/>
                      <a:pt x="197509" y="244667"/>
                      <a:pt x="199961" y="248569"/>
                    </a:cubicBezTo>
                    <a:cubicBezTo>
                      <a:pt x="202248" y="252305"/>
                      <a:pt x="201299" y="257211"/>
                      <a:pt x="197731" y="259776"/>
                    </a:cubicBezTo>
                    <a:lnTo>
                      <a:pt x="145602" y="294510"/>
                    </a:lnTo>
                    <a:cubicBezTo>
                      <a:pt x="141309" y="297409"/>
                      <a:pt x="136291" y="298915"/>
                      <a:pt x="131162" y="298915"/>
                    </a:cubicBezTo>
                    <a:close/>
                    <a:moveTo>
                      <a:pt x="131162" y="228220"/>
                    </a:moveTo>
                    <a:cubicBezTo>
                      <a:pt x="87507" y="228220"/>
                      <a:pt x="52103" y="192816"/>
                      <a:pt x="52103" y="149161"/>
                    </a:cubicBezTo>
                    <a:cubicBezTo>
                      <a:pt x="52103" y="105507"/>
                      <a:pt x="87507" y="70103"/>
                      <a:pt x="131162" y="70103"/>
                    </a:cubicBezTo>
                    <a:cubicBezTo>
                      <a:pt x="155526" y="70103"/>
                      <a:pt x="178552" y="81365"/>
                      <a:pt x="193550" y="100600"/>
                    </a:cubicBezTo>
                    <a:cubicBezTo>
                      <a:pt x="196505" y="104169"/>
                      <a:pt x="196003" y="109409"/>
                      <a:pt x="192491" y="112364"/>
                    </a:cubicBezTo>
                    <a:cubicBezTo>
                      <a:pt x="188922" y="115319"/>
                      <a:pt x="183626" y="114873"/>
                      <a:pt x="180671" y="111305"/>
                    </a:cubicBezTo>
                    <a:cubicBezTo>
                      <a:pt x="180615" y="111193"/>
                      <a:pt x="180504" y="111026"/>
                      <a:pt x="180392" y="110915"/>
                    </a:cubicBezTo>
                    <a:cubicBezTo>
                      <a:pt x="159373" y="83651"/>
                      <a:pt x="120234" y="78522"/>
                      <a:pt x="92971" y="99541"/>
                    </a:cubicBezTo>
                    <a:cubicBezTo>
                      <a:pt x="65707" y="120560"/>
                      <a:pt x="60634" y="159699"/>
                      <a:pt x="81597" y="186962"/>
                    </a:cubicBezTo>
                    <a:cubicBezTo>
                      <a:pt x="93417" y="202350"/>
                      <a:pt x="111760" y="211327"/>
                      <a:pt x="131162" y="211271"/>
                    </a:cubicBezTo>
                    <a:cubicBezTo>
                      <a:pt x="135789" y="211271"/>
                      <a:pt x="139525" y="215006"/>
                      <a:pt x="139525" y="219634"/>
                    </a:cubicBezTo>
                    <a:cubicBezTo>
                      <a:pt x="139525" y="224261"/>
                      <a:pt x="135789" y="227997"/>
                      <a:pt x="131162" y="227997"/>
                    </a:cubicBezTo>
                    <a:close/>
                  </a:path>
                </a:pathLst>
              </a:custGeom>
              <a:solidFill>
                <a:srgbClr val="30373B"/>
              </a:solidFill>
              <a:ln w="5573" cap="flat">
                <a:noFill/>
                <a:prstDash val="solid"/>
                <a:miter/>
              </a:ln>
            </p:spPr>
            <p:txBody>
              <a:bodyPr rtlCol="0" anchor="ctr"/>
              <a:lstStyle/>
              <a:p>
                <a:endParaRPr lang="en-GB"/>
              </a:p>
            </p:txBody>
          </p:sp>
          <p:sp>
            <p:nvSpPr>
              <p:cNvPr id="193" name="Graphic 6">
                <a:extLst>
                  <a:ext uri="{FF2B5EF4-FFF2-40B4-BE49-F238E27FC236}">
                    <a16:creationId xmlns:a16="http://schemas.microsoft.com/office/drawing/2014/main" id="{2733E233-A2C1-48A4-E495-C03DDFC73288}"/>
                  </a:ext>
                </a:extLst>
              </p:cNvPr>
              <p:cNvSpPr/>
              <p:nvPr/>
            </p:nvSpPr>
            <p:spPr>
              <a:xfrm>
                <a:off x="6751284" y="5426504"/>
                <a:ext cx="263881" cy="299395"/>
              </a:xfrm>
              <a:custGeom>
                <a:avLst/>
                <a:gdLst>
                  <a:gd name="connsiteX0" fmla="*/ 131162 w 263881"/>
                  <a:gd name="connsiteY0" fmla="*/ 298929 h 299395"/>
                  <a:gd name="connsiteX1" fmla="*/ 116722 w 263881"/>
                  <a:gd name="connsiteY1" fmla="*/ 294580 h 299395"/>
                  <a:gd name="connsiteX2" fmla="*/ 10791 w 263881"/>
                  <a:gd name="connsiteY2" fmla="*/ 223885 h 299395"/>
                  <a:gd name="connsiteX3" fmla="*/ -807 w 263881"/>
                  <a:gd name="connsiteY3" fmla="*/ 202197 h 299395"/>
                  <a:gd name="connsiteX4" fmla="*/ -807 w 263881"/>
                  <a:gd name="connsiteY4" fmla="*/ 96265 h 299395"/>
                  <a:gd name="connsiteX5" fmla="*/ 10791 w 263881"/>
                  <a:gd name="connsiteY5" fmla="*/ 74577 h 299395"/>
                  <a:gd name="connsiteX6" fmla="*/ 116722 w 263881"/>
                  <a:gd name="connsiteY6" fmla="*/ 3882 h 299395"/>
                  <a:gd name="connsiteX7" fmla="*/ 145602 w 263881"/>
                  <a:gd name="connsiteY7" fmla="*/ 3882 h 299395"/>
                  <a:gd name="connsiteX8" fmla="*/ 251533 w 263881"/>
                  <a:gd name="connsiteY8" fmla="*/ 74577 h 299395"/>
                  <a:gd name="connsiteX9" fmla="*/ 263075 w 263881"/>
                  <a:gd name="connsiteY9" fmla="*/ 96265 h 299395"/>
                  <a:gd name="connsiteX10" fmla="*/ 263075 w 263881"/>
                  <a:gd name="connsiteY10" fmla="*/ 202197 h 299395"/>
                  <a:gd name="connsiteX11" fmla="*/ 251533 w 263881"/>
                  <a:gd name="connsiteY11" fmla="*/ 223885 h 299395"/>
                  <a:gd name="connsiteX12" fmla="*/ 145602 w 263881"/>
                  <a:gd name="connsiteY12" fmla="*/ 294580 h 299395"/>
                  <a:gd name="connsiteX13" fmla="*/ 131162 w 263881"/>
                  <a:gd name="connsiteY13" fmla="*/ 298929 h 299395"/>
                  <a:gd name="connsiteX14" fmla="*/ 131162 w 263881"/>
                  <a:gd name="connsiteY14" fmla="*/ 16148 h 299395"/>
                  <a:gd name="connsiteX15" fmla="*/ 125977 w 263881"/>
                  <a:gd name="connsiteY15" fmla="*/ 17709 h 299395"/>
                  <a:gd name="connsiteX16" fmla="*/ 20045 w 263881"/>
                  <a:gd name="connsiteY16" fmla="*/ 88404 h 299395"/>
                  <a:gd name="connsiteX17" fmla="*/ 15864 w 263881"/>
                  <a:gd name="connsiteY17" fmla="*/ 96154 h 299395"/>
                  <a:gd name="connsiteX18" fmla="*/ 15864 w 263881"/>
                  <a:gd name="connsiteY18" fmla="*/ 202085 h 299395"/>
                  <a:gd name="connsiteX19" fmla="*/ 20045 w 263881"/>
                  <a:gd name="connsiteY19" fmla="*/ 209835 h 299395"/>
                  <a:gd name="connsiteX20" fmla="*/ 125977 w 263881"/>
                  <a:gd name="connsiteY20" fmla="*/ 280530 h 299395"/>
                  <a:gd name="connsiteX21" fmla="*/ 136347 w 263881"/>
                  <a:gd name="connsiteY21" fmla="*/ 280530 h 299395"/>
                  <a:gd name="connsiteX22" fmla="*/ 242278 w 263881"/>
                  <a:gd name="connsiteY22" fmla="*/ 209835 h 299395"/>
                  <a:gd name="connsiteX23" fmla="*/ 246404 w 263881"/>
                  <a:gd name="connsiteY23" fmla="*/ 202085 h 299395"/>
                  <a:gd name="connsiteX24" fmla="*/ 246404 w 263881"/>
                  <a:gd name="connsiteY24" fmla="*/ 96154 h 299395"/>
                  <a:gd name="connsiteX25" fmla="*/ 242278 w 263881"/>
                  <a:gd name="connsiteY25" fmla="*/ 88404 h 299395"/>
                  <a:gd name="connsiteX26" fmla="*/ 136347 w 263881"/>
                  <a:gd name="connsiteY26" fmla="*/ 17709 h 299395"/>
                  <a:gd name="connsiteX27" fmla="*/ 131162 w 263881"/>
                  <a:gd name="connsiteY27" fmla="*/ 16148 h 299395"/>
                  <a:gd name="connsiteX28" fmla="*/ 131162 w 263881"/>
                  <a:gd name="connsiteY28" fmla="*/ 228011 h 299395"/>
                  <a:gd name="connsiteX29" fmla="*/ 52103 w 263881"/>
                  <a:gd name="connsiteY29" fmla="*/ 148952 h 299395"/>
                  <a:gd name="connsiteX30" fmla="*/ 131162 w 263881"/>
                  <a:gd name="connsiteY30" fmla="*/ 69894 h 299395"/>
                  <a:gd name="connsiteX31" fmla="*/ 210220 w 263881"/>
                  <a:gd name="connsiteY31" fmla="*/ 148952 h 299395"/>
                  <a:gd name="connsiteX32" fmla="*/ 201857 w 263881"/>
                  <a:gd name="connsiteY32" fmla="*/ 157315 h 299395"/>
                  <a:gd name="connsiteX33" fmla="*/ 193494 w 263881"/>
                  <a:gd name="connsiteY33" fmla="*/ 148952 h 299395"/>
                  <a:gd name="connsiteX34" fmla="*/ 131162 w 263881"/>
                  <a:gd name="connsiteY34" fmla="*/ 86620 h 299395"/>
                  <a:gd name="connsiteX35" fmla="*/ 68829 w 263881"/>
                  <a:gd name="connsiteY35" fmla="*/ 148952 h 299395"/>
                  <a:gd name="connsiteX36" fmla="*/ 131162 w 263881"/>
                  <a:gd name="connsiteY36" fmla="*/ 211285 h 299395"/>
                  <a:gd name="connsiteX37" fmla="*/ 139525 w 263881"/>
                  <a:gd name="connsiteY37" fmla="*/ 219648 h 299395"/>
                  <a:gd name="connsiteX38" fmla="*/ 131162 w 263881"/>
                  <a:gd name="connsiteY38" fmla="*/ 228011 h 29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3881" h="299395">
                    <a:moveTo>
                      <a:pt x="131162" y="298929"/>
                    </a:moveTo>
                    <a:cubicBezTo>
                      <a:pt x="126032" y="298929"/>
                      <a:pt x="121014" y="297423"/>
                      <a:pt x="116722" y="294580"/>
                    </a:cubicBezTo>
                    <a:lnTo>
                      <a:pt x="10791" y="223885"/>
                    </a:lnTo>
                    <a:cubicBezTo>
                      <a:pt x="3542" y="219034"/>
                      <a:pt x="-807" y="210895"/>
                      <a:pt x="-807" y="202197"/>
                    </a:cubicBezTo>
                    <a:lnTo>
                      <a:pt x="-807" y="96265"/>
                    </a:lnTo>
                    <a:cubicBezTo>
                      <a:pt x="-807" y="87567"/>
                      <a:pt x="3542" y="79428"/>
                      <a:pt x="10791" y="74577"/>
                    </a:cubicBezTo>
                    <a:lnTo>
                      <a:pt x="116722" y="3882"/>
                    </a:lnTo>
                    <a:cubicBezTo>
                      <a:pt x="125475" y="-1916"/>
                      <a:pt x="136849" y="-1916"/>
                      <a:pt x="145602" y="3882"/>
                    </a:cubicBezTo>
                    <a:lnTo>
                      <a:pt x="251533" y="74577"/>
                    </a:lnTo>
                    <a:cubicBezTo>
                      <a:pt x="258782" y="79428"/>
                      <a:pt x="263130" y="87567"/>
                      <a:pt x="263075" y="96265"/>
                    </a:cubicBezTo>
                    <a:lnTo>
                      <a:pt x="263075" y="202197"/>
                    </a:lnTo>
                    <a:cubicBezTo>
                      <a:pt x="263075" y="210895"/>
                      <a:pt x="258782" y="219034"/>
                      <a:pt x="251533" y="223885"/>
                    </a:cubicBezTo>
                    <a:lnTo>
                      <a:pt x="145602" y="294580"/>
                    </a:lnTo>
                    <a:cubicBezTo>
                      <a:pt x="141309" y="297423"/>
                      <a:pt x="136291" y="298929"/>
                      <a:pt x="131162" y="298929"/>
                    </a:cubicBezTo>
                    <a:close/>
                    <a:moveTo>
                      <a:pt x="131162" y="16148"/>
                    </a:moveTo>
                    <a:cubicBezTo>
                      <a:pt x="129322" y="16148"/>
                      <a:pt x="127538" y="16705"/>
                      <a:pt x="125977" y="17709"/>
                    </a:cubicBezTo>
                    <a:lnTo>
                      <a:pt x="20045" y="88404"/>
                    </a:lnTo>
                    <a:cubicBezTo>
                      <a:pt x="17425" y="90132"/>
                      <a:pt x="15864" y="93032"/>
                      <a:pt x="15864" y="96154"/>
                    </a:cubicBezTo>
                    <a:lnTo>
                      <a:pt x="15864" y="202085"/>
                    </a:lnTo>
                    <a:cubicBezTo>
                      <a:pt x="15864" y="205208"/>
                      <a:pt x="17425" y="208107"/>
                      <a:pt x="20045" y="209835"/>
                    </a:cubicBezTo>
                    <a:lnTo>
                      <a:pt x="125977" y="280530"/>
                    </a:lnTo>
                    <a:cubicBezTo>
                      <a:pt x="129155" y="282593"/>
                      <a:pt x="133169" y="282593"/>
                      <a:pt x="136347" y="280530"/>
                    </a:cubicBezTo>
                    <a:lnTo>
                      <a:pt x="242278" y="209835"/>
                    </a:lnTo>
                    <a:cubicBezTo>
                      <a:pt x="244843" y="208107"/>
                      <a:pt x="246404" y="205208"/>
                      <a:pt x="246404" y="202085"/>
                    </a:cubicBezTo>
                    <a:lnTo>
                      <a:pt x="246404" y="96154"/>
                    </a:lnTo>
                    <a:cubicBezTo>
                      <a:pt x="246404" y="93032"/>
                      <a:pt x="244899" y="90132"/>
                      <a:pt x="242278" y="88404"/>
                    </a:cubicBezTo>
                    <a:lnTo>
                      <a:pt x="136347" y="17709"/>
                    </a:lnTo>
                    <a:cubicBezTo>
                      <a:pt x="134842" y="16649"/>
                      <a:pt x="133002" y="16148"/>
                      <a:pt x="131162" y="16148"/>
                    </a:cubicBezTo>
                    <a:close/>
                    <a:moveTo>
                      <a:pt x="131162" y="228011"/>
                    </a:moveTo>
                    <a:cubicBezTo>
                      <a:pt x="87507" y="228011"/>
                      <a:pt x="52103" y="192607"/>
                      <a:pt x="52103" y="148952"/>
                    </a:cubicBezTo>
                    <a:cubicBezTo>
                      <a:pt x="52103" y="105297"/>
                      <a:pt x="87507" y="69894"/>
                      <a:pt x="131162" y="69894"/>
                    </a:cubicBezTo>
                    <a:cubicBezTo>
                      <a:pt x="174817" y="69894"/>
                      <a:pt x="210220" y="105297"/>
                      <a:pt x="210220" y="148952"/>
                    </a:cubicBezTo>
                    <a:cubicBezTo>
                      <a:pt x="210220" y="153580"/>
                      <a:pt x="206485" y="157315"/>
                      <a:pt x="201857" y="157315"/>
                    </a:cubicBezTo>
                    <a:cubicBezTo>
                      <a:pt x="197230" y="157315"/>
                      <a:pt x="193494" y="153580"/>
                      <a:pt x="193494" y="148952"/>
                    </a:cubicBezTo>
                    <a:cubicBezTo>
                      <a:pt x="193494" y="114552"/>
                      <a:pt x="165561" y="86620"/>
                      <a:pt x="131162" y="86620"/>
                    </a:cubicBezTo>
                    <a:cubicBezTo>
                      <a:pt x="96762" y="86620"/>
                      <a:pt x="68829" y="114552"/>
                      <a:pt x="68829" y="148952"/>
                    </a:cubicBezTo>
                    <a:cubicBezTo>
                      <a:pt x="68829" y="183352"/>
                      <a:pt x="96762" y="211285"/>
                      <a:pt x="131162" y="211285"/>
                    </a:cubicBezTo>
                    <a:cubicBezTo>
                      <a:pt x="135789" y="211285"/>
                      <a:pt x="139525" y="215020"/>
                      <a:pt x="139525" y="219648"/>
                    </a:cubicBezTo>
                    <a:cubicBezTo>
                      <a:pt x="139525" y="224275"/>
                      <a:pt x="135789" y="228011"/>
                      <a:pt x="131162" y="228011"/>
                    </a:cubicBezTo>
                    <a:close/>
                  </a:path>
                </a:pathLst>
              </a:custGeom>
              <a:solidFill>
                <a:srgbClr val="30373B"/>
              </a:solidFill>
              <a:ln w="5573" cap="flat">
                <a:noFill/>
                <a:prstDash val="solid"/>
                <a:miter/>
              </a:ln>
            </p:spPr>
            <p:txBody>
              <a:bodyPr rtlCol="0" anchor="ctr"/>
              <a:lstStyle/>
              <a:p>
                <a:endParaRPr lang="en-GB"/>
              </a:p>
            </p:txBody>
          </p:sp>
          <p:sp>
            <p:nvSpPr>
              <p:cNvPr id="194" name="Graphic 6">
                <a:extLst>
                  <a:ext uri="{FF2B5EF4-FFF2-40B4-BE49-F238E27FC236}">
                    <a16:creationId xmlns:a16="http://schemas.microsoft.com/office/drawing/2014/main" id="{E3FA16A8-6D7B-B770-AE59-189F3A97C723}"/>
                  </a:ext>
                </a:extLst>
              </p:cNvPr>
              <p:cNvSpPr/>
              <p:nvPr/>
            </p:nvSpPr>
            <p:spPr>
              <a:xfrm>
                <a:off x="8979495" y="5504580"/>
                <a:ext cx="519341" cy="311473"/>
              </a:xfrm>
              <a:custGeom>
                <a:avLst/>
                <a:gdLst>
                  <a:gd name="connsiteX0" fmla="*/ 439452 w 519341"/>
                  <a:gd name="connsiteY0" fmla="*/ 310895 h 311473"/>
                  <a:gd name="connsiteX1" fmla="*/ 429026 w 519341"/>
                  <a:gd name="connsiteY1" fmla="*/ 309891 h 311473"/>
                  <a:gd name="connsiteX2" fmla="*/ 172059 w 519341"/>
                  <a:gd name="connsiteY2" fmla="*/ 260773 h 311473"/>
                  <a:gd name="connsiteX3" fmla="*/ 137102 w 519341"/>
                  <a:gd name="connsiteY3" fmla="*/ 237802 h 311473"/>
                  <a:gd name="connsiteX4" fmla="*/ 115804 w 519341"/>
                  <a:gd name="connsiteY4" fmla="*/ 206469 h 311473"/>
                  <a:gd name="connsiteX5" fmla="*/ 84471 w 519341"/>
                  <a:gd name="connsiteY5" fmla="*/ 227766 h 311473"/>
                  <a:gd name="connsiteX6" fmla="*/ 23755 w 519341"/>
                  <a:gd name="connsiteY6" fmla="*/ 228213 h 311473"/>
                  <a:gd name="connsiteX7" fmla="*/ 23755 w 519341"/>
                  <a:gd name="connsiteY7" fmla="*/ 228213 h 311473"/>
                  <a:gd name="connsiteX8" fmla="*/ 116 w 519341"/>
                  <a:gd name="connsiteY8" fmla="*/ 172459 h 311473"/>
                  <a:gd name="connsiteX9" fmla="*/ 24703 w 519341"/>
                  <a:gd name="connsiteY9" fmla="*/ 43947 h 311473"/>
                  <a:gd name="connsiteX10" fmla="*/ 47673 w 519341"/>
                  <a:gd name="connsiteY10" fmla="*/ 8990 h 311473"/>
                  <a:gd name="connsiteX11" fmla="*/ 67298 w 519341"/>
                  <a:gd name="connsiteY11" fmla="*/ 683 h 311473"/>
                  <a:gd name="connsiteX12" fmla="*/ 123498 w 519341"/>
                  <a:gd name="connsiteY12" fmla="*/ 23486 h 311473"/>
                  <a:gd name="connsiteX13" fmla="*/ 144796 w 519341"/>
                  <a:gd name="connsiteY13" fmla="*/ 54875 h 311473"/>
                  <a:gd name="connsiteX14" fmla="*/ 176185 w 519341"/>
                  <a:gd name="connsiteY14" fmla="*/ 33577 h 311473"/>
                  <a:gd name="connsiteX15" fmla="*/ 217108 w 519341"/>
                  <a:gd name="connsiteY15" fmla="*/ 25103 h 311473"/>
                  <a:gd name="connsiteX16" fmla="*/ 474131 w 519341"/>
                  <a:gd name="connsiteY16" fmla="*/ 74278 h 311473"/>
                  <a:gd name="connsiteX17" fmla="*/ 517563 w 519341"/>
                  <a:gd name="connsiteY17" fmla="*/ 138171 h 311473"/>
                  <a:gd name="connsiteX18" fmla="*/ 492975 w 519341"/>
                  <a:gd name="connsiteY18" fmla="*/ 266404 h 311473"/>
                  <a:gd name="connsiteX19" fmla="*/ 439452 w 519341"/>
                  <a:gd name="connsiteY19" fmla="*/ 311006 h 311473"/>
                  <a:gd name="connsiteX20" fmla="*/ 118313 w 519341"/>
                  <a:gd name="connsiteY20" fmla="*/ 186398 h 311473"/>
                  <a:gd name="connsiteX21" fmla="*/ 119874 w 519341"/>
                  <a:gd name="connsiteY21" fmla="*/ 186398 h 311473"/>
                  <a:gd name="connsiteX22" fmla="*/ 125449 w 519341"/>
                  <a:gd name="connsiteY22" fmla="*/ 189910 h 311473"/>
                  <a:gd name="connsiteX23" fmla="*/ 151430 w 519341"/>
                  <a:gd name="connsiteY23" fmla="*/ 228213 h 311473"/>
                  <a:gd name="connsiteX24" fmla="*/ 175683 w 519341"/>
                  <a:gd name="connsiteY24" fmla="*/ 244158 h 311473"/>
                  <a:gd name="connsiteX25" fmla="*/ 432706 w 519341"/>
                  <a:gd name="connsiteY25" fmla="*/ 293277 h 311473"/>
                  <a:gd name="connsiteX26" fmla="*/ 477253 w 519341"/>
                  <a:gd name="connsiteY26" fmla="*/ 263337 h 311473"/>
                  <a:gd name="connsiteX27" fmla="*/ 477309 w 519341"/>
                  <a:gd name="connsiteY27" fmla="*/ 263170 h 311473"/>
                  <a:gd name="connsiteX28" fmla="*/ 501896 w 519341"/>
                  <a:gd name="connsiteY28" fmla="*/ 134937 h 311473"/>
                  <a:gd name="connsiteX29" fmla="*/ 472068 w 519341"/>
                  <a:gd name="connsiteY29" fmla="*/ 90390 h 311473"/>
                  <a:gd name="connsiteX30" fmla="*/ 471789 w 519341"/>
                  <a:gd name="connsiteY30" fmla="*/ 90334 h 311473"/>
                  <a:gd name="connsiteX31" fmla="*/ 214766 w 519341"/>
                  <a:gd name="connsiteY31" fmla="*/ 41216 h 311473"/>
                  <a:gd name="connsiteX32" fmla="*/ 186332 w 519341"/>
                  <a:gd name="connsiteY32" fmla="*/ 46791 h 311473"/>
                  <a:gd name="connsiteX33" fmla="*/ 148085 w 519341"/>
                  <a:gd name="connsiteY33" fmla="*/ 72772 h 311473"/>
                  <a:gd name="connsiteX34" fmla="*/ 136433 w 519341"/>
                  <a:gd name="connsiteY34" fmla="*/ 70598 h 311473"/>
                  <a:gd name="connsiteX35" fmla="*/ 110451 w 519341"/>
                  <a:gd name="connsiteY35" fmla="*/ 32239 h 311473"/>
                  <a:gd name="connsiteX36" fmla="*/ 57765 w 519341"/>
                  <a:gd name="connsiteY36" fmla="*/ 22259 h 311473"/>
                  <a:gd name="connsiteX37" fmla="*/ 41875 w 519341"/>
                  <a:gd name="connsiteY37" fmla="*/ 46456 h 311473"/>
                  <a:gd name="connsiteX38" fmla="*/ 17343 w 519341"/>
                  <a:gd name="connsiteY38" fmla="*/ 174689 h 311473"/>
                  <a:gd name="connsiteX39" fmla="*/ 33735 w 519341"/>
                  <a:gd name="connsiteY39" fmla="*/ 213716 h 311473"/>
                  <a:gd name="connsiteX40" fmla="*/ 33735 w 519341"/>
                  <a:gd name="connsiteY40" fmla="*/ 213716 h 311473"/>
                  <a:gd name="connsiteX41" fmla="*/ 75829 w 519341"/>
                  <a:gd name="connsiteY41" fmla="*/ 213382 h 311473"/>
                  <a:gd name="connsiteX42" fmla="*/ 114131 w 519341"/>
                  <a:gd name="connsiteY42" fmla="*/ 187401 h 311473"/>
                  <a:gd name="connsiteX43" fmla="*/ 118313 w 519341"/>
                  <a:gd name="connsiteY43" fmla="*/ 186398 h 31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9341" h="311473">
                    <a:moveTo>
                      <a:pt x="439452" y="310895"/>
                    </a:moveTo>
                    <a:cubicBezTo>
                      <a:pt x="435940" y="310895"/>
                      <a:pt x="432483" y="310560"/>
                      <a:pt x="429026" y="309891"/>
                    </a:cubicBezTo>
                    <a:lnTo>
                      <a:pt x="172059" y="260773"/>
                    </a:lnTo>
                    <a:cubicBezTo>
                      <a:pt x="157786" y="258096"/>
                      <a:pt x="145186" y="249845"/>
                      <a:pt x="137102" y="237802"/>
                    </a:cubicBezTo>
                    <a:lnTo>
                      <a:pt x="115804" y="206469"/>
                    </a:lnTo>
                    <a:lnTo>
                      <a:pt x="84471" y="227766"/>
                    </a:lnTo>
                    <a:cubicBezTo>
                      <a:pt x="66183" y="240199"/>
                      <a:pt x="42209" y="240367"/>
                      <a:pt x="23755" y="228213"/>
                    </a:cubicBezTo>
                    <a:lnTo>
                      <a:pt x="23755" y="228213"/>
                    </a:lnTo>
                    <a:cubicBezTo>
                      <a:pt x="5412" y="216058"/>
                      <a:pt x="-3899" y="194092"/>
                      <a:pt x="116" y="172459"/>
                    </a:cubicBezTo>
                    <a:lnTo>
                      <a:pt x="24703" y="43947"/>
                    </a:lnTo>
                    <a:cubicBezTo>
                      <a:pt x="27379" y="29675"/>
                      <a:pt x="35631" y="17075"/>
                      <a:pt x="47673" y="8990"/>
                    </a:cubicBezTo>
                    <a:cubicBezTo>
                      <a:pt x="53639" y="4976"/>
                      <a:pt x="60273" y="2132"/>
                      <a:pt x="67298" y="683"/>
                    </a:cubicBezTo>
                    <a:cubicBezTo>
                      <a:pt x="88931" y="-3833"/>
                      <a:pt x="111120" y="5199"/>
                      <a:pt x="123498" y="23486"/>
                    </a:cubicBezTo>
                    <a:lnTo>
                      <a:pt x="144796" y="54875"/>
                    </a:lnTo>
                    <a:lnTo>
                      <a:pt x="176185" y="33577"/>
                    </a:lnTo>
                    <a:cubicBezTo>
                      <a:pt x="188172" y="25493"/>
                      <a:pt x="202891" y="22427"/>
                      <a:pt x="217108" y="25103"/>
                    </a:cubicBezTo>
                    <a:lnTo>
                      <a:pt x="474131" y="74278"/>
                    </a:lnTo>
                    <a:cubicBezTo>
                      <a:pt x="503792" y="79908"/>
                      <a:pt x="523194" y="108510"/>
                      <a:pt x="517563" y="138171"/>
                    </a:cubicBezTo>
                    <a:lnTo>
                      <a:pt x="492975" y="266404"/>
                    </a:lnTo>
                    <a:cubicBezTo>
                      <a:pt x="488125" y="292162"/>
                      <a:pt x="465657" y="310895"/>
                      <a:pt x="439452" y="311006"/>
                    </a:cubicBezTo>
                    <a:close/>
                    <a:moveTo>
                      <a:pt x="118313" y="186398"/>
                    </a:moveTo>
                    <a:cubicBezTo>
                      <a:pt x="118814" y="186342"/>
                      <a:pt x="119372" y="186342"/>
                      <a:pt x="119874" y="186398"/>
                    </a:cubicBezTo>
                    <a:cubicBezTo>
                      <a:pt x="122159" y="186788"/>
                      <a:pt x="124167" y="188014"/>
                      <a:pt x="125449" y="189910"/>
                    </a:cubicBezTo>
                    <a:lnTo>
                      <a:pt x="151430" y="228213"/>
                    </a:lnTo>
                    <a:cubicBezTo>
                      <a:pt x="157061" y="236520"/>
                      <a:pt x="165815" y="242262"/>
                      <a:pt x="175683" y="244158"/>
                    </a:cubicBezTo>
                    <a:lnTo>
                      <a:pt x="432706" y="293277"/>
                    </a:lnTo>
                    <a:cubicBezTo>
                      <a:pt x="453279" y="297291"/>
                      <a:pt x="473239" y="283910"/>
                      <a:pt x="477253" y="263337"/>
                    </a:cubicBezTo>
                    <a:cubicBezTo>
                      <a:pt x="477309" y="263281"/>
                      <a:pt x="477309" y="263225"/>
                      <a:pt x="477309" y="263170"/>
                    </a:cubicBezTo>
                    <a:lnTo>
                      <a:pt x="501896" y="134937"/>
                    </a:lnTo>
                    <a:cubicBezTo>
                      <a:pt x="505966" y="114420"/>
                      <a:pt x="492585" y="94460"/>
                      <a:pt x="472068" y="90390"/>
                    </a:cubicBezTo>
                    <a:cubicBezTo>
                      <a:pt x="471957" y="90390"/>
                      <a:pt x="471901" y="90334"/>
                      <a:pt x="471789" y="90334"/>
                    </a:cubicBezTo>
                    <a:lnTo>
                      <a:pt x="214766" y="41216"/>
                    </a:lnTo>
                    <a:cubicBezTo>
                      <a:pt x="204898" y="39264"/>
                      <a:pt x="194695" y="41271"/>
                      <a:pt x="186332" y="46791"/>
                    </a:cubicBezTo>
                    <a:lnTo>
                      <a:pt x="148085" y="72772"/>
                    </a:lnTo>
                    <a:cubicBezTo>
                      <a:pt x="144238" y="75392"/>
                      <a:pt x="139053" y="74389"/>
                      <a:pt x="136433" y="70598"/>
                    </a:cubicBezTo>
                    <a:lnTo>
                      <a:pt x="110451" y="32239"/>
                    </a:lnTo>
                    <a:cubicBezTo>
                      <a:pt x="98687" y="14956"/>
                      <a:pt x="75104" y="10440"/>
                      <a:pt x="57765" y="22259"/>
                    </a:cubicBezTo>
                    <a:cubicBezTo>
                      <a:pt x="49457" y="27890"/>
                      <a:pt x="43770" y="36588"/>
                      <a:pt x="41875" y="46456"/>
                    </a:cubicBezTo>
                    <a:lnTo>
                      <a:pt x="17343" y="174689"/>
                    </a:lnTo>
                    <a:cubicBezTo>
                      <a:pt x="14332" y="189799"/>
                      <a:pt x="20856" y="205242"/>
                      <a:pt x="33735" y="213716"/>
                    </a:cubicBezTo>
                    <a:lnTo>
                      <a:pt x="33735" y="213716"/>
                    </a:lnTo>
                    <a:cubicBezTo>
                      <a:pt x="46558" y="222191"/>
                      <a:pt x="63173" y="222024"/>
                      <a:pt x="75829" y="213382"/>
                    </a:cubicBezTo>
                    <a:lnTo>
                      <a:pt x="114131" y="187401"/>
                    </a:lnTo>
                    <a:cubicBezTo>
                      <a:pt x="115413" y="186732"/>
                      <a:pt x="116863" y="186342"/>
                      <a:pt x="118313" y="186398"/>
                    </a:cubicBezTo>
                    <a:close/>
                  </a:path>
                </a:pathLst>
              </a:custGeom>
              <a:solidFill>
                <a:srgbClr val="30373B"/>
              </a:solidFill>
              <a:ln w="5573" cap="flat">
                <a:noFill/>
                <a:prstDash val="solid"/>
                <a:miter/>
              </a:ln>
            </p:spPr>
            <p:txBody>
              <a:bodyPr rtlCol="0" anchor="ctr"/>
              <a:lstStyle/>
              <a:p>
                <a:endParaRPr lang="en-GB"/>
              </a:p>
            </p:txBody>
          </p:sp>
          <p:sp>
            <p:nvSpPr>
              <p:cNvPr id="195" name="Graphic 6">
                <a:extLst>
                  <a:ext uri="{FF2B5EF4-FFF2-40B4-BE49-F238E27FC236}">
                    <a16:creationId xmlns:a16="http://schemas.microsoft.com/office/drawing/2014/main" id="{7D4B7714-4ADE-39DE-6256-E415C1403881}"/>
                  </a:ext>
                </a:extLst>
              </p:cNvPr>
              <p:cNvSpPr/>
              <p:nvPr/>
            </p:nvSpPr>
            <p:spPr>
              <a:xfrm>
                <a:off x="8564794" y="5486970"/>
                <a:ext cx="449772" cy="162196"/>
              </a:xfrm>
              <a:custGeom>
                <a:avLst/>
                <a:gdLst>
                  <a:gd name="connsiteX0" fmla="*/ 430316 w 449772"/>
                  <a:gd name="connsiteY0" fmla="*/ 161523 h 162196"/>
                  <a:gd name="connsiteX1" fmla="*/ 428756 w 449772"/>
                  <a:gd name="connsiteY1" fmla="*/ 161523 h 162196"/>
                  <a:gd name="connsiteX2" fmla="*/ 154839 w 449772"/>
                  <a:gd name="connsiteY2" fmla="*/ 109171 h 162196"/>
                  <a:gd name="connsiteX3" fmla="*/ 126683 w 449772"/>
                  <a:gd name="connsiteY3" fmla="*/ 128294 h 162196"/>
                  <a:gd name="connsiteX4" fmla="*/ 119491 w 449772"/>
                  <a:gd name="connsiteY4" fmla="*/ 129354 h 162196"/>
                  <a:gd name="connsiteX5" fmla="*/ 4918 w 449772"/>
                  <a:gd name="connsiteY5" fmla="*/ 93950 h 162196"/>
                  <a:gd name="connsiteX6" fmla="*/ -657 w 449772"/>
                  <a:gd name="connsiteY6" fmla="*/ 84416 h 162196"/>
                  <a:gd name="connsiteX7" fmla="*/ 14284 w 449772"/>
                  <a:gd name="connsiteY7" fmla="*/ 6361 h 162196"/>
                  <a:gd name="connsiteX8" fmla="*/ 23150 w 449772"/>
                  <a:gd name="connsiteY8" fmla="*/ -441 h 162196"/>
                  <a:gd name="connsiteX9" fmla="*/ 142684 w 449772"/>
                  <a:gd name="connsiteY9" fmla="*/ 8926 h 162196"/>
                  <a:gd name="connsiteX10" fmla="*/ 148985 w 449772"/>
                  <a:gd name="connsiteY10" fmla="*/ 12606 h 162196"/>
                  <a:gd name="connsiteX11" fmla="*/ 168053 w 449772"/>
                  <a:gd name="connsiteY11" fmla="*/ 40482 h 162196"/>
                  <a:gd name="connsiteX12" fmla="*/ 442025 w 449772"/>
                  <a:gd name="connsiteY12" fmla="*/ 92835 h 162196"/>
                  <a:gd name="connsiteX13" fmla="*/ 448827 w 449772"/>
                  <a:gd name="connsiteY13" fmla="*/ 102759 h 162196"/>
                  <a:gd name="connsiteX14" fmla="*/ 438902 w 449772"/>
                  <a:gd name="connsiteY14" fmla="*/ 109561 h 162196"/>
                  <a:gd name="connsiteX15" fmla="*/ 161529 w 449772"/>
                  <a:gd name="connsiteY15" fmla="*/ 56539 h 162196"/>
                  <a:gd name="connsiteX16" fmla="*/ 155954 w 449772"/>
                  <a:gd name="connsiteY16" fmla="*/ 53027 h 162196"/>
                  <a:gd name="connsiteX17" fmla="*/ 137165 w 449772"/>
                  <a:gd name="connsiteY17" fmla="*/ 25150 h 162196"/>
                  <a:gd name="connsiteX18" fmla="*/ 29059 w 449772"/>
                  <a:gd name="connsiteY18" fmla="*/ 16675 h 162196"/>
                  <a:gd name="connsiteX19" fmla="*/ 16960 w 449772"/>
                  <a:gd name="connsiteY19" fmla="*/ 80012 h 162196"/>
                  <a:gd name="connsiteX20" fmla="*/ 120551 w 449772"/>
                  <a:gd name="connsiteY20" fmla="*/ 112014 h 162196"/>
                  <a:gd name="connsiteX21" fmla="*/ 148427 w 449772"/>
                  <a:gd name="connsiteY21" fmla="*/ 93225 h 162196"/>
                  <a:gd name="connsiteX22" fmla="*/ 154672 w 449772"/>
                  <a:gd name="connsiteY22" fmla="*/ 91943 h 162196"/>
                  <a:gd name="connsiteX23" fmla="*/ 431989 w 449772"/>
                  <a:gd name="connsiteY23" fmla="*/ 144964 h 162196"/>
                  <a:gd name="connsiteX24" fmla="*/ 439571 w 449772"/>
                  <a:gd name="connsiteY24" fmla="*/ 154108 h 162196"/>
                  <a:gd name="connsiteX25" fmla="*/ 430428 w 449772"/>
                  <a:gd name="connsiteY25" fmla="*/ 161690 h 16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9772" h="162196">
                    <a:moveTo>
                      <a:pt x="430316" y="161523"/>
                    </a:moveTo>
                    <a:lnTo>
                      <a:pt x="428756" y="161523"/>
                    </a:lnTo>
                    <a:lnTo>
                      <a:pt x="154839" y="109171"/>
                    </a:lnTo>
                    <a:lnTo>
                      <a:pt x="126683" y="128294"/>
                    </a:lnTo>
                    <a:cubicBezTo>
                      <a:pt x="124565" y="129688"/>
                      <a:pt x="121944" y="130078"/>
                      <a:pt x="119491" y="129354"/>
                    </a:cubicBezTo>
                    <a:lnTo>
                      <a:pt x="4918" y="93950"/>
                    </a:lnTo>
                    <a:cubicBezTo>
                      <a:pt x="904" y="92612"/>
                      <a:pt x="-1438" y="88542"/>
                      <a:pt x="-657" y="84416"/>
                    </a:cubicBezTo>
                    <a:lnTo>
                      <a:pt x="14284" y="6361"/>
                    </a:lnTo>
                    <a:cubicBezTo>
                      <a:pt x="15065" y="2124"/>
                      <a:pt x="18856" y="-775"/>
                      <a:pt x="23150" y="-441"/>
                    </a:cubicBezTo>
                    <a:lnTo>
                      <a:pt x="142684" y="8926"/>
                    </a:lnTo>
                    <a:cubicBezTo>
                      <a:pt x="145249" y="9149"/>
                      <a:pt x="147535" y="10487"/>
                      <a:pt x="148985" y="12606"/>
                    </a:cubicBezTo>
                    <a:lnTo>
                      <a:pt x="168053" y="40482"/>
                    </a:lnTo>
                    <a:lnTo>
                      <a:pt x="442025" y="92835"/>
                    </a:lnTo>
                    <a:cubicBezTo>
                      <a:pt x="446652" y="93671"/>
                      <a:pt x="449663" y="98132"/>
                      <a:pt x="448827" y="102759"/>
                    </a:cubicBezTo>
                    <a:cubicBezTo>
                      <a:pt x="447990" y="107386"/>
                      <a:pt x="443530" y="110397"/>
                      <a:pt x="438902" y="109561"/>
                    </a:cubicBezTo>
                    <a:lnTo>
                      <a:pt x="161529" y="56539"/>
                    </a:lnTo>
                    <a:cubicBezTo>
                      <a:pt x="159243" y="56205"/>
                      <a:pt x="157236" y="54923"/>
                      <a:pt x="155954" y="53027"/>
                    </a:cubicBezTo>
                    <a:lnTo>
                      <a:pt x="137165" y="25150"/>
                    </a:lnTo>
                    <a:lnTo>
                      <a:pt x="29059" y="16675"/>
                    </a:lnTo>
                    <a:lnTo>
                      <a:pt x="16960" y="80012"/>
                    </a:lnTo>
                    <a:lnTo>
                      <a:pt x="120551" y="112014"/>
                    </a:lnTo>
                    <a:lnTo>
                      <a:pt x="148427" y="93225"/>
                    </a:lnTo>
                    <a:cubicBezTo>
                      <a:pt x="150267" y="91998"/>
                      <a:pt x="152497" y="91497"/>
                      <a:pt x="154672" y="91943"/>
                    </a:cubicBezTo>
                    <a:lnTo>
                      <a:pt x="431989" y="144964"/>
                    </a:lnTo>
                    <a:cubicBezTo>
                      <a:pt x="436616" y="145411"/>
                      <a:pt x="440017" y="149480"/>
                      <a:pt x="439571" y="154108"/>
                    </a:cubicBezTo>
                    <a:cubicBezTo>
                      <a:pt x="439126" y="158736"/>
                      <a:pt x="435056" y="162137"/>
                      <a:pt x="430428" y="161690"/>
                    </a:cubicBezTo>
                    <a:close/>
                  </a:path>
                </a:pathLst>
              </a:custGeom>
              <a:solidFill>
                <a:srgbClr val="30373B"/>
              </a:solidFill>
              <a:ln w="5573" cap="flat">
                <a:noFill/>
                <a:prstDash val="solid"/>
                <a:miter/>
              </a:ln>
            </p:spPr>
            <p:txBody>
              <a:bodyPr rtlCol="0" anchor="ctr"/>
              <a:lstStyle/>
              <a:p>
                <a:endParaRPr lang="en-GB"/>
              </a:p>
            </p:txBody>
          </p:sp>
          <p:sp>
            <p:nvSpPr>
              <p:cNvPr id="196" name="Graphic 6">
                <a:extLst>
                  <a:ext uri="{FF2B5EF4-FFF2-40B4-BE49-F238E27FC236}">
                    <a16:creationId xmlns:a16="http://schemas.microsoft.com/office/drawing/2014/main" id="{589F3B71-D475-BDA5-E072-5BD74CA0118D}"/>
                  </a:ext>
                </a:extLst>
              </p:cNvPr>
              <p:cNvSpPr/>
              <p:nvPr/>
            </p:nvSpPr>
            <p:spPr>
              <a:xfrm>
                <a:off x="9181135" y="5677828"/>
                <a:ext cx="294913" cy="74148"/>
              </a:xfrm>
              <a:custGeom>
                <a:avLst/>
                <a:gdLst>
                  <a:gd name="connsiteX0" fmla="*/ 284645 w 294913"/>
                  <a:gd name="connsiteY0" fmla="*/ 73474 h 74148"/>
                  <a:gd name="connsiteX1" fmla="*/ 282916 w 294913"/>
                  <a:gd name="connsiteY1" fmla="*/ 73474 h 74148"/>
                  <a:gd name="connsiteX2" fmla="*/ 5878 w 294913"/>
                  <a:gd name="connsiteY2" fmla="*/ 16104 h 74148"/>
                  <a:gd name="connsiteX3" fmla="*/ -646 w 294913"/>
                  <a:gd name="connsiteY3" fmla="*/ 6180 h 74148"/>
                  <a:gd name="connsiteX4" fmla="*/ 9279 w 294913"/>
                  <a:gd name="connsiteY4" fmla="*/ -287 h 74148"/>
                  <a:gd name="connsiteX5" fmla="*/ 286540 w 294913"/>
                  <a:gd name="connsiteY5" fmla="*/ 56916 h 74148"/>
                  <a:gd name="connsiteX6" fmla="*/ 294067 w 294913"/>
                  <a:gd name="connsiteY6" fmla="*/ 66115 h 74148"/>
                  <a:gd name="connsiteX7" fmla="*/ 284868 w 294913"/>
                  <a:gd name="connsiteY7" fmla="*/ 73642 h 7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913" h="74148">
                    <a:moveTo>
                      <a:pt x="284645" y="73474"/>
                    </a:moveTo>
                    <a:cubicBezTo>
                      <a:pt x="284087" y="73530"/>
                      <a:pt x="283474" y="73530"/>
                      <a:pt x="282916" y="73474"/>
                    </a:cubicBezTo>
                    <a:lnTo>
                      <a:pt x="5878" y="16104"/>
                    </a:lnTo>
                    <a:cubicBezTo>
                      <a:pt x="1361" y="15157"/>
                      <a:pt x="-1537" y="10752"/>
                      <a:pt x="-646" y="6180"/>
                    </a:cubicBezTo>
                    <a:cubicBezTo>
                      <a:pt x="302" y="1664"/>
                      <a:pt x="4763" y="-1235"/>
                      <a:pt x="9279" y="-287"/>
                    </a:cubicBezTo>
                    <a:lnTo>
                      <a:pt x="286540" y="56916"/>
                    </a:lnTo>
                    <a:cubicBezTo>
                      <a:pt x="291168" y="57362"/>
                      <a:pt x="294513" y="61487"/>
                      <a:pt x="294067" y="66115"/>
                    </a:cubicBezTo>
                    <a:cubicBezTo>
                      <a:pt x="293621" y="70743"/>
                      <a:pt x="289495" y="74088"/>
                      <a:pt x="284868" y="73642"/>
                    </a:cubicBezTo>
                    <a:close/>
                  </a:path>
                </a:pathLst>
              </a:custGeom>
              <a:solidFill>
                <a:srgbClr val="30373B"/>
              </a:solidFill>
              <a:ln w="5573" cap="flat">
                <a:noFill/>
                <a:prstDash val="solid"/>
                <a:miter/>
              </a:ln>
            </p:spPr>
            <p:txBody>
              <a:bodyPr rtlCol="0" anchor="ctr"/>
              <a:lstStyle/>
              <a:p>
                <a:endParaRPr lang="en-GB"/>
              </a:p>
            </p:txBody>
          </p:sp>
          <p:sp>
            <p:nvSpPr>
              <p:cNvPr id="197" name="Graphic 6">
                <a:extLst>
                  <a:ext uri="{FF2B5EF4-FFF2-40B4-BE49-F238E27FC236}">
                    <a16:creationId xmlns:a16="http://schemas.microsoft.com/office/drawing/2014/main" id="{437D16E4-E18C-3954-6515-6DCF2CFC2EC9}"/>
                  </a:ext>
                </a:extLst>
              </p:cNvPr>
              <p:cNvSpPr/>
              <p:nvPr/>
            </p:nvSpPr>
            <p:spPr>
              <a:xfrm>
                <a:off x="5515845" y="6034271"/>
                <a:ext cx="502226" cy="241970"/>
              </a:xfrm>
              <a:custGeom>
                <a:avLst/>
                <a:gdLst>
                  <a:gd name="connsiteX0" fmla="*/ 446447 w 502226"/>
                  <a:gd name="connsiteY0" fmla="*/ 241448 h 241970"/>
                  <a:gd name="connsiteX1" fmla="*/ 446057 w 502226"/>
                  <a:gd name="connsiteY1" fmla="*/ 241448 h 241970"/>
                  <a:gd name="connsiteX2" fmla="*/ 184406 w 502226"/>
                  <a:gd name="connsiteY2" fmla="*/ 240221 h 241970"/>
                  <a:gd name="connsiteX3" fmla="*/ 145881 w 502226"/>
                  <a:gd name="connsiteY3" fmla="*/ 224053 h 241970"/>
                  <a:gd name="connsiteX4" fmla="*/ 119175 w 502226"/>
                  <a:gd name="connsiteY4" fmla="*/ 197124 h 241970"/>
                  <a:gd name="connsiteX5" fmla="*/ 92246 w 502226"/>
                  <a:gd name="connsiteY5" fmla="*/ 223774 h 241970"/>
                  <a:gd name="connsiteX6" fmla="*/ 14977 w 502226"/>
                  <a:gd name="connsiteY6" fmla="*/ 223328 h 241970"/>
                  <a:gd name="connsiteX7" fmla="*/ -806 w 502226"/>
                  <a:gd name="connsiteY7" fmla="*/ 184747 h 241970"/>
                  <a:gd name="connsiteX8" fmla="*/ -193 w 502226"/>
                  <a:gd name="connsiteY8" fmla="*/ 53894 h 241970"/>
                  <a:gd name="connsiteX9" fmla="*/ 54718 w 502226"/>
                  <a:gd name="connsiteY9" fmla="*/ -466 h 241970"/>
                  <a:gd name="connsiteX10" fmla="*/ 93250 w 502226"/>
                  <a:gd name="connsiteY10" fmla="*/ 15703 h 241970"/>
                  <a:gd name="connsiteX11" fmla="*/ 119955 w 502226"/>
                  <a:gd name="connsiteY11" fmla="*/ 42687 h 241970"/>
                  <a:gd name="connsiteX12" fmla="*/ 146884 w 502226"/>
                  <a:gd name="connsiteY12" fmla="*/ 15981 h 241970"/>
                  <a:gd name="connsiteX13" fmla="*/ 185354 w 502226"/>
                  <a:gd name="connsiteY13" fmla="*/ 147 h 241970"/>
                  <a:gd name="connsiteX14" fmla="*/ 185354 w 502226"/>
                  <a:gd name="connsiteY14" fmla="*/ 147 h 241970"/>
                  <a:gd name="connsiteX15" fmla="*/ 447060 w 502226"/>
                  <a:gd name="connsiteY15" fmla="*/ 1429 h 241970"/>
                  <a:gd name="connsiteX16" fmla="*/ 501420 w 502226"/>
                  <a:gd name="connsiteY16" fmla="*/ 56346 h 241970"/>
                  <a:gd name="connsiteX17" fmla="*/ 500751 w 502226"/>
                  <a:gd name="connsiteY17" fmla="*/ 187144 h 241970"/>
                  <a:gd name="connsiteX18" fmla="*/ 446224 w 502226"/>
                  <a:gd name="connsiteY18" fmla="*/ 241504 h 241970"/>
                  <a:gd name="connsiteX19" fmla="*/ 119231 w 502226"/>
                  <a:gd name="connsiteY19" fmla="*/ 177053 h 241970"/>
                  <a:gd name="connsiteX20" fmla="*/ 119231 w 502226"/>
                  <a:gd name="connsiteY20" fmla="*/ 177053 h 241970"/>
                  <a:gd name="connsiteX21" fmla="*/ 125140 w 502226"/>
                  <a:gd name="connsiteY21" fmla="*/ 179561 h 241970"/>
                  <a:gd name="connsiteX22" fmla="*/ 157701 w 502226"/>
                  <a:gd name="connsiteY22" fmla="*/ 212400 h 241970"/>
                  <a:gd name="connsiteX23" fmla="*/ 184462 w 502226"/>
                  <a:gd name="connsiteY23" fmla="*/ 223551 h 241970"/>
                  <a:gd name="connsiteX24" fmla="*/ 446113 w 502226"/>
                  <a:gd name="connsiteY24" fmla="*/ 224778 h 241970"/>
                  <a:gd name="connsiteX25" fmla="*/ 446391 w 502226"/>
                  <a:gd name="connsiteY25" fmla="*/ 224778 h 241970"/>
                  <a:gd name="connsiteX26" fmla="*/ 484192 w 502226"/>
                  <a:gd name="connsiteY26" fmla="*/ 187089 h 241970"/>
                  <a:gd name="connsiteX27" fmla="*/ 484861 w 502226"/>
                  <a:gd name="connsiteY27" fmla="*/ 56235 h 241970"/>
                  <a:gd name="connsiteX28" fmla="*/ 447116 w 502226"/>
                  <a:gd name="connsiteY28" fmla="*/ 18155 h 241970"/>
                  <a:gd name="connsiteX29" fmla="*/ 185410 w 502226"/>
                  <a:gd name="connsiteY29" fmla="*/ 16873 h 241970"/>
                  <a:gd name="connsiteX30" fmla="*/ 158592 w 502226"/>
                  <a:gd name="connsiteY30" fmla="*/ 28024 h 241970"/>
                  <a:gd name="connsiteX31" fmla="*/ 125698 w 502226"/>
                  <a:gd name="connsiteY31" fmla="*/ 60584 h 241970"/>
                  <a:gd name="connsiteX32" fmla="*/ 113951 w 502226"/>
                  <a:gd name="connsiteY32" fmla="*/ 60640 h 241970"/>
                  <a:gd name="connsiteX33" fmla="*/ 113878 w 502226"/>
                  <a:gd name="connsiteY33" fmla="*/ 60584 h 241970"/>
                  <a:gd name="connsiteX34" fmla="*/ 81318 w 502226"/>
                  <a:gd name="connsiteY34" fmla="*/ 27689 h 241970"/>
                  <a:gd name="connsiteX35" fmla="*/ 27622 w 502226"/>
                  <a:gd name="connsiteY35" fmla="*/ 27633 h 241970"/>
                  <a:gd name="connsiteX36" fmla="*/ 16477 w 502226"/>
                  <a:gd name="connsiteY36" fmla="*/ 54172 h 241970"/>
                  <a:gd name="connsiteX37" fmla="*/ 15864 w 502226"/>
                  <a:gd name="connsiteY37" fmla="*/ 185026 h 241970"/>
                  <a:gd name="connsiteX38" fmla="*/ 15864 w 502226"/>
                  <a:gd name="connsiteY38" fmla="*/ 185026 h 241970"/>
                  <a:gd name="connsiteX39" fmla="*/ 27015 w 502226"/>
                  <a:gd name="connsiteY39" fmla="*/ 211899 h 241970"/>
                  <a:gd name="connsiteX40" fmla="*/ 39280 w 502226"/>
                  <a:gd name="connsiteY40" fmla="*/ 220150 h 241970"/>
                  <a:gd name="connsiteX41" fmla="*/ 80593 w 502226"/>
                  <a:gd name="connsiteY41" fmla="*/ 212178 h 241970"/>
                  <a:gd name="connsiteX42" fmla="*/ 113488 w 502226"/>
                  <a:gd name="connsiteY42" fmla="*/ 179617 h 241970"/>
                  <a:gd name="connsiteX43" fmla="*/ 119231 w 502226"/>
                  <a:gd name="connsiteY43" fmla="*/ 177053 h 241970"/>
                  <a:gd name="connsiteX44" fmla="*/ 7724 w 502226"/>
                  <a:gd name="connsiteY44" fmla="*/ 184858 h 241970"/>
                  <a:gd name="connsiteX45" fmla="*/ 7724 w 502226"/>
                  <a:gd name="connsiteY45" fmla="*/ 184858 h 24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02226" h="241970">
                    <a:moveTo>
                      <a:pt x="446447" y="241448"/>
                    </a:moveTo>
                    <a:lnTo>
                      <a:pt x="446057" y="241448"/>
                    </a:lnTo>
                    <a:lnTo>
                      <a:pt x="184406" y="240221"/>
                    </a:lnTo>
                    <a:cubicBezTo>
                      <a:pt x="169922" y="240165"/>
                      <a:pt x="156050" y="234367"/>
                      <a:pt x="145881" y="224053"/>
                    </a:cubicBezTo>
                    <a:lnTo>
                      <a:pt x="119175" y="197124"/>
                    </a:lnTo>
                    <a:lnTo>
                      <a:pt x="92246" y="223774"/>
                    </a:lnTo>
                    <a:cubicBezTo>
                      <a:pt x="70787" y="245016"/>
                      <a:pt x="36192" y="244793"/>
                      <a:pt x="14977" y="223328"/>
                    </a:cubicBezTo>
                    <a:cubicBezTo>
                      <a:pt x="4825" y="213069"/>
                      <a:pt x="-851" y="199187"/>
                      <a:pt x="-806" y="184747"/>
                    </a:cubicBezTo>
                    <a:lnTo>
                      <a:pt x="-193" y="53894"/>
                    </a:lnTo>
                    <a:cubicBezTo>
                      <a:pt x="-43" y="23731"/>
                      <a:pt x="24545" y="-633"/>
                      <a:pt x="54718" y="-466"/>
                    </a:cubicBezTo>
                    <a:cubicBezTo>
                      <a:pt x="69197" y="-410"/>
                      <a:pt x="83058" y="5444"/>
                      <a:pt x="93250" y="15703"/>
                    </a:cubicBezTo>
                    <a:lnTo>
                      <a:pt x="119955" y="42687"/>
                    </a:lnTo>
                    <a:lnTo>
                      <a:pt x="146884" y="15981"/>
                    </a:lnTo>
                    <a:cubicBezTo>
                      <a:pt x="157143" y="5890"/>
                      <a:pt x="170953" y="203"/>
                      <a:pt x="185354" y="147"/>
                    </a:cubicBezTo>
                    <a:lnTo>
                      <a:pt x="185354" y="147"/>
                    </a:lnTo>
                    <a:lnTo>
                      <a:pt x="447060" y="1429"/>
                    </a:lnTo>
                    <a:cubicBezTo>
                      <a:pt x="477212" y="1653"/>
                      <a:pt x="501515" y="26184"/>
                      <a:pt x="501420" y="56346"/>
                    </a:cubicBezTo>
                    <a:lnTo>
                      <a:pt x="500751" y="187144"/>
                    </a:lnTo>
                    <a:cubicBezTo>
                      <a:pt x="500601" y="217195"/>
                      <a:pt x="476248" y="241448"/>
                      <a:pt x="446224" y="241504"/>
                    </a:cubicBezTo>
                    <a:close/>
                    <a:moveTo>
                      <a:pt x="119231" y="177053"/>
                    </a:moveTo>
                    <a:lnTo>
                      <a:pt x="119231" y="177053"/>
                    </a:lnTo>
                    <a:cubicBezTo>
                      <a:pt x="121450" y="177109"/>
                      <a:pt x="123568" y="178001"/>
                      <a:pt x="125140" y="179561"/>
                    </a:cubicBezTo>
                    <a:lnTo>
                      <a:pt x="157701" y="212400"/>
                    </a:lnTo>
                    <a:cubicBezTo>
                      <a:pt x="164781" y="219537"/>
                      <a:pt x="174415" y="223551"/>
                      <a:pt x="184462" y="223551"/>
                    </a:cubicBezTo>
                    <a:lnTo>
                      <a:pt x="446113" y="224778"/>
                    </a:lnTo>
                    <a:lnTo>
                      <a:pt x="446391" y="224778"/>
                    </a:lnTo>
                    <a:cubicBezTo>
                      <a:pt x="467210" y="224722"/>
                      <a:pt x="484097" y="207884"/>
                      <a:pt x="484192" y="187089"/>
                    </a:cubicBezTo>
                    <a:lnTo>
                      <a:pt x="484861" y="56235"/>
                    </a:lnTo>
                    <a:cubicBezTo>
                      <a:pt x="484923" y="35327"/>
                      <a:pt x="468040" y="18267"/>
                      <a:pt x="447116" y="18155"/>
                    </a:cubicBezTo>
                    <a:lnTo>
                      <a:pt x="185410" y="16873"/>
                    </a:lnTo>
                    <a:cubicBezTo>
                      <a:pt x="175346" y="16929"/>
                      <a:pt x="165707" y="20887"/>
                      <a:pt x="158592" y="28024"/>
                    </a:cubicBezTo>
                    <a:lnTo>
                      <a:pt x="125698" y="60584"/>
                    </a:lnTo>
                    <a:cubicBezTo>
                      <a:pt x="122476" y="63873"/>
                      <a:pt x="117212" y="63873"/>
                      <a:pt x="113951" y="60640"/>
                    </a:cubicBezTo>
                    <a:cubicBezTo>
                      <a:pt x="113928" y="60640"/>
                      <a:pt x="113901" y="60584"/>
                      <a:pt x="113878" y="60584"/>
                    </a:cubicBezTo>
                    <a:lnTo>
                      <a:pt x="81318" y="27689"/>
                    </a:lnTo>
                    <a:cubicBezTo>
                      <a:pt x="66505" y="12859"/>
                      <a:pt x="42464" y="12803"/>
                      <a:pt x="27622" y="27633"/>
                    </a:cubicBezTo>
                    <a:cubicBezTo>
                      <a:pt x="20569" y="34658"/>
                      <a:pt x="16566" y="44193"/>
                      <a:pt x="16477" y="54172"/>
                    </a:cubicBezTo>
                    <a:lnTo>
                      <a:pt x="15864" y="185026"/>
                    </a:lnTo>
                    <a:lnTo>
                      <a:pt x="15864" y="185026"/>
                    </a:lnTo>
                    <a:cubicBezTo>
                      <a:pt x="15819" y="195117"/>
                      <a:pt x="19839" y="204818"/>
                      <a:pt x="27015" y="211899"/>
                    </a:cubicBezTo>
                    <a:cubicBezTo>
                      <a:pt x="30499" y="215467"/>
                      <a:pt x="34675" y="218255"/>
                      <a:pt x="39280" y="220150"/>
                    </a:cubicBezTo>
                    <a:cubicBezTo>
                      <a:pt x="53392" y="226116"/>
                      <a:pt x="69716" y="222993"/>
                      <a:pt x="80593" y="212178"/>
                    </a:cubicBezTo>
                    <a:lnTo>
                      <a:pt x="113488" y="179617"/>
                    </a:lnTo>
                    <a:cubicBezTo>
                      <a:pt x="114993" y="178057"/>
                      <a:pt x="117056" y="177109"/>
                      <a:pt x="119231" y="177053"/>
                    </a:cubicBezTo>
                    <a:close/>
                    <a:moveTo>
                      <a:pt x="7724" y="184858"/>
                    </a:moveTo>
                    <a:lnTo>
                      <a:pt x="7724" y="184858"/>
                    </a:lnTo>
                    <a:close/>
                  </a:path>
                </a:pathLst>
              </a:custGeom>
              <a:solidFill>
                <a:srgbClr val="30373B"/>
              </a:solidFill>
              <a:ln w="5573" cap="flat">
                <a:noFill/>
                <a:prstDash val="solid"/>
                <a:miter/>
              </a:ln>
            </p:spPr>
            <p:txBody>
              <a:bodyPr rtlCol="0" anchor="ctr"/>
              <a:lstStyle/>
              <a:p>
                <a:endParaRPr lang="en-GB"/>
              </a:p>
            </p:txBody>
          </p:sp>
          <p:sp>
            <p:nvSpPr>
              <p:cNvPr id="198" name="Graphic 6">
                <a:extLst>
                  <a:ext uri="{FF2B5EF4-FFF2-40B4-BE49-F238E27FC236}">
                    <a16:creationId xmlns:a16="http://schemas.microsoft.com/office/drawing/2014/main" id="{C44D982C-F68C-82CE-7941-0100A6E0CB6A}"/>
                  </a:ext>
                </a:extLst>
              </p:cNvPr>
              <p:cNvSpPr/>
              <p:nvPr/>
            </p:nvSpPr>
            <p:spPr>
              <a:xfrm>
                <a:off x="5088160" y="6091201"/>
                <a:ext cx="444801" cy="122709"/>
              </a:xfrm>
              <a:custGeom>
                <a:avLst/>
                <a:gdLst>
                  <a:gd name="connsiteX0" fmla="*/ 126423 w 444801"/>
                  <a:gd name="connsiteY0" fmla="*/ 122241 h 122709"/>
                  <a:gd name="connsiteX1" fmla="*/ 125475 w 444801"/>
                  <a:gd name="connsiteY1" fmla="*/ 122241 h 122709"/>
                  <a:gd name="connsiteX2" fmla="*/ 6553 w 444801"/>
                  <a:gd name="connsiteY2" fmla="*/ 108358 h 122709"/>
                  <a:gd name="connsiteX3" fmla="*/ -806 w 444801"/>
                  <a:gd name="connsiteY3" fmla="*/ 99995 h 122709"/>
                  <a:gd name="connsiteX4" fmla="*/ -416 w 444801"/>
                  <a:gd name="connsiteY4" fmla="*/ 20547 h 122709"/>
                  <a:gd name="connsiteX5" fmla="*/ 7055 w 444801"/>
                  <a:gd name="connsiteY5" fmla="*/ 12240 h 122709"/>
                  <a:gd name="connsiteX6" fmla="*/ 126256 w 444801"/>
                  <a:gd name="connsiteY6" fmla="*/ -417 h 122709"/>
                  <a:gd name="connsiteX7" fmla="*/ 133113 w 444801"/>
                  <a:gd name="connsiteY7" fmla="*/ 2036 h 122709"/>
                  <a:gd name="connsiteX8" fmla="*/ 157031 w 444801"/>
                  <a:gd name="connsiteY8" fmla="*/ 26178 h 122709"/>
                  <a:gd name="connsiteX9" fmla="*/ 389356 w 444801"/>
                  <a:gd name="connsiteY9" fmla="*/ 27404 h 122709"/>
                  <a:gd name="connsiteX10" fmla="*/ 397719 w 444801"/>
                  <a:gd name="connsiteY10" fmla="*/ 35767 h 122709"/>
                  <a:gd name="connsiteX11" fmla="*/ 389356 w 444801"/>
                  <a:gd name="connsiteY11" fmla="*/ 44130 h 122709"/>
                  <a:gd name="connsiteX12" fmla="*/ 389356 w 444801"/>
                  <a:gd name="connsiteY12" fmla="*/ 44130 h 122709"/>
                  <a:gd name="connsiteX13" fmla="*/ 153631 w 444801"/>
                  <a:gd name="connsiteY13" fmla="*/ 42904 h 122709"/>
                  <a:gd name="connsiteX14" fmla="*/ 147721 w 444801"/>
                  <a:gd name="connsiteY14" fmla="*/ 40450 h 122709"/>
                  <a:gd name="connsiteX15" fmla="*/ 124137 w 444801"/>
                  <a:gd name="connsiteY15" fmla="*/ 16644 h 122709"/>
                  <a:gd name="connsiteX16" fmla="*/ 16366 w 444801"/>
                  <a:gd name="connsiteY16" fmla="*/ 27794 h 122709"/>
                  <a:gd name="connsiteX17" fmla="*/ 16031 w 444801"/>
                  <a:gd name="connsiteY17" fmla="*/ 92301 h 122709"/>
                  <a:gd name="connsiteX18" fmla="*/ 123747 w 444801"/>
                  <a:gd name="connsiteY18" fmla="*/ 104846 h 122709"/>
                  <a:gd name="connsiteX19" fmla="*/ 147498 w 444801"/>
                  <a:gd name="connsiteY19" fmla="*/ 81262 h 122709"/>
                  <a:gd name="connsiteX20" fmla="*/ 153463 w 444801"/>
                  <a:gd name="connsiteY20" fmla="*/ 78865 h 122709"/>
                  <a:gd name="connsiteX21" fmla="*/ 435631 w 444801"/>
                  <a:gd name="connsiteY21" fmla="*/ 80091 h 122709"/>
                  <a:gd name="connsiteX22" fmla="*/ 443994 w 444801"/>
                  <a:gd name="connsiteY22" fmla="*/ 88454 h 122709"/>
                  <a:gd name="connsiteX23" fmla="*/ 435631 w 444801"/>
                  <a:gd name="connsiteY23" fmla="*/ 96817 h 122709"/>
                  <a:gd name="connsiteX24" fmla="*/ 435631 w 444801"/>
                  <a:gd name="connsiteY24" fmla="*/ 96817 h 122709"/>
                  <a:gd name="connsiteX25" fmla="*/ 156864 w 444801"/>
                  <a:gd name="connsiteY25" fmla="*/ 95591 h 122709"/>
                  <a:gd name="connsiteX26" fmla="*/ 132723 w 444801"/>
                  <a:gd name="connsiteY26" fmla="*/ 119509 h 122709"/>
                  <a:gd name="connsiteX27" fmla="*/ 126423 w 444801"/>
                  <a:gd name="connsiteY27" fmla="*/ 122241 h 12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801" h="122709">
                    <a:moveTo>
                      <a:pt x="126423" y="122241"/>
                    </a:moveTo>
                    <a:lnTo>
                      <a:pt x="125475" y="122241"/>
                    </a:lnTo>
                    <a:lnTo>
                      <a:pt x="6553" y="108358"/>
                    </a:lnTo>
                    <a:cubicBezTo>
                      <a:pt x="2332" y="107857"/>
                      <a:pt x="-840" y="104233"/>
                      <a:pt x="-806" y="99995"/>
                    </a:cubicBezTo>
                    <a:lnTo>
                      <a:pt x="-416" y="20547"/>
                    </a:lnTo>
                    <a:cubicBezTo>
                      <a:pt x="-411" y="16254"/>
                      <a:pt x="2806" y="12685"/>
                      <a:pt x="7055" y="12240"/>
                    </a:cubicBezTo>
                    <a:lnTo>
                      <a:pt x="126256" y="-417"/>
                    </a:lnTo>
                    <a:cubicBezTo>
                      <a:pt x="128798" y="-696"/>
                      <a:pt x="131329" y="197"/>
                      <a:pt x="133113" y="2036"/>
                    </a:cubicBezTo>
                    <a:lnTo>
                      <a:pt x="157031" y="26178"/>
                    </a:lnTo>
                    <a:lnTo>
                      <a:pt x="389356" y="27404"/>
                    </a:lnTo>
                    <a:cubicBezTo>
                      <a:pt x="393972" y="27404"/>
                      <a:pt x="397719" y="31140"/>
                      <a:pt x="397719" y="35767"/>
                    </a:cubicBezTo>
                    <a:cubicBezTo>
                      <a:pt x="397719" y="40395"/>
                      <a:pt x="393972" y="44130"/>
                      <a:pt x="389356" y="44130"/>
                    </a:cubicBezTo>
                    <a:lnTo>
                      <a:pt x="389356" y="44130"/>
                    </a:lnTo>
                    <a:lnTo>
                      <a:pt x="153631" y="42904"/>
                    </a:lnTo>
                    <a:cubicBezTo>
                      <a:pt x="151412" y="42904"/>
                      <a:pt x="149287" y="42012"/>
                      <a:pt x="147721" y="40450"/>
                    </a:cubicBezTo>
                    <a:lnTo>
                      <a:pt x="124137" y="16644"/>
                    </a:lnTo>
                    <a:lnTo>
                      <a:pt x="16366" y="27794"/>
                    </a:lnTo>
                    <a:lnTo>
                      <a:pt x="16031" y="92301"/>
                    </a:lnTo>
                    <a:lnTo>
                      <a:pt x="123747" y="104846"/>
                    </a:lnTo>
                    <a:lnTo>
                      <a:pt x="147498" y="81262"/>
                    </a:lnTo>
                    <a:cubicBezTo>
                      <a:pt x="149176" y="79868"/>
                      <a:pt x="151267" y="78976"/>
                      <a:pt x="153463" y="78865"/>
                    </a:cubicBezTo>
                    <a:lnTo>
                      <a:pt x="435631" y="80091"/>
                    </a:lnTo>
                    <a:cubicBezTo>
                      <a:pt x="440248" y="80091"/>
                      <a:pt x="443994" y="83827"/>
                      <a:pt x="443994" y="88454"/>
                    </a:cubicBezTo>
                    <a:cubicBezTo>
                      <a:pt x="443994" y="93082"/>
                      <a:pt x="440248" y="96817"/>
                      <a:pt x="435631" y="96817"/>
                    </a:cubicBezTo>
                    <a:lnTo>
                      <a:pt x="435631" y="96817"/>
                    </a:lnTo>
                    <a:lnTo>
                      <a:pt x="156864" y="95591"/>
                    </a:lnTo>
                    <a:lnTo>
                      <a:pt x="132723" y="119509"/>
                    </a:lnTo>
                    <a:cubicBezTo>
                      <a:pt x="131112" y="121293"/>
                      <a:pt x="128815" y="122297"/>
                      <a:pt x="126423" y="122241"/>
                    </a:cubicBezTo>
                    <a:close/>
                  </a:path>
                </a:pathLst>
              </a:custGeom>
              <a:solidFill>
                <a:srgbClr val="30373B"/>
              </a:solidFill>
              <a:ln w="5573" cap="flat">
                <a:noFill/>
                <a:prstDash val="solid"/>
                <a:miter/>
              </a:ln>
            </p:spPr>
            <p:txBody>
              <a:bodyPr rtlCol="0" anchor="ctr"/>
              <a:lstStyle/>
              <a:p>
                <a:endParaRPr lang="en-GB"/>
              </a:p>
            </p:txBody>
          </p:sp>
          <p:sp>
            <p:nvSpPr>
              <p:cNvPr id="199" name="Graphic 6">
                <a:extLst>
                  <a:ext uri="{FF2B5EF4-FFF2-40B4-BE49-F238E27FC236}">
                    <a16:creationId xmlns:a16="http://schemas.microsoft.com/office/drawing/2014/main" id="{4EAB0DA3-6AA1-45A2-4D27-169468138A96}"/>
                  </a:ext>
                </a:extLst>
              </p:cNvPr>
              <p:cNvSpPr/>
              <p:nvPr/>
            </p:nvSpPr>
            <p:spPr>
              <a:xfrm>
                <a:off x="7357993" y="2601869"/>
                <a:ext cx="16726" cy="3562642"/>
              </a:xfrm>
              <a:custGeom>
                <a:avLst/>
                <a:gdLst>
                  <a:gd name="connsiteX0" fmla="*/ 7556 w 16726"/>
                  <a:gd name="connsiteY0" fmla="*/ 3562176 h 3562642"/>
                  <a:gd name="connsiteX1" fmla="*/ -807 w 16726"/>
                  <a:gd name="connsiteY1" fmla="*/ 3553813 h 3562642"/>
                  <a:gd name="connsiteX2" fmla="*/ -807 w 16726"/>
                  <a:gd name="connsiteY2" fmla="*/ 3520361 h 3562642"/>
                  <a:gd name="connsiteX3" fmla="*/ 7556 w 16726"/>
                  <a:gd name="connsiteY3" fmla="*/ 3511998 h 3562642"/>
                  <a:gd name="connsiteX4" fmla="*/ 15919 w 16726"/>
                  <a:gd name="connsiteY4" fmla="*/ 3520361 h 3562642"/>
                  <a:gd name="connsiteX5" fmla="*/ 15919 w 16726"/>
                  <a:gd name="connsiteY5" fmla="*/ 3553813 h 3562642"/>
                  <a:gd name="connsiteX6" fmla="*/ 7556 w 16726"/>
                  <a:gd name="connsiteY6" fmla="*/ 3562176 h 3562642"/>
                  <a:gd name="connsiteX7" fmla="*/ 7556 w 16726"/>
                  <a:gd name="connsiteY7" fmla="*/ 3461820 h 3562642"/>
                  <a:gd name="connsiteX8" fmla="*/ -807 w 16726"/>
                  <a:gd name="connsiteY8" fmla="*/ 3453457 h 3562642"/>
                  <a:gd name="connsiteX9" fmla="*/ -807 w 16726"/>
                  <a:gd name="connsiteY9" fmla="*/ 3420005 h 3562642"/>
                  <a:gd name="connsiteX10" fmla="*/ 7556 w 16726"/>
                  <a:gd name="connsiteY10" fmla="*/ 3411642 h 3562642"/>
                  <a:gd name="connsiteX11" fmla="*/ 15919 w 16726"/>
                  <a:gd name="connsiteY11" fmla="*/ 3420005 h 3562642"/>
                  <a:gd name="connsiteX12" fmla="*/ 15919 w 16726"/>
                  <a:gd name="connsiteY12" fmla="*/ 3453457 h 3562642"/>
                  <a:gd name="connsiteX13" fmla="*/ 7556 w 16726"/>
                  <a:gd name="connsiteY13" fmla="*/ 3461820 h 3562642"/>
                  <a:gd name="connsiteX14" fmla="*/ 7556 w 16726"/>
                  <a:gd name="connsiteY14" fmla="*/ 3361463 h 3562642"/>
                  <a:gd name="connsiteX15" fmla="*/ -807 w 16726"/>
                  <a:gd name="connsiteY15" fmla="*/ 3353100 h 3562642"/>
                  <a:gd name="connsiteX16" fmla="*/ -807 w 16726"/>
                  <a:gd name="connsiteY16" fmla="*/ 3319648 h 3562642"/>
                  <a:gd name="connsiteX17" fmla="*/ 7556 w 16726"/>
                  <a:gd name="connsiteY17" fmla="*/ 3311285 h 3562642"/>
                  <a:gd name="connsiteX18" fmla="*/ 15919 w 16726"/>
                  <a:gd name="connsiteY18" fmla="*/ 3319648 h 3562642"/>
                  <a:gd name="connsiteX19" fmla="*/ 15919 w 16726"/>
                  <a:gd name="connsiteY19" fmla="*/ 3353100 h 3562642"/>
                  <a:gd name="connsiteX20" fmla="*/ 7556 w 16726"/>
                  <a:gd name="connsiteY20" fmla="*/ 3361463 h 3562642"/>
                  <a:gd name="connsiteX21" fmla="*/ 7556 w 16726"/>
                  <a:gd name="connsiteY21" fmla="*/ 3261107 h 3562642"/>
                  <a:gd name="connsiteX22" fmla="*/ -807 w 16726"/>
                  <a:gd name="connsiteY22" fmla="*/ 3252744 h 3562642"/>
                  <a:gd name="connsiteX23" fmla="*/ -807 w 16726"/>
                  <a:gd name="connsiteY23" fmla="*/ 3219292 h 3562642"/>
                  <a:gd name="connsiteX24" fmla="*/ 7556 w 16726"/>
                  <a:gd name="connsiteY24" fmla="*/ 3210929 h 3562642"/>
                  <a:gd name="connsiteX25" fmla="*/ 15919 w 16726"/>
                  <a:gd name="connsiteY25" fmla="*/ 3219292 h 3562642"/>
                  <a:gd name="connsiteX26" fmla="*/ 15919 w 16726"/>
                  <a:gd name="connsiteY26" fmla="*/ 3252744 h 3562642"/>
                  <a:gd name="connsiteX27" fmla="*/ 7556 w 16726"/>
                  <a:gd name="connsiteY27" fmla="*/ 3261107 h 3562642"/>
                  <a:gd name="connsiteX28" fmla="*/ 7556 w 16726"/>
                  <a:gd name="connsiteY28" fmla="*/ 3160751 h 3562642"/>
                  <a:gd name="connsiteX29" fmla="*/ -807 w 16726"/>
                  <a:gd name="connsiteY29" fmla="*/ 3152388 h 3562642"/>
                  <a:gd name="connsiteX30" fmla="*/ -807 w 16726"/>
                  <a:gd name="connsiteY30" fmla="*/ 3118936 h 3562642"/>
                  <a:gd name="connsiteX31" fmla="*/ 7556 w 16726"/>
                  <a:gd name="connsiteY31" fmla="*/ 3110573 h 3562642"/>
                  <a:gd name="connsiteX32" fmla="*/ 15919 w 16726"/>
                  <a:gd name="connsiteY32" fmla="*/ 3118936 h 3562642"/>
                  <a:gd name="connsiteX33" fmla="*/ 15919 w 16726"/>
                  <a:gd name="connsiteY33" fmla="*/ 3152388 h 3562642"/>
                  <a:gd name="connsiteX34" fmla="*/ 7556 w 16726"/>
                  <a:gd name="connsiteY34" fmla="*/ 3160751 h 3562642"/>
                  <a:gd name="connsiteX35" fmla="*/ 7556 w 16726"/>
                  <a:gd name="connsiteY35" fmla="*/ 3060395 h 3562642"/>
                  <a:gd name="connsiteX36" fmla="*/ -807 w 16726"/>
                  <a:gd name="connsiteY36" fmla="*/ 3052032 h 3562642"/>
                  <a:gd name="connsiteX37" fmla="*/ -807 w 16726"/>
                  <a:gd name="connsiteY37" fmla="*/ 3018580 h 3562642"/>
                  <a:gd name="connsiteX38" fmla="*/ 7556 w 16726"/>
                  <a:gd name="connsiteY38" fmla="*/ 3010217 h 3562642"/>
                  <a:gd name="connsiteX39" fmla="*/ 15919 w 16726"/>
                  <a:gd name="connsiteY39" fmla="*/ 3018580 h 3562642"/>
                  <a:gd name="connsiteX40" fmla="*/ 15919 w 16726"/>
                  <a:gd name="connsiteY40" fmla="*/ 3052032 h 3562642"/>
                  <a:gd name="connsiteX41" fmla="*/ 7556 w 16726"/>
                  <a:gd name="connsiteY41" fmla="*/ 3060395 h 3562642"/>
                  <a:gd name="connsiteX42" fmla="*/ 7556 w 16726"/>
                  <a:gd name="connsiteY42" fmla="*/ 2960039 h 3562642"/>
                  <a:gd name="connsiteX43" fmla="*/ -807 w 16726"/>
                  <a:gd name="connsiteY43" fmla="*/ 2951676 h 3562642"/>
                  <a:gd name="connsiteX44" fmla="*/ -807 w 16726"/>
                  <a:gd name="connsiteY44" fmla="*/ 2918224 h 3562642"/>
                  <a:gd name="connsiteX45" fmla="*/ 7556 w 16726"/>
                  <a:gd name="connsiteY45" fmla="*/ 2909861 h 3562642"/>
                  <a:gd name="connsiteX46" fmla="*/ 15919 w 16726"/>
                  <a:gd name="connsiteY46" fmla="*/ 2918224 h 3562642"/>
                  <a:gd name="connsiteX47" fmla="*/ 15919 w 16726"/>
                  <a:gd name="connsiteY47" fmla="*/ 2951676 h 3562642"/>
                  <a:gd name="connsiteX48" fmla="*/ 7556 w 16726"/>
                  <a:gd name="connsiteY48" fmla="*/ 2960039 h 3562642"/>
                  <a:gd name="connsiteX49" fmla="*/ 7556 w 16726"/>
                  <a:gd name="connsiteY49" fmla="*/ 2859683 h 3562642"/>
                  <a:gd name="connsiteX50" fmla="*/ -807 w 16726"/>
                  <a:gd name="connsiteY50" fmla="*/ 2851320 h 3562642"/>
                  <a:gd name="connsiteX51" fmla="*/ -807 w 16726"/>
                  <a:gd name="connsiteY51" fmla="*/ 2817868 h 3562642"/>
                  <a:gd name="connsiteX52" fmla="*/ 7556 w 16726"/>
                  <a:gd name="connsiteY52" fmla="*/ 2809505 h 3562642"/>
                  <a:gd name="connsiteX53" fmla="*/ 15919 w 16726"/>
                  <a:gd name="connsiteY53" fmla="*/ 2817868 h 3562642"/>
                  <a:gd name="connsiteX54" fmla="*/ 15919 w 16726"/>
                  <a:gd name="connsiteY54" fmla="*/ 2851320 h 3562642"/>
                  <a:gd name="connsiteX55" fmla="*/ 7556 w 16726"/>
                  <a:gd name="connsiteY55" fmla="*/ 2859683 h 3562642"/>
                  <a:gd name="connsiteX56" fmla="*/ 7556 w 16726"/>
                  <a:gd name="connsiteY56" fmla="*/ 2759327 h 3562642"/>
                  <a:gd name="connsiteX57" fmla="*/ -807 w 16726"/>
                  <a:gd name="connsiteY57" fmla="*/ 2750964 h 3562642"/>
                  <a:gd name="connsiteX58" fmla="*/ -807 w 16726"/>
                  <a:gd name="connsiteY58" fmla="*/ 2717512 h 3562642"/>
                  <a:gd name="connsiteX59" fmla="*/ 7556 w 16726"/>
                  <a:gd name="connsiteY59" fmla="*/ 2709149 h 3562642"/>
                  <a:gd name="connsiteX60" fmla="*/ 15919 w 16726"/>
                  <a:gd name="connsiteY60" fmla="*/ 2717512 h 3562642"/>
                  <a:gd name="connsiteX61" fmla="*/ 15919 w 16726"/>
                  <a:gd name="connsiteY61" fmla="*/ 2750964 h 3562642"/>
                  <a:gd name="connsiteX62" fmla="*/ 7556 w 16726"/>
                  <a:gd name="connsiteY62" fmla="*/ 2759327 h 3562642"/>
                  <a:gd name="connsiteX63" fmla="*/ 7556 w 16726"/>
                  <a:gd name="connsiteY63" fmla="*/ 2658971 h 3562642"/>
                  <a:gd name="connsiteX64" fmla="*/ -807 w 16726"/>
                  <a:gd name="connsiteY64" fmla="*/ 2650608 h 3562642"/>
                  <a:gd name="connsiteX65" fmla="*/ -807 w 16726"/>
                  <a:gd name="connsiteY65" fmla="*/ 2617156 h 3562642"/>
                  <a:gd name="connsiteX66" fmla="*/ 7556 w 16726"/>
                  <a:gd name="connsiteY66" fmla="*/ 2608793 h 3562642"/>
                  <a:gd name="connsiteX67" fmla="*/ 15919 w 16726"/>
                  <a:gd name="connsiteY67" fmla="*/ 2617156 h 3562642"/>
                  <a:gd name="connsiteX68" fmla="*/ 15919 w 16726"/>
                  <a:gd name="connsiteY68" fmla="*/ 2650608 h 3562642"/>
                  <a:gd name="connsiteX69" fmla="*/ 7556 w 16726"/>
                  <a:gd name="connsiteY69" fmla="*/ 2658971 h 3562642"/>
                  <a:gd name="connsiteX70" fmla="*/ 7556 w 16726"/>
                  <a:gd name="connsiteY70" fmla="*/ 2558614 h 3562642"/>
                  <a:gd name="connsiteX71" fmla="*/ -807 w 16726"/>
                  <a:gd name="connsiteY71" fmla="*/ 2550251 h 3562642"/>
                  <a:gd name="connsiteX72" fmla="*/ -807 w 16726"/>
                  <a:gd name="connsiteY72" fmla="*/ 2516799 h 3562642"/>
                  <a:gd name="connsiteX73" fmla="*/ 7556 w 16726"/>
                  <a:gd name="connsiteY73" fmla="*/ 2508436 h 3562642"/>
                  <a:gd name="connsiteX74" fmla="*/ 15919 w 16726"/>
                  <a:gd name="connsiteY74" fmla="*/ 2516799 h 3562642"/>
                  <a:gd name="connsiteX75" fmla="*/ 15919 w 16726"/>
                  <a:gd name="connsiteY75" fmla="*/ 2550251 h 3562642"/>
                  <a:gd name="connsiteX76" fmla="*/ 7556 w 16726"/>
                  <a:gd name="connsiteY76" fmla="*/ 2558614 h 3562642"/>
                  <a:gd name="connsiteX77" fmla="*/ 7556 w 16726"/>
                  <a:gd name="connsiteY77" fmla="*/ 2458258 h 3562642"/>
                  <a:gd name="connsiteX78" fmla="*/ -807 w 16726"/>
                  <a:gd name="connsiteY78" fmla="*/ 2449895 h 3562642"/>
                  <a:gd name="connsiteX79" fmla="*/ -807 w 16726"/>
                  <a:gd name="connsiteY79" fmla="*/ 2416443 h 3562642"/>
                  <a:gd name="connsiteX80" fmla="*/ 7556 w 16726"/>
                  <a:gd name="connsiteY80" fmla="*/ 2408080 h 3562642"/>
                  <a:gd name="connsiteX81" fmla="*/ 15919 w 16726"/>
                  <a:gd name="connsiteY81" fmla="*/ 2416443 h 3562642"/>
                  <a:gd name="connsiteX82" fmla="*/ 15919 w 16726"/>
                  <a:gd name="connsiteY82" fmla="*/ 2449895 h 3562642"/>
                  <a:gd name="connsiteX83" fmla="*/ 7556 w 16726"/>
                  <a:gd name="connsiteY83" fmla="*/ 2458258 h 3562642"/>
                  <a:gd name="connsiteX84" fmla="*/ 7556 w 16726"/>
                  <a:gd name="connsiteY84" fmla="*/ 2357902 h 3562642"/>
                  <a:gd name="connsiteX85" fmla="*/ -807 w 16726"/>
                  <a:gd name="connsiteY85" fmla="*/ 2349539 h 3562642"/>
                  <a:gd name="connsiteX86" fmla="*/ -807 w 16726"/>
                  <a:gd name="connsiteY86" fmla="*/ 2316087 h 3562642"/>
                  <a:gd name="connsiteX87" fmla="*/ 7556 w 16726"/>
                  <a:gd name="connsiteY87" fmla="*/ 2307724 h 3562642"/>
                  <a:gd name="connsiteX88" fmla="*/ 15919 w 16726"/>
                  <a:gd name="connsiteY88" fmla="*/ 2316087 h 3562642"/>
                  <a:gd name="connsiteX89" fmla="*/ 15919 w 16726"/>
                  <a:gd name="connsiteY89" fmla="*/ 2349539 h 3562642"/>
                  <a:gd name="connsiteX90" fmla="*/ 7556 w 16726"/>
                  <a:gd name="connsiteY90" fmla="*/ 2357902 h 3562642"/>
                  <a:gd name="connsiteX91" fmla="*/ 7556 w 16726"/>
                  <a:gd name="connsiteY91" fmla="*/ 2257546 h 3562642"/>
                  <a:gd name="connsiteX92" fmla="*/ -807 w 16726"/>
                  <a:gd name="connsiteY92" fmla="*/ 2249183 h 3562642"/>
                  <a:gd name="connsiteX93" fmla="*/ -807 w 16726"/>
                  <a:gd name="connsiteY93" fmla="*/ 2215731 h 3562642"/>
                  <a:gd name="connsiteX94" fmla="*/ 7556 w 16726"/>
                  <a:gd name="connsiteY94" fmla="*/ 2207368 h 3562642"/>
                  <a:gd name="connsiteX95" fmla="*/ 15919 w 16726"/>
                  <a:gd name="connsiteY95" fmla="*/ 2215731 h 3562642"/>
                  <a:gd name="connsiteX96" fmla="*/ 15919 w 16726"/>
                  <a:gd name="connsiteY96" fmla="*/ 2249183 h 3562642"/>
                  <a:gd name="connsiteX97" fmla="*/ 7556 w 16726"/>
                  <a:gd name="connsiteY97" fmla="*/ 2257546 h 3562642"/>
                  <a:gd name="connsiteX98" fmla="*/ 7556 w 16726"/>
                  <a:gd name="connsiteY98" fmla="*/ 2157190 h 3562642"/>
                  <a:gd name="connsiteX99" fmla="*/ -807 w 16726"/>
                  <a:gd name="connsiteY99" fmla="*/ 2148827 h 3562642"/>
                  <a:gd name="connsiteX100" fmla="*/ -807 w 16726"/>
                  <a:gd name="connsiteY100" fmla="*/ 2115375 h 3562642"/>
                  <a:gd name="connsiteX101" fmla="*/ 7556 w 16726"/>
                  <a:gd name="connsiteY101" fmla="*/ 2107012 h 3562642"/>
                  <a:gd name="connsiteX102" fmla="*/ 15919 w 16726"/>
                  <a:gd name="connsiteY102" fmla="*/ 2115375 h 3562642"/>
                  <a:gd name="connsiteX103" fmla="*/ 15919 w 16726"/>
                  <a:gd name="connsiteY103" fmla="*/ 2148827 h 3562642"/>
                  <a:gd name="connsiteX104" fmla="*/ 7556 w 16726"/>
                  <a:gd name="connsiteY104" fmla="*/ 2157190 h 3562642"/>
                  <a:gd name="connsiteX105" fmla="*/ 7556 w 16726"/>
                  <a:gd name="connsiteY105" fmla="*/ 2056834 h 3562642"/>
                  <a:gd name="connsiteX106" fmla="*/ -807 w 16726"/>
                  <a:gd name="connsiteY106" fmla="*/ 2048471 h 3562642"/>
                  <a:gd name="connsiteX107" fmla="*/ -807 w 16726"/>
                  <a:gd name="connsiteY107" fmla="*/ 2015019 h 3562642"/>
                  <a:gd name="connsiteX108" fmla="*/ 7556 w 16726"/>
                  <a:gd name="connsiteY108" fmla="*/ 2006656 h 3562642"/>
                  <a:gd name="connsiteX109" fmla="*/ 15919 w 16726"/>
                  <a:gd name="connsiteY109" fmla="*/ 2015019 h 3562642"/>
                  <a:gd name="connsiteX110" fmla="*/ 15919 w 16726"/>
                  <a:gd name="connsiteY110" fmla="*/ 2048471 h 3562642"/>
                  <a:gd name="connsiteX111" fmla="*/ 7556 w 16726"/>
                  <a:gd name="connsiteY111" fmla="*/ 2056834 h 3562642"/>
                  <a:gd name="connsiteX112" fmla="*/ 7556 w 16726"/>
                  <a:gd name="connsiteY112" fmla="*/ 1956478 h 3562642"/>
                  <a:gd name="connsiteX113" fmla="*/ -807 w 16726"/>
                  <a:gd name="connsiteY113" fmla="*/ 1948115 h 3562642"/>
                  <a:gd name="connsiteX114" fmla="*/ -807 w 16726"/>
                  <a:gd name="connsiteY114" fmla="*/ 1914663 h 3562642"/>
                  <a:gd name="connsiteX115" fmla="*/ 7556 w 16726"/>
                  <a:gd name="connsiteY115" fmla="*/ 1906300 h 3562642"/>
                  <a:gd name="connsiteX116" fmla="*/ 15919 w 16726"/>
                  <a:gd name="connsiteY116" fmla="*/ 1914663 h 3562642"/>
                  <a:gd name="connsiteX117" fmla="*/ 15919 w 16726"/>
                  <a:gd name="connsiteY117" fmla="*/ 1948115 h 3562642"/>
                  <a:gd name="connsiteX118" fmla="*/ 7556 w 16726"/>
                  <a:gd name="connsiteY118" fmla="*/ 1956478 h 3562642"/>
                  <a:gd name="connsiteX119" fmla="*/ 7556 w 16726"/>
                  <a:gd name="connsiteY119" fmla="*/ 1856122 h 3562642"/>
                  <a:gd name="connsiteX120" fmla="*/ -807 w 16726"/>
                  <a:gd name="connsiteY120" fmla="*/ 1847759 h 3562642"/>
                  <a:gd name="connsiteX121" fmla="*/ -807 w 16726"/>
                  <a:gd name="connsiteY121" fmla="*/ 1814306 h 3562642"/>
                  <a:gd name="connsiteX122" fmla="*/ 7556 w 16726"/>
                  <a:gd name="connsiteY122" fmla="*/ 1805943 h 3562642"/>
                  <a:gd name="connsiteX123" fmla="*/ 15919 w 16726"/>
                  <a:gd name="connsiteY123" fmla="*/ 1814306 h 3562642"/>
                  <a:gd name="connsiteX124" fmla="*/ 15919 w 16726"/>
                  <a:gd name="connsiteY124" fmla="*/ 1847759 h 3562642"/>
                  <a:gd name="connsiteX125" fmla="*/ 7556 w 16726"/>
                  <a:gd name="connsiteY125" fmla="*/ 1856122 h 3562642"/>
                  <a:gd name="connsiteX126" fmla="*/ 7556 w 16726"/>
                  <a:gd name="connsiteY126" fmla="*/ 1755765 h 3562642"/>
                  <a:gd name="connsiteX127" fmla="*/ -807 w 16726"/>
                  <a:gd name="connsiteY127" fmla="*/ 1747402 h 3562642"/>
                  <a:gd name="connsiteX128" fmla="*/ -807 w 16726"/>
                  <a:gd name="connsiteY128" fmla="*/ 1713950 h 3562642"/>
                  <a:gd name="connsiteX129" fmla="*/ 7556 w 16726"/>
                  <a:gd name="connsiteY129" fmla="*/ 1705587 h 3562642"/>
                  <a:gd name="connsiteX130" fmla="*/ 15919 w 16726"/>
                  <a:gd name="connsiteY130" fmla="*/ 1713950 h 3562642"/>
                  <a:gd name="connsiteX131" fmla="*/ 15919 w 16726"/>
                  <a:gd name="connsiteY131" fmla="*/ 1747402 h 3562642"/>
                  <a:gd name="connsiteX132" fmla="*/ 7556 w 16726"/>
                  <a:gd name="connsiteY132" fmla="*/ 1755765 h 3562642"/>
                  <a:gd name="connsiteX133" fmla="*/ 7556 w 16726"/>
                  <a:gd name="connsiteY133" fmla="*/ 1655409 h 3562642"/>
                  <a:gd name="connsiteX134" fmla="*/ -807 w 16726"/>
                  <a:gd name="connsiteY134" fmla="*/ 1647046 h 3562642"/>
                  <a:gd name="connsiteX135" fmla="*/ -807 w 16726"/>
                  <a:gd name="connsiteY135" fmla="*/ 1613594 h 3562642"/>
                  <a:gd name="connsiteX136" fmla="*/ 7556 w 16726"/>
                  <a:gd name="connsiteY136" fmla="*/ 1605231 h 3562642"/>
                  <a:gd name="connsiteX137" fmla="*/ 15919 w 16726"/>
                  <a:gd name="connsiteY137" fmla="*/ 1613594 h 3562642"/>
                  <a:gd name="connsiteX138" fmla="*/ 15919 w 16726"/>
                  <a:gd name="connsiteY138" fmla="*/ 1647046 h 3562642"/>
                  <a:gd name="connsiteX139" fmla="*/ 7556 w 16726"/>
                  <a:gd name="connsiteY139" fmla="*/ 1655409 h 3562642"/>
                  <a:gd name="connsiteX140" fmla="*/ 7556 w 16726"/>
                  <a:gd name="connsiteY140" fmla="*/ 1555053 h 3562642"/>
                  <a:gd name="connsiteX141" fmla="*/ -807 w 16726"/>
                  <a:gd name="connsiteY141" fmla="*/ 1546690 h 3562642"/>
                  <a:gd name="connsiteX142" fmla="*/ -807 w 16726"/>
                  <a:gd name="connsiteY142" fmla="*/ 1513238 h 3562642"/>
                  <a:gd name="connsiteX143" fmla="*/ 7556 w 16726"/>
                  <a:gd name="connsiteY143" fmla="*/ 1504875 h 3562642"/>
                  <a:gd name="connsiteX144" fmla="*/ 15919 w 16726"/>
                  <a:gd name="connsiteY144" fmla="*/ 1513238 h 3562642"/>
                  <a:gd name="connsiteX145" fmla="*/ 15919 w 16726"/>
                  <a:gd name="connsiteY145" fmla="*/ 1546690 h 3562642"/>
                  <a:gd name="connsiteX146" fmla="*/ 7556 w 16726"/>
                  <a:gd name="connsiteY146" fmla="*/ 1555053 h 3562642"/>
                  <a:gd name="connsiteX147" fmla="*/ 7556 w 16726"/>
                  <a:gd name="connsiteY147" fmla="*/ 1454697 h 3562642"/>
                  <a:gd name="connsiteX148" fmla="*/ -807 w 16726"/>
                  <a:gd name="connsiteY148" fmla="*/ 1446334 h 3562642"/>
                  <a:gd name="connsiteX149" fmla="*/ -807 w 16726"/>
                  <a:gd name="connsiteY149" fmla="*/ 1412882 h 3562642"/>
                  <a:gd name="connsiteX150" fmla="*/ 7556 w 16726"/>
                  <a:gd name="connsiteY150" fmla="*/ 1404519 h 3562642"/>
                  <a:gd name="connsiteX151" fmla="*/ 15919 w 16726"/>
                  <a:gd name="connsiteY151" fmla="*/ 1412882 h 3562642"/>
                  <a:gd name="connsiteX152" fmla="*/ 15919 w 16726"/>
                  <a:gd name="connsiteY152" fmla="*/ 1446334 h 3562642"/>
                  <a:gd name="connsiteX153" fmla="*/ 7556 w 16726"/>
                  <a:gd name="connsiteY153" fmla="*/ 1454697 h 3562642"/>
                  <a:gd name="connsiteX154" fmla="*/ 7556 w 16726"/>
                  <a:gd name="connsiteY154" fmla="*/ 1354341 h 3562642"/>
                  <a:gd name="connsiteX155" fmla="*/ -807 w 16726"/>
                  <a:gd name="connsiteY155" fmla="*/ 1345978 h 3562642"/>
                  <a:gd name="connsiteX156" fmla="*/ -807 w 16726"/>
                  <a:gd name="connsiteY156" fmla="*/ 1312526 h 3562642"/>
                  <a:gd name="connsiteX157" fmla="*/ 7556 w 16726"/>
                  <a:gd name="connsiteY157" fmla="*/ 1304163 h 3562642"/>
                  <a:gd name="connsiteX158" fmla="*/ 15919 w 16726"/>
                  <a:gd name="connsiteY158" fmla="*/ 1312526 h 3562642"/>
                  <a:gd name="connsiteX159" fmla="*/ 15919 w 16726"/>
                  <a:gd name="connsiteY159" fmla="*/ 1345978 h 3562642"/>
                  <a:gd name="connsiteX160" fmla="*/ 7556 w 16726"/>
                  <a:gd name="connsiteY160" fmla="*/ 1354341 h 3562642"/>
                  <a:gd name="connsiteX161" fmla="*/ 7556 w 16726"/>
                  <a:gd name="connsiteY161" fmla="*/ 1253985 h 3562642"/>
                  <a:gd name="connsiteX162" fmla="*/ -807 w 16726"/>
                  <a:gd name="connsiteY162" fmla="*/ 1245622 h 3562642"/>
                  <a:gd name="connsiteX163" fmla="*/ -807 w 16726"/>
                  <a:gd name="connsiteY163" fmla="*/ 1212170 h 3562642"/>
                  <a:gd name="connsiteX164" fmla="*/ 7556 w 16726"/>
                  <a:gd name="connsiteY164" fmla="*/ 1203807 h 3562642"/>
                  <a:gd name="connsiteX165" fmla="*/ 15919 w 16726"/>
                  <a:gd name="connsiteY165" fmla="*/ 1212170 h 3562642"/>
                  <a:gd name="connsiteX166" fmla="*/ 15919 w 16726"/>
                  <a:gd name="connsiteY166" fmla="*/ 1245622 h 3562642"/>
                  <a:gd name="connsiteX167" fmla="*/ 7556 w 16726"/>
                  <a:gd name="connsiteY167" fmla="*/ 1253985 h 3562642"/>
                  <a:gd name="connsiteX168" fmla="*/ 7556 w 16726"/>
                  <a:gd name="connsiteY168" fmla="*/ 1153629 h 3562642"/>
                  <a:gd name="connsiteX169" fmla="*/ -807 w 16726"/>
                  <a:gd name="connsiteY169" fmla="*/ 1145266 h 3562642"/>
                  <a:gd name="connsiteX170" fmla="*/ -807 w 16726"/>
                  <a:gd name="connsiteY170" fmla="*/ 1111814 h 3562642"/>
                  <a:gd name="connsiteX171" fmla="*/ 7556 w 16726"/>
                  <a:gd name="connsiteY171" fmla="*/ 1103451 h 3562642"/>
                  <a:gd name="connsiteX172" fmla="*/ 15919 w 16726"/>
                  <a:gd name="connsiteY172" fmla="*/ 1111814 h 3562642"/>
                  <a:gd name="connsiteX173" fmla="*/ 15919 w 16726"/>
                  <a:gd name="connsiteY173" fmla="*/ 1145266 h 3562642"/>
                  <a:gd name="connsiteX174" fmla="*/ 7556 w 16726"/>
                  <a:gd name="connsiteY174" fmla="*/ 1153629 h 3562642"/>
                  <a:gd name="connsiteX175" fmla="*/ 7556 w 16726"/>
                  <a:gd name="connsiteY175" fmla="*/ 1053273 h 3562642"/>
                  <a:gd name="connsiteX176" fmla="*/ -807 w 16726"/>
                  <a:gd name="connsiteY176" fmla="*/ 1044910 h 3562642"/>
                  <a:gd name="connsiteX177" fmla="*/ -807 w 16726"/>
                  <a:gd name="connsiteY177" fmla="*/ 1011457 h 3562642"/>
                  <a:gd name="connsiteX178" fmla="*/ 7556 w 16726"/>
                  <a:gd name="connsiteY178" fmla="*/ 1003094 h 3562642"/>
                  <a:gd name="connsiteX179" fmla="*/ 15919 w 16726"/>
                  <a:gd name="connsiteY179" fmla="*/ 1011457 h 3562642"/>
                  <a:gd name="connsiteX180" fmla="*/ 15919 w 16726"/>
                  <a:gd name="connsiteY180" fmla="*/ 1044910 h 3562642"/>
                  <a:gd name="connsiteX181" fmla="*/ 7556 w 16726"/>
                  <a:gd name="connsiteY181" fmla="*/ 1053273 h 3562642"/>
                  <a:gd name="connsiteX182" fmla="*/ 7556 w 16726"/>
                  <a:gd name="connsiteY182" fmla="*/ 952916 h 3562642"/>
                  <a:gd name="connsiteX183" fmla="*/ -807 w 16726"/>
                  <a:gd name="connsiteY183" fmla="*/ 944553 h 3562642"/>
                  <a:gd name="connsiteX184" fmla="*/ -807 w 16726"/>
                  <a:gd name="connsiteY184" fmla="*/ 911101 h 3562642"/>
                  <a:gd name="connsiteX185" fmla="*/ 7556 w 16726"/>
                  <a:gd name="connsiteY185" fmla="*/ 902738 h 3562642"/>
                  <a:gd name="connsiteX186" fmla="*/ 15919 w 16726"/>
                  <a:gd name="connsiteY186" fmla="*/ 911101 h 3562642"/>
                  <a:gd name="connsiteX187" fmla="*/ 15919 w 16726"/>
                  <a:gd name="connsiteY187" fmla="*/ 944553 h 3562642"/>
                  <a:gd name="connsiteX188" fmla="*/ 7556 w 16726"/>
                  <a:gd name="connsiteY188" fmla="*/ 952916 h 3562642"/>
                  <a:gd name="connsiteX189" fmla="*/ 7556 w 16726"/>
                  <a:gd name="connsiteY189" fmla="*/ 852560 h 3562642"/>
                  <a:gd name="connsiteX190" fmla="*/ -807 w 16726"/>
                  <a:gd name="connsiteY190" fmla="*/ 844197 h 3562642"/>
                  <a:gd name="connsiteX191" fmla="*/ -807 w 16726"/>
                  <a:gd name="connsiteY191" fmla="*/ 810745 h 3562642"/>
                  <a:gd name="connsiteX192" fmla="*/ 7556 w 16726"/>
                  <a:gd name="connsiteY192" fmla="*/ 802382 h 3562642"/>
                  <a:gd name="connsiteX193" fmla="*/ 15919 w 16726"/>
                  <a:gd name="connsiteY193" fmla="*/ 810745 h 3562642"/>
                  <a:gd name="connsiteX194" fmla="*/ 15919 w 16726"/>
                  <a:gd name="connsiteY194" fmla="*/ 844197 h 3562642"/>
                  <a:gd name="connsiteX195" fmla="*/ 7556 w 16726"/>
                  <a:gd name="connsiteY195" fmla="*/ 852560 h 3562642"/>
                  <a:gd name="connsiteX196" fmla="*/ 7556 w 16726"/>
                  <a:gd name="connsiteY196" fmla="*/ 752204 h 3562642"/>
                  <a:gd name="connsiteX197" fmla="*/ -807 w 16726"/>
                  <a:gd name="connsiteY197" fmla="*/ 743841 h 3562642"/>
                  <a:gd name="connsiteX198" fmla="*/ -807 w 16726"/>
                  <a:gd name="connsiteY198" fmla="*/ 710389 h 3562642"/>
                  <a:gd name="connsiteX199" fmla="*/ 7556 w 16726"/>
                  <a:gd name="connsiteY199" fmla="*/ 702026 h 3562642"/>
                  <a:gd name="connsiteX200" fmla="*/ 15919 w 16726"/>
                  <a:gd name="connsiteY200" fmla="*/ 710389 h 3562642"/>
                  <a:gd name="connsiteX201" fmla="*/ 15919 w 16726"/>
                  <a:gd name="connsiteY201" fmla="*/ 743841 h 3562642"/>
                  <a:gd name="connsiteX202" fmla="*/ 7556 w 16726"/>
                  <a:gd name="connsiteY202" fmla="*/ 752204 h 3562642"/>
                  <a:gd name="connsiteX203" fmla="*/ 7556 w 16726"/>
                  <a:gd name="connsiteY203" fmla="*/ 651848 h 3562642"/>
                  <a:gd name="connsiteX204" fmla="*/ -807 w 16726"/>
                  <a:gd name="connsiteY204" fmla="*/ 643485 h 3562642"/>
                  <a:gd name="connsiteX205" fmla="*/ -807 w 16726"/>
                  <a:gd name="connsiteY205" fmla="*/ 610033 h 3562642"/>
                  <a:gd name="connsiteX206" fmla="*/ 7556 w 16726"/>
                  <a:gd name="connsiteY206" fmla="*/ 601670 h 3562642"/>
                  <a:gd name="connsiteX207" fmla="*/ 15919 w 16726"/>
                  <a:gd name="connsiteY207" fmla="*/ 610033 h 3562642"/>
                  <a:gd name="connsiteX208" fmla="*/ 15919 w 16726"/>
                  <a:gd name="connsiteY208" fmla="*/ 643485 h 3562642"/>
                  <a:gd name="connsiteX209" fmla="*/ 7556 w 16726"/>
                  <a:gd name="connsiteY209" fmla="*/ 651848 h 3562642"/>
                  <a:gd name="connsiteX210" fmla="*/ 7556 w 16726"/>
                  <a:gd name="connsiteY210" fmla="*/ 551492 h 3562642"/>
                  <a:gd name="connsiteX211" fmla="*/ -807 w 16726"/>
                  <a:gd name="connsiteY211" fmla="*/ 543129 h 3562642"/>
                  <a:gd name="connsiteX212" fmla="*/ -807 w 16726"/>
                  <a:gd name="connsiteY212" fmla="*/ 509677 h 3562642"/>
                  <a:gd name="connsiteX213" fmla="*/ 7556 w 16726"/>
                  <a:gd name="connsiteY213" fmla="*/ 501314 h 3562642"/>
                  <a:gd name="connsiteX214" fmla="*/ 15919 w 16726"/>
                  <a:gd name="connsiteY214" fmla="*/ 509677 h 3562642"/>
                  <a:gd name="connsiteX215" fmla="*/ 15919 w 16726"/>
                  <a:gd name="connsiteY215" fmla="*/ 543129 h 3562642"/>
                  <a:gd name="connsiteX216" fmla="*/ 7556 w 16726"/>
                  <a:gd name="connsiteY216" fmla="*/ 551492 h 3562642"/>
                  <a:gd name="connsiteX217" fmla="*/ 7556 w 16726"/>
                  <a:gd name="connsiteY217" fmla="*/ 451136 h 3562642"/>
                  <a:gd name="connsiteX218" fmla="*/ -807 w 16726"/>
                  <a:gd name="connsiteY218" fmla="*/ 442773 h 3562642"/>
                  <a:gd name="connsiteX219" fmla="*/ -807 w 16726"/>
                  <a:gd name="connsiteY219" fmla="*/ 409321 h 3562642"/>
                  <a:gd name="connsiteX220" fmla="*/ 7556 w 16726"/>
                  <a:gd name="connsiteY220" fmla="*/ 400958 h 3562642"/>
                  <a:gd name="connsiteX221" fmla="*/ 15919 w 16726"/>
                  <a:gd name="connsiteY221" fmla="*/ 409321 h 3562642"/>
                  <a:gd name="connsiteX222" fmla="*/ 15919 w 16726"/>
                  <a:gd name="connsiteY222" fmla="*/ 442773 h 3562642"/>
                  <a:gd name="connsiteX223" fmla="*/ 7556 w 16726"/>
                  <a:gd name="connsiteY223" fmla="*/ 451136 h 3562642"/>
                  <a:gd name="connsiteX224" fmla="*/ 7556 w 16726"/>
                  <a:gd name="connsiteY224" fmla="*/ 350780 h 3562642"/>
                  <a:gd name="connsiteX225" fmla="*/ -807 w 16726"/>
                  <a:gd name="connsiteY225" fmla="*/ 342417 h 3562642"/>
                  <a:gd name="connsiteX226" fmla="*/ -807 w 16726"/>
                  <a:gd name="connsiteY226" fmla="*/ 308965 h 3562642"/>
                  <a:gd name="connsiteX227" fmla="*/ 7556 w 16726"/>
                  <a:gd name="connsiteY227" fmla="*/ 300602 h 3562642"/>
                  <a:gd name="connsiteX228" fmla="*/ 15919 w 16726"/>
                  <a:gd name="connsiteY228" fmla="*/ 308965 h 3562642"/>
                  <a:gd name="connsiteX229" fmla="*/ 15919 w 16726"/>
                  <a:gd name="connsiteY229" fmla="*/ 342417 h 3562642"/>
                  <a:gd name="connsiteX230" fmla="*/ 7556 w 16726"/>
                  <a:gd name="connsiteY230" fmla="*/ 350780 h 3562642"/>
                  <a:gd name="connsiteX231" fmla="*/ 7556 w 16726"/>
                  <a:gd name="connsiteY231" fmla="*/ 250424 h 3562642"/>
                  <a:gd name="connsiteX232" fmla="*/ -807 w 16726"/>
                  <a:gd name="connsiteY232" fmla="*/ 242060 h 3562642"/>
                  <a:gd name="connsiteX233" fmla="*/ -807 w 16726"/>
                  <a:gd name="connsiteY233" fmla="*/ 208608 h 3562642"/>
                  <a:gd name="connsiteX234" fmla="*/ 7556 w 16726"/>
                  <a:gd name="connsiteY234" fmla="*/ 200245 h 3562642"/>
                  <a:gd name="connsiteX235" fmla="*/ 15919 w 16726"/>
                  <a:gd name="connsiteY235" fmla="*/ 208608 h 3562642"/>
                  <a:gd name="connsiteX236" fmla="*/ 15919 w 16726"/>
                  <a:gd name="connsiteY236" fmla="*/ 242060 h 3562642"/>
                  <a:gd name="connsiteX237" fmla="*/ 7556 w 16726"/>
                  <a:gd name="connsiteY237" fmla="*/ 250424 h 3562642"/>
                  <a:gd name="connsiteX238" fmla="*/ 7556 w 16726"/>
                  <a:gd name="connsiteY238" fmla="*/ 150067 h 3562642"/>
                  <a:gd name="connsiteX239" fmla="*/ -807 w 16726"/>
                  <a:gd name="connsiteY239" fmla="*/ 141704 h 3562642"/>
                  <a:gd name="connsiteX240" fmla="*/ -807 w 16726"/>
                  <a:gd name="connsiteY240" fmla="*/ 108252 h 3562642"/>
                  <a:gd name="connsiteX241" fmla="*/ 7556 w 16726"/>
                  <a:gd name="connsiteY241" fmla="*/ 99889 h 3562642"/>
                  <a:gd name="connsiteX242" fmla="*/ 15919 w 16726"/>
                  <a:gd name="connsiteY242" fmla="*/ 108252 h 3562642"/>
                  <a:gd name="connsiteX243" fmla="*/ 15919 w 16726"/>
                  <a:gd name="connsiteY243" fmla="*/ 141704 h 3562642"/>
                  <a:gd name="connsiteX244" fmla="*/ 7556 w 16726"/>
                  <a:gd name="connsiteY244" fmla="*/ 150067 h 3562642"/>
                  <a:gd name="connsiteX245" fmla="*/ 7556 w 16726"/>
                  <a:gd name="connsiteY245" fmla="*/ 49711 h 3562642"/>
                  <a:gd name="connsiteX246" fmla="*/ -807 w 16726"/>
                  <a:gd name="connsiteY246" fmla="*/ 41348 h 3562642"/>
                  <a:gd name="connsiteX247" fmla="*/ -807 w 16726"/>
                  <a:gd name="connsiteY247" fmla="*/ 7896 h 3562642"/>
                  <a:gd name="connsiteX248" fmla="*/ 7556 w 16726"/>
                  <a:gd name="connsiteY248" fmla="*/ -467 h 3562642"/>
                  <a:gd name="connsiteX249" fmla="*/ 15919 w 16726"/>
                  <a:gd name="connsiteY249" fmla="*/ 7896 h 3562642"/>
                  <a:gd name="connsiteX250" fmla="*/ 15919 w 16726"/>
                  <a:gd name="connsiteY250" fmla="*/ 41348 h 3562642"/>
                  <a:gd name="connsiteX251" fmla="*/ 7556 w 16726"/>
                  <a:gd name="connsiteY251" fmla="*/ 49711 h 35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6726" h="3562642">
                    <a:moveTo>
                      <a:pt x="7556" y="3562176"/>
                    </a:moveTo>
                    <a:cubicBezTo>
                      <a:pt x="2928" y="3562176"/>
                      <a:pt x="-807" y="3558440"/>
                      <a:pt x="-807" y="3553813"/>
                    </a:cubicBezTo>
                    <a:lnTo>
                      <a:pt x="-807" y="3520361"/>
                    </a:lnTo>
                    <a:cubicBezTo>
                      <a:pt x="-807" y="3515733"/>
                      <a:pt x="2928" y="3511998"/>
                      <a:pt x="7556" y="3511998"/>
                    </a:cubicBezTo>
                    <a:cubicBezTo>
                      <a:pt x="12184" y="3511998"/>
                      <a:pt x="15919" y="3515733"/>
                      <a:pt x="15919" y="3520361"/>
                    </a:cubicBezTo>
                    <a:lnTo>
                      <a:pt x="15919" y="3553813"/>
                    </a:lnTo>
                    <a:cubicBezTo>
                      <a:pt x="15919" y="3558440"/>
                      <a:pt x="12184" y="3562176"/>
                      <a:pt x="7556" y="3562176"/>
                    </a:cubicBezTo>
                    <a:close/>
                    <a:moveTo>
                      <a:pt x="7556" y="3461820"/>
                    </a:moveTo>
                    <a:cubicBezTo>
                      <a:pt x="2928" y="3461820"/>
                      <a:pt x="-807" y="3458084"/>
                      <a:pt x="-807" y="3453457"/>
                    </a:cubicBezTo>
                    <a:lnTo>
                      <a:pt x="-807" y="3420005"/>
                    </a:lnTo>
                    <a:cubicBezTo>
                      <a:pt x="-807" y="3415377"/>
                      <a:pt x="2928" y="3411642"/>
                      <a:pt x="7556" y="3411642"/>
                    </a:cubicBezTo>
                    <a:cubicBezTo>
                      <a:pt x="12184" y="3411642"/>
                      <a:pt x="15919" y="3415377"/>
                      <a:pt x="15919" y="3420005"/>
                    </a:cubicBezTo>
                    <a:lnTo>
                      <a:pt x="15919" y="3453457"/>
                    </a:lnTo>
                    <a:cubicBezTo>
                      <a:pt x="15919" y="3458084"/>
                      <a:pt x="12184" y="3461820"/>
                      <a:pt x="7556" y="3461820"/>
                    </a:cubicBezTo>
                    <a:close/>
                    <a:moveTo>
                      <a:pt x="7556" y="3361463"/>
                    </a:moveTo>
                    <a:cubicBezTo>
                      <a:pt x="2928" y="3361463"/>
                      <a:pt x="-807" y="3357728"/>
                      <a:pt x="-807" y="3353100"/>
                    </a:cubicBezTo>
                    <a:lnTo>
                      <a:pt x="-807" y="3319648"/>
                    </a:lnTo>
                    <a:cubicBezTo>
                      <a:pt x="-807" y="3315020"/>
                      <a:pt x="2928" y="3311285"/>
                      <a:pt x="7556" y="3311285"/>
                    </a:cubicBezTo>
                    <a:cubicBezTo>
                      <a:pt x="12184" y="3311285"/>
                      <a:pt x="15919" y="3315020"/>
                      <a:pt x="15919" y="3319648"/>
                    </a:cubicBezTo>
                    <a:lnTo>
                      <a:pt x="15919" y="3353100"/>
                    </a:lnTo>
                    <a:cubicBezTo>
                      <a:pt x="15919" y="3357728"/>
                      <a:pt x="12184" y="3361463"/>
                      <a:pt x="7556" y="3361463"/>
                    </a:cubicBezTo>
                    <a:close/>
                    <a:moveTo>
                      <a:pt x="7556" y="3261107"/>
                    </a:moveTo>
                    <a:cubicBezTo>
                      <a:pt x="2928" y="3261107"/>
                      <a:pt x="-807" y="3257372"/>
                      <a:pt x="-807" y="3252744"/>
                    </a:cubicBezTo>
                    <a:lnTo>
                      <a:pt x="-807" y="3219292"/>
                    </a:lnTo>
                    <a:cubicBezTo>
                      <a:pt x="-807" y="3214664"/>
                      <a:pt x="2928" y="3210929"/>
                      <a:pt x="7556" y="3210929"/>
                    </a:cubicBezTo>
                    <a:cubicBezTo>
                      <a:pt x="12184" y="3210929"/>
                      <a:pt x="15919" y="3214664"/>
                      <a:pt x="15919" y="3219292"/>
                    </a:cubicBezTo>
                    <a:lnTo>
                      <a:pt x="15919" y="3252744"/>
                    </a:lnTo>
                    <a:cubicBezTo>
                      <a:pt x="15919" y="3257372"/>
                      <a:pt x="12184" y="3261107"/>
                      <a:pt x="7556" y="3261107"/>
                    </a:cubicBezTo>
                    <a:close/>
                    <a:moveTo>
                      <a:pt x="7556" y="3160751"/>
                    </a:moveTo>
                    <a:cubicBezTo>
                      <a:pt x="2928" y="3160751"/>
                      <a:pt x="-807" y="3157015"/>
                      <a:pt x="-807" y="3152388"/>
                    </a:cubicBezTo>
                    <a:lnTo>
                      <a:pt x="-807" y="3118936"/>
                    </a:lnTo>
                    <a:cubicBezTo>
                      <a:pt x="-807" y="3114308"/>
                      <a:pt x="2928" y="3110573"/>
                      <a:pt x="7556" y="3110573"/>
                    </a:cubicBezTo>
                    <a:cubicBezTo>
                      <a:pt x="12184" y="3110573"/>
                      <a:pt x="15919" y="3114308"/>
                      <a:pt x="15919" y="3118936"/>
                    </a:cubicBezTo>
                    <a:lnTo>
                      <a:pt x="15919" y="3152388"/>
                    </a:lnTo>
                    <a:cubicBezTo>
                      <a:pt x="15919" y="3157015"/>
                      <a:pt x="12184" y="3160751"/>
                      <a:pt x="7556" y="3160751"/>
                    </a:cubicBezTo>
                    <a:close/>
                    <a:moveTo>
                      <a:pt x="7556" y="3060395"/>
                    </a:moveTo>
                    <a:cubicBezTo>
                      <a:pt x="2928" y="3060395"/>
                      <a:pt x="-807" y="3056659"/>
                      <a:pt x="-807" y="3052032"/>
                    </a:cubicBezTo>
                    <a:lnTo>
                      <a:pt x="-807" y="3018580"/>
                    </a:lnTo>
                    <a:cubicBezTo>
                      <a:pt x="-807" y="3013952"/>
                      <a:pt x="2928" y="3010217"/>
                      <a:pt x="7556" y="3010217"/>
                    </a:cubicBezTo>
                    <a:cubicBezTo>
                      <a:pt x="12184" y="3010217"/>
                      <a:pt x="15919" y="3013952"/>
                      <a:pt x="15919" y="3018580"/>
                    </a:cubicBezTo>
                    <a:lnTo>
                      <a:pt x="15919" y="3052032"/>
                    </a:lnTo>
                    <a:cubicBezTo>
                      <a:pt x="15919" y="3056659"/>
                      <a:pt x="12184" y="3060395"/>
                      <a:pt x="7556" y="3060395"/>
                    </a:cubicBezTo>
                    <a:close/>
                    <a:moveTo>
                      <a:pt x="7556" y="2960039"/>
                    </a:moveTo>
                    <a:cubicBezTo>
                      <a:pt x="2928" y="2960039"/>
                      <a:pt x="-807" y="2956303"/>
                      <a:pt x="-807" y="2951676"/>
                    </a:cubicBezTo>
                    <a:lnTo>
                      <a:pt x="-807" y="2918224"/>
                    </a:lnTo>
                    <a:cubicBezTo>
                      <a:pt x="-807" y="2913596"/>
                      <a:pt x="2928" y="2909861"/>
                      <a:pt x="7556" y="2909861"/>
                    </a:cubicBezTo>
                    <a:cubicBezTo>
                      <a:pt x="12184" y="2909861"/>
                      <a:pt x="15919" y="2913596"/>
                      <a:pt x="15919" y="2918224"/>
                    </a:cubicBezTo>
                    <a:lnTo>
                      <a:pt x="15919" y="2951676"/>
                    </a:lnTo>
                    <a:cubicBezTo>
                      <a:pt x="15919" y="2956303"/>
                      <a:pt x="12184" y="2960039"/>
                      <a:pt x="7556" y="2960039"/>
                    </a:cubicBezTo>
                    <a:close/>
                    <a:moveTo>
                      <a:pt x="7556" y="2859683"/>
                    </a:moveTo>
                    <a:cubicBezTo>
                      <a:pt x="2928" y="2859683"/>
                      <a:pt x="-807" y="2855947"/>
                      <a:pt x="-807" y="2851320"/>
                    </a:cubicBezTo>
                    <a:lnTo>
                      <a:pt x="-807" y="2817868"/>
                    </a:lnTo>
                    <a:cubicBezTo>
                      <a:pt x="-807" y="2813240"/>
                      <a:pt x="2928" y="2809505"/>
                      <a:pt x="7556" y="2809505"/>
                    </a:cubicBezTo>
                    <a:cubicBezTo>
                      <a:pt x="12184" y="2809505"/>
                      <a:pt x="15919" y="2813240"/>
                      <a:pt x="15919" y="2817868"/>
                    </a:cubicBezTo>
                    <a:lnTo>
                      <a:pt x="15919" y="2851320"/>
                    </a:lnTo>
                    <a:cubicBezTo>
                      <a:pt x="15919" y="2855947"/>
                      <a:pt x="12184" y="2859683"/>
                      <a:pt x="7556" y="2859683"/>
                    </a:cubicBezTo>
                    <a:close/>
                    <a:moveTo>
                      <a:pt x="7556" y="2759327"/>
                    </a:moveTo>
                    <a:cubicBezTo>
                      <a:pt x="2928" y="2759327"/>
                      <a:pt x="-807" y="2755591"/>
                      <a:pt x="-807" y="2750964"/>
                    </a:cubicBezTo>
                    <a:lnTo>
                      <a:pt x="-807" y="2717512"/>
                    </a:lnTo>
                    <a:cubicBezTo>
                      <a:pt x="-807" y="2712884"/>
                      <a:pt x="2928" y="2709149"/>
                      <a:pt x="7556" y="2709149"/>
                    </a:cubicBezTo>
                    <a:cubicBezTo>
                      <a:pt x="12184" y="2709149"/>
                      <a:pt x="15919" y="2712884"/>
                      <a:pt x="15919" y="2717512"/>
                    </a:cubicBezTo>
                    <a:lnTo>
                      <a:pt x="15919" y="2750964"/>
                    </a:lnTo>
                    <a:cubicBezTo>
                      <a:pt x="15919" y="2755591"/>
                      <a:pt x="12184" y="2759327"/>
                      <a:pt x="7556" y="2759327"/>
                    </a:cubicBezTo>
                    <a:close/>
                    <a:moveTo>
                      <a:pt x="7556" y="2658971"/>
                    </a:moveTo>
                    <a:cubicBezTo>
                      <a:pt x="2928" y="2658971"/>
                      <a:pt x="-807" y="2655235"/>
                      <a:pt x="-807" y="2650608"/>
                    </a:cubicBezTo>
                    <a:lnTo>
                      <a:pt x="-807" y="2617156"/>
                    </a:lnTo>
                    <a:cubicBezTo>
                      <a:pt x="-807" y="2612539"/>
                      <a:pt x="2928" y="2608793"/>
                      <a:pt x="7556" y="2608793"/>
                    </a:cubicBezTo>
                    <a:cubicBezTo>
                      <a:pt x="12184" y="2608793"/>
                      <a:pt x="15919" y="2612539"/>
                      <a:pt x="15919" y="2617156"/>
                    </a:cubicBezTo>
                    <a:lnTo>
                      <a:pt x="15919" y="2650608"/>
                    </a:lnTo>
                    <a:cubicBezTo>
                      <a:pt x="15919" y="2655235"/>
                      <a:pt x="12184" y="2658971"/>
                      <a:pt x="7556" y="2658971"/>
                    </a:cubicBezTo>
                    <a:close/>
                    <a:moveTo>
                      <a:pt x="7556" y="2558614"/>
                    </a:moveTo>
                    <a:cubicBezTo>
                      <a:pt x="2928" y="2558614"/>
                      <a:pt x="-807" y="2554868"/>
                      <a:pt x="-807" y="2550251"/>
                    </a:cubicBezTo>
                    <a:lnTo>
                      <a:pt x="-807" y="2516799"/>
                    </a:lnTo>
                    <a:cubicBezTo>
                      <a:pt x="-807" y="2512183"/>
                      <a:pt x="2928" y="2508436"/>
                      <a:pt x="7556" y="2508436"/>
                    </a:cubicBezTo>
                    <a:cubicBezTo>
                      <a:pt x="12184" y="2508436"/>
                      <a:pt x="15919" y="2512183"/>
                      <a:pt x="15919" y="2516799"/>
                    </a:cubicBezTo>
                    <a:lnTo>
                      <a:pt x="15919" y="2550251"/>
                    </a:lnTo>
                    <a:cubicBezTo>
                      <a:pt x="15919" y="2554868"/>
                      <a:pt x="12184" y="2558614"/>
                      <a:pt x="7556" y="2558614"/>
                    </a:cubicBezTo>
                    <a:close/>
                    <a:moveTo>
                      <a:pt x="7556" y="2458258"/>
                    </a:moveTo>
                    <a:cubicBezTo>
                      <a:pt x="2928" y="2458258"/>
                      <a:pt x="-807" y="2454512"/>
                      <a:pt x="-807" y="2449895"/>
                    </a:cubicBezTo>
                    <a:lnTo>
                      <a:pt x="-807" y="2416443"/>
                    </a:lnTo>
                    <a:cubicBezTo>
                      <a:pt x="-807" y="2411827"/>
                      <a:pt x="2928" y="2408080"/>
                      <a:pt x="7556" y="2408080"/>
                    </a:cubicBezTo>
                    <a:cubicBezTo>
                      <a:pt x="12184" y="2408080"/>
                      <a:pt x="15919" y="2411827"/>
                      <a:pt x="15919" y="2416443"/>
                    </a:cubicBezTo>
                    <a:lnTo>
                      <a:pt x="15919" y="2449895"/>
                    </a:lnTo>
                    <a:cubicBezTo>
                      <a:pt x="15919" y="2454512"/>
                      <a:pt x="12184" y="2458258"/>
                      <a:pt x="7556" y="2458258"/>
                    </a:cubicBezTo>
                    <a:close/>
                    <a:moveTo>
                      <a:pt x="7556" y="2357902"/>
                    </a:moveTo>
                    <a:cubicBezTo>
                      <a:pt x="2928" y="2357902"/>
                      <a:pt x="-807" y="2354156"/>
                      <a:pt x="-807" y="2349539"/>
                    </a:cubicBezTo>
                    <a:lnTo>
                      <a:pt x="-807" y="2316087"/>
                    </a:lnTo>
                    <a:cubicBezTo>
                      <a:pt x="-807" y="2311471"/>
                      <a:pt x="2928" y="2307724"/>
                      <a:pt x="7556" y="2307724"/>
                    </a:cubicBezTo>
                    <a:cubicBezTo>
                      <a:pt x="12184" y="2307724"/>
                      <a:pt x="15919" y="2311471"/>
                      <a:pt x="15919" y="2316087"/>
                    </a:cubicBezTo>
                    <a:lnTo>
                      <a:pt x="15919" y="2349539"/>
                    </a:lnTo>
                    <a:cubicBezTo>
                      <a:pt x="15919" y="2354156"/>
                      <a:pt x="12184" y="2357902"/>
                      <a:pt x="7556" y="2357902"/>
                    </a:cubicBezTo>
                    <a:close/>
                    <a:moveTo>
                      <a:pt x="7556" y="2257546"/>
                    </a:moveTo>
                    <a:cubicBezTo>
                      <a:pt x="2928" y="2257546"/>
                      <a:pt x="-807" y="2253799"/>
                      <a:pt x="-807" y="2249183"/>
                    </a:cubicBezTo>
                    <a:lnTo>
                      <a:pt x="-807" y="2215731"/>
                    </a:lnTo>
                    <a:cubicBezTo>
                      <a:pt x="-807" y="2211115"/>
                      <a:pt x="2928" y="2207368"/>
                      <a:pt x="7556" y="2207368"/>
                    </a:cubicBezTo>
                    <a:cubicBezTo>
                      <a:pt x="12184" y="2207368"/>
                      <a:pt x="15919" y="2211115"/>
                      <a:pt x="15919" y="2215731"/>
                    </a:cubicBezTo>
                    <a:lnTo>
                      <a:pt x="15919" y="2249183"/>
                    </a:lnTo>
                    <a:cubicBezTo>
                      <a:pt x="15919" y="2253799"/>
                      <a:pt x="12184" y="2257546"/>
                      <a:pt x="7556" y="2257546"/>
                    </a:cubicBezTo>
                    <a:close/>
                    <a:moveTo>
                      <a:pt x="7556" y="2157190"/>
                    </a:moveTo>
                    <a:cubicBezTo>
                      <a:pt x="2928" y="2157190"/>
                      <a:pt x="-807" y="2153443"/>
                      <a:pt x="-807" y="2148827"/>
                    </a:cubicBezTo>
                    <a:lnTo>
                      <a:pt x="-807" y="2115375"/>
                    </a:lnTo>
                    <a:cubicBezTo>
                      <a:pt x="-807" y="2110759"/>
                      <a:pt x="2928" y="2107012"/>
                      <a:pt x="7556" y="2107012"/>
                    </a:cubicBezTo>
                    <a:cubicBezTo>
                      <a:pt x="12184" y="2107012"/>
                      <a:pt x="15919" y="2110759"/>
                      <a:pt x="15919" y="2115375"/>
                    </a:cubicBezTo>
                    <a:lnTo>
                      <a:pt x="15919" y="2148827"/>
                    </a:lnTo>
                    <a:cubicBezTo>
                      <a:pt x="15919" y="2153443"/>
                      <a:pt x="12184" y="2157190"/>
                      <a:pt x="7556" y="2157190"/>
                    </a:cubicBezTo>
                    <a:close/>
                    <a:moveTo>
                      <a:pt x="7556" y="2056834"/>
                    </a:moveTo>
                    <a:cubicBezTo>
                      <a:pt x="2928" y="2056834"/>
                      <a:pt x="-807" y="2053087"/>
                      <a:pt x="-807" y="2048471"/>
                    </a:cubicBezTo>
                    <a:lnTo>
                      <a:pt x="-807" y="2015019"/>
                    </a:lnTo>
                    <a:cubicBezTo>
                      <a:pt x="-807" y="2010402"/>
                      <a:pt x="2928" y="2006656"/>
                      <a:pt x="7556" y="2006656"/>
                    </a:cubicBezTo>
                    <a:cubicBezTo>
                      <a:pt x="12184" y="2006656"/>
                      <a:pt x="15919" y="2010402"/>
                      <a:pt x="15919" y="2015019"/>
                    </a:cubicBezTo>
                    <a:lnTo>
                      <a:pt x="15919" y="2048471"/>
                    </a:lnTo>
                    <a:cubicBezTo>
                      <a:pt x="15919" y="2053087"/>
                      <a:pt x="12184" y="2056834"/>
                      <a:pt x="7556" y="2056834"/>
                    </a:cubicBezTo>
                    <a:close/>
                    <a:moveTo>
                      <a:pt x="7556" y="1956478"/>
                    </a:moveTo>
                    <a:cubicBezTo>
                      <a:pt x="2928" y="1956478"/>
                      <a:pt x="-807" y="1952731"/>
                      <a:pt x="-807" y="1948115"/>
                    </a:cubicBezTo>
                    <a:lnTo>
                      <a:pt x="-807" y="1914663"/>
                    </a:lnTo>
                    <a:cubicBezTo>
                      <a:pt x="-807" y="1910046"/>
                      <a:pt x="2928" y="1906300"/>
                      <a:pt x="7556" y="1906300"/>
                    </a:cubicBezTo>
                    <a:cubicBezTo>
                      <a:pt x="12184" y="1906300"/>
                      <a:pt x="15919" y="1910046"/>
                      <a:pt x="15919" y="1914663"/>
                    </a:cubicBezTo>
                    <a:lnTo>
                      <a:pt x="15919" y="1948115"/>
                    </a:lnTo>
                    <a:cubicBezTo>
                      <a:pt x="15919" y="1952731"/>
                      <a:pt x="12184" y="1956478"/>
                      <a:pt x="7556" y="1956478"/>
                    </a:cubicBezTo>
                    <a:close/>
                    <a:moveTo>
                      <a:pt x="7556" y="1856122"/>
                    </a:moveTo>
                    <a:cubicBezTo>
                      <a:pt x="2928" y="1856122"/>
                      <a:pt x="-807" y="1852375"/>
                      <a:pt x="-807" y="1847759"/>
                    </a:cubicBezTo>
                    <a:lnTo>
                      <a:pt x="-807" y="1814306"/>
                    </a:lnTo>
                    <a:cubicBezTo>
                      <a:pt x="-807" y="1809690"/>
                      <a:pt x="2928" y="1805943"/>
                      <a:pt x="7556" y="1805943"/>
                    </a:cubicBezTo>
                    <a:cubicBezTo>
                      <a:pt x="12184" y="1805943"/>
                      <a:pt x="15919" y="1809690"/>
                      <a:pt x="15919" y="1814306"/>
                    </a:cubicBezTo>
                    <a:lnTo>
                      <a:pt x="15919" y="1847759"/>
                    </a:lnTo>
                    <a:cubicBezTo>
                      <a:pt x="15919" y="1852375"/>
                      <a:pt x="12184" y="1856122"/>
                      <a:pt x="7556" y="1856122"/>
                    </a:cubicBezTo>
                    <a:close/>
                    <a:moveTo>
                      <a:pt x="7556" y="1755765"/>
                    </a:moveTo>
                    <a:cubicBezTo>
                      <a:pt x="2928" y="1755765"/>
                      <a:pt x="-807" y="1752019"/>
                      <a:pt x="-807" y="1747402"/>
                    </a:cubicBezTo>
                    <a:lnTo>
                      <a:pt x="-807" y="1713950"/>
                    </a:lnTo>
                    <a:cubicBezTo>
                      <a:pt x="-807" y="1709334"/>
                      <a:pt x="2928" y="1705587"/>
                      <a:pt x="7556" y="1705587"/>
                    </a:cubicBezTo>
                    <a:cubicBezTo>
                      <a:pt x="12184" y="1705587"/>
                      <a:pt x="15919" y="1709334"/>
                      <a:pt x="15919" y="1713950"/>
                    </a:cubicBezTo>
                    <a:lnTo>
                      <a:pt x="15919" y="1747402"/>
                    </a:lnTo>
                    <a:cubicBezTo>
                      <a:pt x="15919" y="1752019"/>
                      <a:pt x="12184" y="1755765"/>
                      <a:pt x="7556" y="1755765"/>
                    </a:cubicBezTo>
                    <a:close/>
                    <a:moveTo>
                      <a:pt x="7556" y="1655409"/>
                    </a:moveTo>
                    <a:cubicBezTo>
                      <a:pt x="2928" y="1655409"/>
                      <a:pt x="-807" y="1651663"/>
                      <a:pt x="-807" y="1647046"/>
                    </a:cubicBezTo>
                    <a:lnTo>
                      <a:pt x="-807" y="1613594"/>
                    </a:lnTo>
                    <a:cubicBezTo>
                      <a:pt x="-807" y="1608978"/>
                      <a:pt x="2928" y="1605231"/>
                      <a:pt x="7556" y="1605231"/>
                    </a:cubicBezTo>
                    <a:cubicBezTo>
                      <a:pt x="12184" y="1605231"/>
                      <a:pt x="15919" y="1608978"/>
                      <a:pt x="15919" y="1613594"/>
                    </a:cubicBezTo>
                    <a:lnTo>
                      <a:pt x="15919" y="1647046"/>
                    </a:lnTo>
                    <a:cubicBezTo>
                      <a:pt x="15919" y="1651663"/>
                      <a:pt x="12184" y="1655409"/>
                      <a:pt x="7556" y="1655409"/>
                    </a:cubicBezTo>
                    <a:close/>
                    <a:moveTo>
                      <a:pt x="7556" y="1555053"/>
                    </a:moveTo>
                    <a:cubicBezTo>
                      <a:pt x="2928" y="1555053"/>
                      <a:pt x="-807" y="1551307"/>
                      <a:pt x="-807" y="1546690"/>
                    </a:cubicBezTo>
                    <a:lnTo>
                      <a:pt x="-807" y="1513238"/>
                    </a:lnTo>
                    <a:cubicBezTo>
                      <a:pt x="-807" y="1508622"/>
                      <a:pt x="2928" y="1504875"/>
                      <a:pt x="7556" y="1504875"/>
                    </a:cubicBezTo>
                    <a:cubicBezTo>
                      <a:pt x="12184" y="1504875"/>
                      <a:pt x="15919" y="1508622"/>
                      <a:pt x="15919" y="1513238"/>
                    </a:cubicBezTo>
                    <a:lnTo>
                      <a:pt x="15919" y="1546690"/>
                    </a:lnTo>
                    <a:cubicBezTo>
                      <a:pt x="15919" y="1551307"/>
                      <a:pt x="12184" y="1555053"/>
                      <a:pt x="7556" y="1555053"/>
                    </a:cubicBezTo>
                    <a:close/>
                    <a:moveTo>
                      <a:pt x="7556" y="1454697"/>
                    </a:moveTo>
                    <a:cubicBezTo>
                      <a:pt x="2928" y="1454697"/>
                      <a:pt x="-807" y="1450950"/>
                      <a:pt x="-807" y="1446334"/>
                    </a:cubicBezTo>
                    <a:lnTo>
                      <a:pt x="-807" y="1412882"/>
                    </a:lnTo>
                    <a:cubicBezTo>
                      <a:pt x="-807" y="1408266"/>
                      <a:pt x="2928" y="1404519"/>
                      <a:pt x="7556" y="1404519"/>
                    </a:cubicBezTo>
                    <a:cubicBezTo>
                      <a:pt x="12184" y="1404519"/>
                      <a:pt x="15919" y="1408266"/>
                      <a:pt x="15919" y="1412882"/>
                    </a:cubicBezTo>
                    <a:lnTo>
                      <a:pt x="15919" y="1446334"/>
                    </a:lnTo>
                    <a:cubicBezTo>
                      <a:pt x="15919" y="1450950"/>
                      <a:pt x="12184" y="1454697"/>
                      <a:pt x="7556" y="1454697"/>
                    </a:cubicBezTo>
                    <a:close/>
                    <a:moveTo>
                      <a:pt x="7556" y="1354341"/>
                    </a:moveTo>
                    <a:cubicBezTo>
                      <a:pt x="2928" y="1354341"/>
                      <a:pt x="-807" y="1350594"/>
                      <a:pt x="-807" y="1345978"/>
                    </a:cubicBezTo>
                    <a:lnTo>
                      <a:pt x="-807" y="1312526"/>
                    </a:lnTo>
                    <a:cubicBezTo>
                      <a:pt x="-807" y="1307909"/>
                      <a:pt x="2928" y="1304163"/>
                      <a:pt x="7556" y="1304163"/>
                    </a:cubicBezTo>
                    <a:cubicBezTo>
                      <a:pt x="12184" y="1304163"/>
                      <a:pt x="15919" y="1307909"/>
                      <a:pt x="15919" y="1312526"/>
                    </a:cubicBezTo>
                    <a:lnTo>
                      <a:pt x="15919" y="1345978"/>
                    </a:lnTo>
                    <a:cubicBezTo>
                      <a:pt x="15919" y="1350594"/>
                      <a:pt x="12184" y="1354341"/>
                      <a:pt x="7556" y="1354341"/>
                    </a:cubicBezTo>
                    <a:close/>
                    <a:moveTo>
                      <a:pt x="7556" y="1253985"/>
                    </a:moveTo>
                    <a:cubicBezTo>
                      <a:pt x="2928" y="1253985"/>
                      <a:pt x="-807" y="1250238"/>
                      <a:pt x="-807" y="1245622"/>
                    </a:cubicBezTo>
                    <a:lnTo>
                      <a:pt x="-807" y="1212170"/>
                    </a:lnTo>
                    <a:cubicBezTo>
                      <a:pt x="-807" y="1207553"/>
                      <a:pt x="2928" y="1203807"/>
                      <a:pt x="7556" y="1203807"/>
                    </a:cubicBezTo>
                    <a:cubicBezTo>
                      <a:pt x="12184" y="1203807"/>
                      <a:pt x="15919" y="1207553"/>
                      <a:pt x="15919" y="1212170"/>
                    </a:cubicBezTo>
                    <a:lnTo>
                      <a:pt x="15919" y="1245622"/>
                    </a:lnTo>
                    <a:cubicBezTo>
                      <a:pt x="15919" y="1250238"/>
                      <a:pt x="12184" y="1253985"/>
                      <a:pt x="7556" y="1253985"/>
                    </a:cubicBezTo>
                    <a:close/>
                    <a:moveTo>
                      <a:pt x="7556" y="1153629"/>
                    </a:moveTo>
                    <a:cubicBezTo>
                      <a:pt x="2928" y="1153629"/>
                      <a:pt x="-807" y="1149882"/>
                      <a:pt x="-807" y="1145266"/>
                    </a:cubicBezTo>
                    <a:lnTo>
                      <a:pt x="-807" y="1111814"/>
                    </a:lnTo>
                    <a:cubicBezTo>
                      <a:pt x="-807" y="1107197"/>
                      <a:pt x="2928" y="1103451"/>
                      <a:pt x="7556" y="1103451"/>
                    </a:cubicBezTo>
                    <a:cubicBezTo>
                      <a:pt x="12184" y="1103451"/>
                      <a:pt x="15919" y="1107197"/>
                      <a:pt x="15919" y="1111814"/>
                    </a:cubicBezTo>
                    <a:lnTo>
                      <a:pt x="15919" y="1145266"/>
                    </a:lnTo>
                    <a:cubicBezTo>
                      <a:pt x="15919" y="1149882"/>
                      <a:pt x="12184" y="1153629"/>
                      <a:pt x="7556" y="1153629"/>
                    </a:cubicBezTo>
                    <a:close/>
                    <a:moveTo>
                      <a:pt x="7556" y="1053273"/>
                    </a:moveTo>
                    <a:cubicBezTo>
                      <a:pt x="2928" y="1053273"/>
                      <a:pt x="-807" y="1049526"/>
                      <a:pt x="-807" y="1044910"/>
                    </a:cubicBezTo>
                    <a:lnTo>
                      <a:pt x="-807" y="1011457"/>
                    </a:lnTo>
                    <a:cubicBezTo>
                      <a:pt x="-807" y="1006841"/>
                      <a:pt x="2928" y="1003094"/>
                      <a:pt x="7556" y="1003094"/>
                    </a:cubicBezTo>
                    <a:cubicBezTo>
                      <a:pt x="12184" y="1003094"/>
                      <a:pt x="15919" y="1006841"/>
                      <a:pt x="15919" y="1011457"/>
                    </a:cubicBezTo>
                    <a:lnTo>
                      <a:pt x="15919" y="1044910"/>
                    </a:lnTo>
                    <a:cubicBezTo>
                      <a:pt x="15919" y="1049526"/>
                      <a:pt x="12184" y="1053273"/>
                      <a:pt x="7556" y="1053273"/>
                    </a:cubicBezTo>
                    <a:close/>
                    <a:moveTo>
                      <a:pt x="7556" y="952916"/>
                    </a:moveTo>
                    <a:cubicBezTo>
                      <a:pt x="2928" y="952916"/>
                      <a:pt x="-807" y="949170"/>
                      <a:pt x="-807" y="944553"/>
                    </a:cubicBezTo>
                    <a:lnTo>
                      <a:pt x="-807" y="911101"/>
                    </a:lnTo>
                    <a:cubicBezTo>
                      <a:pt x="-807" y="906485"/>
                      <a:pt x="2928" y="902738"/>
                      <a:pt x="7556" y="902738"/>
                    </a:cubicBezTo>
                    <a:cubicBezTo>
                      <a:pt x="12184" y="902738"/>
                      <a:pt x="15919" y="906485"/>
                      <a:pt x="15919" y="911101"/>
                    </a:cubicBezTo>
                    <a:lnTo>
                      <a:pt x="15919" y="944553"/>
                    </a:lnTo>
                    <a:cubicBezTo>
                      <a:pt x="15919" y="949170"/>
                      <a:pt x="12184" y="952916"/>
                      <a:pt x="7556" y="952916"/>
                    </a:cubicBezTo>
                    <a:close/>
                    <a:moveTo>
                      <a:pt x="7556" y="852560"/>
                    </a:moveTo>
                    <a:cubicBezTo>
                      <a:pt x="2928" y="852560"/>
                      <a:pt x="-807" y="848814"/>
                      <a:pt x="-807" y="844197"/>
                    </a:cubicBezTo>
                    <a:lnTo>
                      <a:pt x="-807" y="810745"/>
                    </a:lnTo>
                    <a:cubicBezTo>
                      <a:pt x="-807" y="806129"/>
                      <a:pt x="2928" y="802382"/>
                      <a:pt x="7556" y="802382"/>
                    </a:cubicBezTo>
                    <a:cubicBezTo>
                      <a:pt x="12184" y="802382"/>
                      <a:pt x="15919" y="806129"/>
                      <a:pt x="15919" y="810745"/>
                    </a:cubicBezTo>
                    <a:lnTo>
                      <a:pt x="15919" y="844197"/>
                    </a:lnTo>
                    <a:cubicBezTo>
                      <a:pt x="15919" y="848814"/>
                      <a:pt x="12184" y="852560"/>
                      <a:pt x="7556" y="852560"/>
                    </a:cubicBezTo>
                    <a:close/>
                    <a:moveTo>
                      <a:pt x="7556" y="752204"/>
                    </a:moveTo>
                    <a:cubicBezTo>
                      <a:pt x="2928" y="752204"/>
                      <a:pt x="-807" y="748458"/>
                      <a:pt x="-807" y="743841"/>
                    </a:cubicBezTo>
                    <a:lnTo>
                      <a:pt x="-807" y="710389"/>
                    </a:lnTo>
                    <a:cubicBezTo>
                      <a:pt x="-807" y="705773"/>
                      <a:pt x="2928" y="702026"/>
                      <a:pt x="7556" y="702026"/>
                    </a:cubicBezTo>
                    <a:cubicBezTo>
                      <a:pt x="12184" y="702026"/>
                      <a:pt x="15919" y="705773"/>
                      <a:pt x="15919" y="710389"/>
                    </a:cubicBezTo>
                    <a:lnTo>
                      <a:pt x="15919" y="743841"/>
                    </a:lnTo>
                    <a:cubicBezTo>
                      <a:pt x="15919" y="748458"/>
                      <a:pt x="12184" y="752204"/>
                      <a:pt x="7556" y="752204"/>
                    </a:cubicBezTo>
                    <a:close/>
                    <a:moveTo>
                      <a:pt x="7556" y="651848"/>
                    </a:moveTo>
                    <a:cubicBezTo>
                      <a:pt x="2928" y="651848"/>
                      <a:pt x="-807" y="648101"/>
                      <a:pt x="-807" y="643485"/>
                    </a:cubicBezTo>
                    <a:lnTo>
                      <a:pt x="-807" y="610033"/>
                    </a:lnTo>
                    <a:cubicBezTo>
                      <a:pt x="-807" y="605417"/>
                      <a:pt x="2928" y="601670"/>
                      <a:pt x="7556" y="601670"/>
                    </a:cubicBezTo>
                    <a:cubicBezTo>
                      <a:pt x="12184" y="601670"/>
                      <a:pt x="15919" y="605417"/>
                      <a:pt x="15919" y="610033"/>
                    </a:cubicBezTo>
                    <a:lnTo>
                      <a:pt x="15919" y="643485"/>
                    </a:lnTo>
                    <a:cubicBezTo>
                      <a:pt x="15919" y="648101"/>
                      <a:pt x="12184" y="651848"/>
                      <a:pt x="7556" y="651848"/>
                    </a:cubicBezTo>
                    <a:close/>
                    <a:moveTo>
                      <a:pt x="7556" y="551492"/>
                    </a:moveTo>
                    <a:cubicBezTo>
                      <a:pt x="2928" y="551492"/>
                      <a:pt x="-807" y="547745"/>
                      <a:pt x="-807" y="543129"/>
                    </a:cubicBezTo>
                    <a:lnTo>
                      <a:pt x="-807" y="509677"/>
                    </a:lnTo>
                    <a:cubicBezTo>
                      <a:pt x="-807" y="505060"/>
                      <a:pt x="2928" y="501314"/>
                      <a:pt x="7556" y="501314"/>
                    </a:cubicBezTo>
                    <a:cubicBezTo>
                      <a:pt x="12184" y="501314"/>
                      <a:pt x="15919" y="505060"/>
                      <a:pt x="15919" y="509677"/>
                    </a:cubicBezTo>
                    <a:lnTo>
                      <a:pt x="15919" y="543129"/>
                    </a:lnTo>
                    <a:cubicBezTo>
                      <a:pt x="15919" y="547745"/>
                      <a:pt x="12184" y="551492"/>
                      <a:pt x="7556" y="551492"/>
                    </a:cubicBezTo>
                    <a:close/>
                    <a:moveTo>
                      <a:pt x="7556" y="451136"/>
                    </a:moveTo>
                    <a:cubicBezTo>
                      <a:pt x="2928" y="451136"/>
                      <a:pt x="-807" y="447389"/>
                      <a:pt x="-807" y="442773"/>
                    </a:cubicBezTo>
                    <a:lnTo>
                      <a:pt x="-807" y="409321"/>
                    </a:lnTo>
                    <a:cubicBezTo>
                      <a:pt x="-807" y="404704"/>
                      <a:pt x="2928" y="400958"/>
                      <a:pt x="7556" y="400958"/>
                    </a:cubicBezTo>
                    <a:cubicBezTo>
                      <a:pt x="12184" y="400958"/>
                      <a:pt x="15919" y="404704"/>
                      <a:pt x="15919" y="409321"/>
                    </a:cubicBezTo>
                    <a:lnTo>
                      <a:pt x="15919" y="442773"/>
                    </a:lnTo>
                    <a:cubicBezTo>
                      <a:pt x="15919" y="447389"/>
                      <a:pt x="12184" y="451136"/>
                      <a:pt x="7556" y="451136"/>
                    </a:cubicBezTo>
                    <a:close/>
                    <a:moveTo>
                      <a:pt x="7556" y="350780"/>
                    </a:moveTo>
                    <a:cubicBezTo>
                      <a:pt x="2928" y="350780"/>
                      <a:pt x="-807" y="347033"/>
                      <a:pt x="-807" y="342417"/>
                    </a:cubicBezTo>
                    <a:lnTo>
                      <a:pt x="-807" y="308965"/>
                    </a:lnTo>
                    <a:cubicBezTo>
                      <a:pt x="-807" y="304348"/>
                      <a:pt x="2928" y="300602"/>
                      <a:pt x="7556" y="300602"/>
                    </a:cubicBezTo>
                    <a:cubicBezTo>
                      <a:pt x="12184" y="300602"/>
                      <a:pt x="15919" y="304348"/>
                      <a:pt x="15919" y="308965"/>
                    </a:cubicBezTo>
                    <a:lnTo>
                      <a:pt x="15919" y="342417"/>
                    </a:lnTo>
                    <a:cubicBezTo>
                      <a:pt x="15919" y="347033"/>
                      <a:pt x="12184" y="350780"/>
                      <a:pt x="7556" y="350780"/>
                    </a:cubicBezTo>
                    <a:close/>
                    <a:moveTo>
                      <a:pt x="7556" y="250424"/>
                    </a:moveTo>
                    <a:cubicBezTo>
                      <a:pt x="2928" y="250424"/>
                      <a:pt x="-807" y="246677"/>
                      <a:pt x="-807" y="242060"/>
                    </a:cubicBezTo>
                    <a:lnTo>
                      <a:pt x="-807" y="208608"/>
                    </a:lnTo>
                    <a:cubicBezTo>
                      <a:pt x="-807" y="203992"/>
                      <a:pt x="2928" y="200245"/>
                      <a:pt x="7556" y="200245"/>
                    </a:cubicBezTo>
                    <a:cubicBezTo>
                      <a:pt x="12184" y="200245"/>
                      <a:pt x="15919" y="203992"/>
                      <a:pt x="15919" y="208608"/>
                    </a:cubicBezTo>
                    <a:lnTo>
                      <a:pt x="15919" y="242060"/>
                    </a:lnTo>
                    <a:cubicBezTo>
                      <a:pt x="15919" y="246677"/>
                      <a:pt x="12184" y="250424"/>
                      <a:pt x="7556" y="250424"/>
                    </a:cubicBezTo>
                    <a:close/>
                    <a:moveTo>
                      <a:pt x="7556" y="150067"/>
                    </a:moveTo>
                    <a:cubicBezTo>
                      <a:pt x="2928" y="150067"/>
                      <a:pt x="-807" y="146321"/>
                      <a:pt x="-807" y="141704"/>
                    </a:cubicBezTo>
                    <a:lnTo>
                      <a:pt x="-807" y="108252"/>
                    </a:lnTo>
                    <a:cubicBezTo>
                      <a:pt x="-807" y="103636"/>
                      <a:pt x="2928" y="99889"/>
                      <a:pt x="7556" y="99889"/>
                    </a:cubicBezTo>
                    <a:cubicBezTo>
                      <a:pt x="12184" y="99889"/>
                      <a:pt x="15919" y="103636"/>
                      <a:pt x="15919" y="108252"/>
                    </a:cubicBezTo>
                    <a:lnTo>
                      <a:pt x="15919" y="141704"/>
                    </a:lnTo>
                    <a:cubicBezTo>
                      <a:pt x="15919" y="146321"/>
                      <a:pt x="12184" y="150067"/>
                      <a:pt x="7556" y="150067"/>
                    </a:cubicBezTo>
                    <a:close/>
                    <a:moveTo>
                      <a:pt x="7556" y="49711"/>
                    </a:moveTo>
                    <a:cubicBezTo>
                      <a:pt x="2928" y="49711"/>
                      <a:pt x="-807" y="45965"/>
                      <a:pt x="-807" y="41348"/>
                    </a:cubicBezTo>
                    <a:lnTo>
                      <a:pt x="-807" y="7896"/>
                    </a:lnTo>
                    <a:cubicBezTo>
                      <a:pt x="-807" y="3280"/>
                      <a:pt x="2928" y="-467"/>
                      <a:pt x="7556" y="-467"/>
                    </a:cubicBezTo>
                    <a:cubicBezTo>
                      <a:pt x="12184" y="-467"/>
                      <a:pt x="15919" y="3280"/>
                      <a:pt x="15919" y="7896"/>
                    </a:cubicBezTo>
                    <a:lnTo>
                      <a:pt x="15919" y="41348"/>
                    </a:lnTo>
                    <a:cubicBezTo>
                      <a:pt x="15919" y="45965"/>
                      <a:pt x="12184" y="49711"/>
                      <a:pt x="7556" y="49711"/>
                    </a:cubicBezTo>
                    <a:close/>
                  </a:path>
                </a:pathLst>
              </a:custGeom>
              <a:solidFill>
                <a:srgbClr val="30373B"/>
              </a:solidFill>
              <a:ln w="5573" cap="flat">
                <a:noFill/>
                <a:prstDash val="solid"/>
                <a:miter/>
              </a:ln>
            </p:spPr>
            <p:txBody>
              <a:bodyPr rtlCol="0" anchor="ctr"/>
              <a:lstStyle/>
              <a:p>
                <a:endParaRPr lang="en-GB"/>
              </a:p>
            </p:txBody>
          </p:sp>
          <p:sp>
            <p:nvSpPr>
              <p:cNvPr id="200" name="Graphic 6">
                <a:extLst>
                  <a:ext uri="{FF2B5EF4-FFF2-40B4-BE49-F238E27FC236}">
                    <a16:creationId xmlns:a16="http://schemas.microsoft.com/office/drawing/2014/main" id="{947AE37E-2E27-D82F-97A7-D4057B55B4DB}"/>
                  </a:ext>
                </a:extLst>
              </p:cNvPr>
              <p:cNvSpPr/>
              <p:nvPr/>
            </p:nvSpPr>
            <p:spPr>
              <a:xfrm>
                <a:off x="7553297" y="3241807"/>
                <a:ext cx="1224400" cy="194133"/>
              </a:xfrm>
              <a:custGeom>
                <a:avLst/>
                <a:gdLst>
                  <a:gd name="connsiteX0" fmla="*/ 1042730 w 1224400"/>
                  <a:gd name="connsiteY0" fmla="*/ 193667 h 194133"/>
                  <a:gd name="connsiteX1" fmla="*/ 948953 w 1224400"/>
                  <a:gd name="connsiteY1" fmla="*/ 100280 h 194133"/>
                  <a:gd name="connsiteX2" fmla="*/ 870174 w 1224400"/>
                  <a:gd name="connsiteY2" fmla="*/ 16259 h 194133"/>
                  <a:gd name="connsiteX3" fmla="*/ 791450 w 1224400"/>
                  <a:gd name="connsiteY3" fmla="*/ 100280 h 194133"/>
                  <a:gd name="connsiteX4" fmla="*/ 697616 w 1224400"/>
                  <a:gd name="connsiteY4" fmla="*/ 193667 h 194133"/>
                  <a:gd name="connsiteX5" fmla="*/ 603839 w 1224400"/>
                  <a:gd name="connsiteY5" fmla="*/ 100280 h 194133"/>
                  <a:gd name="connsiteX6" fmla="*/ 525116 w 1224400"/>
                  <a:gd name="connsiteY6" fmla="*/ 16259 h 194133"/>
                  <a:gd name="connsiteX7" fmla="*/ 446392 w 1224400"/>
                  <a:gd name="connsiteY7" fmla="*/ 100280 h 194133"/>
                  <a:gd name="connsiteX8" fmla="*/ 352558 w 1224400"/>
                  <a:gd name="connsiteY8" fmla="*/ 193667 h 194133"/>
                  <a:gd name="connsiteX9" fmla="*/ 258782 w 1224400"/>
                  <a:gd name="connsiteY9" fmla="*/ 100280 h 194133"/>
                  <a:gd name="connsiteX10" fmla="*/ 180058 w 1224400"/>
                  <a:gd name="connsiteY10" fmla="*/ 16259 h 194133"/>
                  <a:gd name="connsiteX11" fmla="*/ 101334 w 1224400"/>
                  <a:gd name="connsiteY11" fmla="*/ 100280 h 194133"/>
                  <a:gd name="connsiteX12" fmla="*/ 7556 w 1224400"/>
                  <a:gd name="connsiteY12" fmla="*/ 193667 h 194133"/>
                  <a:gd name="connsiteX13" fmla="*/ -807 w 1224400"/>
                  <a:gd name="connsiteY13" fmla="*/ 185304 h 194133"/>
                  <a:gd name="connsiteX14" fmla="*/ 7556 w 1224400"/>
                  <a:gd name="connsiteY14" fmla="*/ 176941 h 194133"/>
                  <a:gd name="connsiteX15" fmla="*/ 86280 w 1224400"/>
                  <a:gd name="connsiteY15" fmla="*/ 92976 h 194133"/>
                  <a:gd name="connsiteX16" fmla="*/ 180058 w 1224400"/>
                  <a:gd name="connsiteY16" fmla="*/ -467 h 194133"/>
                  <a:gd name="connsiteX17" fmla="*/ 273835 w 1224400"/>
                  <a:gd name="connsiteY17" fmla="*/ 92976 h 194133"/>
                  <a:gd name="connsiteX18" fmla="*/ 352558 w 1224400"/>
                  <a:gd name="connsiteY18" fmla="*/ 176941 h 194133"/>
                  <a:gd name="connsiteX19" fmla="*/ 431338 w 1224400"/>
                  <a:gd name="connsiteY19" fmla="*/ 92976 h 194133"/>
                  <a:gd name="connsiteX20" fmla="*/ 525116 w 1224400"/>
                  <a:gd name="connsiteY20" fmla="*/ -467 h 194133"/>
                  <a:gd name="connsiteX21" fmla="*/ 618893 w 1224400"/>
                  <a:gd name="connsiteY21" fmla="*/ 92976 h 194133"/>
                  <a:gd name="connsiteX22" fmla="*/ 697616 w 1224400"/>
                  <a:gd name="connsiteY22" fmla="*/ 176941 h 194133"/>
                  <a:gd name="connsiteX23" fmla="*/ 776396 w 1224400"/>
                  <a:gd name="connsiteY23" fmla="*/ 92976 h 194133"/>
                  <a:gd name="connsiteX24" fmla="*/ 870174 w 1224400"/>
                  <a:gd name="connsiteY24" fmla="*/ -467 h 194133"/>
                  <a:gd name="connsiteX25" fmla="*/ 964006 w 1224400"/>
                  <a:gd name="connsiteY25" fmla="*/ 92976 h 194133"/>
                  <a:gd name="connsiteX26" fmla="*/ 1042730 w 1224400"/>
                  <a:gd name="connsiteY26" fmla="*/ 176941 h 194133"/>
                  <a:gd name="connsiteX27" fmla="*/ 1121454 w 1224400"/>
                  <a:gd name="connsiteY27" fmla="*/ 92976 h 194133"/>
                  <a:gd name="connsiteX28" fmla="*/ 1215231 w 1224400"/>
                  <a:gd name="connsiteY28" fmla="*/ -467 h 194133"/>
                  <a:gd name="connsiteX29" fmla="*/ 1223594 w 1224400"/>
                  <a:gd name="connsiteY29" fmla="*/ 7896 h 194133"/>
                  <a:gd name="connsiteX30" fmla="*/ 1215231 w 1224400"/>
                  <a:gd name="connsiteY30" fmla="*/ 16259 h 194133"/>
                  <a:gd name="connsiteX31" fmla="*/ 1136507 w 1224400"/>
                  <a:gd name="connsiteY31" fmla="*/ 100280 h 194133"/>
                  <a:gd name="connsiteX32" fmla="*/ 1042730 w 1224400"/>
                  <a:gd name="connsiteY32" fmla="*/ 193667 h 19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24400" h="194133">
                    <a:moveTo>
                      <a:pt x="1042730" y="193667"/>
                    </a:moveTo>
                    <a:cubicBezTo>
                      <a:pt x="994392" y="193667"/>
                      <a:pt x="971255" y="146165"/>
                      <a:pt x="948953" y="100280"/>
                    </a:cubicBezTo>
                    <a:cubicBezTo>
                      <a:pt x="927934" y="57071"/>
                      <a:pt x="908085" y="16259"/>
                      <a:pt x="870174" y="16259"/>
                    </a:cubicBezTo>
                    <a:cubicBezTo>
                      <a:pt x="832261" y="16259"/>
                      <a:pt x="812412" y="57071"/>
                      <a:pt x="791450" y="100280"/>
                    </a:cubicBezTo>
                    <a:cubicBezTo>
                      <a:pt x="769148" y="146165"/>
                      <a:pt x="746011" y="193667"/>
                      <a:pt x="697616" y="193667"/>
                    </a:cubicBezTo>
                    <a:cubicBezTo>
                      <a:pt x="649223" y="193667"/>
                      <a:pt x="626197" y="146165"/>
                      <a:pt x="603839" y="100280"/>
                    </a:cubicBezTo>
                    <a:cubicBezTo>
                      <a:pt x="582876" y="57071"/>
                      <a:pt x="563028" y="16259"/>
                      <a:pt x="525116" y="16259"/>
                    </a:cubicBezTo>
                    <a:cubicBezTo>
                      <a:pt x="487203" y="16259"/>
                      <a:pt x="467355" y="57071"/>
                      <a:pt x="446392" y="100280"/>
                    </a:cubicBezTo>
                    <a:cubicBezTo>
                      <a:pt x="424091" y="146165"/>
                      <a:pt x="400953" y="193667"/>
                      <a:pt x="352558" y="193667"/>
                    </a:cubicBezTo>
                    <a:cubicBezTo>
                      <a:pt x="304165" y="193667"/>
                      <a:pt x="281139" y="146165"/>
                      <a:pt x="258782" y="100280"/>
                    </a:cubicBezTo>
                    <a:cubicBezTo>
                      <a:pt x="237818" y="57071"/>
                      <a:pt x="217970" y="16259"/>
                      <a:pt x="180058" y="16259"/>
                    </a:cubicBezTo>
                    <a:cubicBezTo>
                      <a:pt x="142145" y="16259"/>
                      <a:pt x="122297" y="57071"/>
                      <a:pt x="101334" y="100280"/>
                    </a:cubicBezTo>
                    <a:cubicBezTo>
                      <a:pt x="79033" y="146165"/>
                      <a:pt x="55895" y="193667"/>
                      <a:pt x="7556" y="193667"/>
                    </a:cubicBezTo>
                    <a:cubicBezTo>
                      <a:pt x="2929" y="193667"/>
                      <a:pt x="-807" y="189920"/>
                      <a:pt x="-807" y="185304"/>
                    </a:cubicBezTo>
                    <a:cubicBezTo>
                      <a:pt x="-807" y="180687"/>
                      <a:pt x="2929" y="176941"/>
                      <a:pt x="7556" y="176941"/>
                    </a:cubicBezTo>
                    <a:cubicBezTo>
                      <a:pt x="45413" y="176941"/>
                      <a:pt x="65262" y="136129"/>
                      <a:pt x="86280" y="92976"/>
                    </a:cubicBezTo>
                    <a:cubicBezTo>
                      <a:pt x="108582" y="47035"/>
                      <a:pt x="131719" y="-467"/>
                      <a:pt x="180058" y="-467"/>
                    </a:cubicBezTo>
                    <a:cubicBezTo>
                      <a:pt x="228396" y="-467"/>
                      <a:pt x="251533" y="47035"/>
                      <a:pt x="273835" y="92976"/>
                    </a:cubicBezTo>
                    <a:cubicBezTo>
                      <a:pt x="294854" y="136129"/>
                      <a:pt x="314702" y="176941"/>
                      <a:pt x="352558" y="176941"/>
                    </a:cubicBezTo>
                    <a:cubicBezTo>
                      <a:pt x="390415" y="176941"/>
                      <a:pt x="410319" y="136129"/>
                      <a:pt x="431338" y="92976"/>
                    </a:cubicBezTo>
                    <a:cubicBezTo>
                      <a:pt x="453639" y="47035"/>
                      <a:pt x="476721" y="-467"/>
                      <a:pt x="525116" y="-467"/>
                    </a:cubicBezTo>
                    <a:cubicBezTo>
                      <a:pt x="573509" y="-467"/>
                      <a:pt x="596591" y="47035"/>
                      <a:pt x="618893" y="92976"/>
                    </a:cubicBezTo>
                    <a:cubicBezTo>
                      <a:pt x="639912" y="136129"/>
                      <a:pt x="659760" y="176941"/>
                      <a:pt x="697616" y="176941"/>
                    </a:cubicBezTo>
                    <a:cubicBezTo>
                      <a:pt x="735473" y="176941"/>
                      <a:pt x="755377" y="136129"/>
                      <a:pt x="776396" y="92976"/>
                    </a:cubicBezTo>
                    <a:cubicBezTo>
                      <a:pt x="798697" y="47035"/>
                      <a:pt x="821835" y="-467"/>
                      <a:pt x="870174" y="-467"/>
                    </a:cubicBezTo>
                    <a:cubicBezTo>
                      <a:pt x="918511" y="-467"/>
                      <a:pt x="941649" y="47035"/>
                      <a:pt x="964006" y="92976"/>
                    </a:cubicBezTo>
                    <a:cubicBezTo>
                      <a:pt x="984970" y="136129"/>
                      <a:pt x="1004817" y="176941"/>
                      <a:pt x="1042730" y="176941"/>
                    </a:cubicBezTo>
                    <a:cubicBezTo>
                      <a:pt x="1080643" y="176941"/>
                      <a:pt x="1100491" y="136129"/>
                      <a:pt x="1121454" y="92976"/>
                    </a:cubicBezTo>
                    <a:cubicBezTo>
                      <a:pt x="1143755" y="47035"/>
                      <a:pt x="1166893" y="-467"/>
                      <a:pt x="1215231" y="-467"/>
                    </a:cubicBezTo>
                    <a:cubicBezTo>
                      <a:pt x="1219859" y="-467"/>
                      <a:pt x="1223594" y="3280"/>
                      <a:pt x="1223594" y="7896"/>
                    </a:cubicBezTo>
                    <a:cubicBezTo>
                      <a:pt x="1223594" y="12513"/>
                      <a:pt x="1219859" y="16259"/>
                      <a:pt x="1215231" y="16259"/>
                    </a:cubicBezTo>
                    <a:cubicBezTo>
                      <a:pt x="1177375" y="16259"/>
                      <a:pt x="1157526" y="57071"/>
                      <a:pt x="1136507" y="100280"/>
                    </a:cubicBezTo>
                    <a:cubicBezTo>
                      <a:pt x="1113983" y="146165"/>
                      <a:pt x="1090901" y="193667"/>
                      <a:pt x="1042730" y="193667"/>
                    </a:cubicBezTo>
                    <a:close/>
                  </a:path>
                </a:pathLst>
              </a:custGeom>
              <a:solidFill>
                <a:srgbClr val="30373B"/>
              </a:solidFill>
              <a:ln w="5573" cap="flat">
                <a:noFill/>
                <a:prstDash val="solid"/>
                <a:miter/>
              </a:ln>
            </p:spPr>
            <p:txBody>
              <a:bodyPr rtlCol="0" anchor="ctr"/>
              <a:lstStyle/>
              <a:p>
                <a:endParaRPr lang="en-GB"/>
              </a:p>
            </p:txBody>
          </p:sp>
          <p:sp>
            <p:nvSpPr>
              <p:cNvPr id="201" name="Graphic 6">
                <a:extLst>
                  <a:ext uri="{FF2B5EF4-FFF2-40B4-BE49-F238E27FC236}">
                    <a16:creationId xmlns:a16="http://schemas.microsoft.com/office/drawing/2014/main" id="{84718D33-3917-5443-C2C9-3016FB33AAEE}"/>
                  </a:ext>
                </a:extLst>
              </p:cNvPr>
              <p:cNvSpPr/>
              <p:nvPr/>
            </p:nvSpPr>
            <p:spPr>
              <a:xfrm>
                <a:off x="5718453" y="6184359"/>
                <a:ext cx="299786" cy="16726"/>
              </a:xfrm>
              <a:custGeom>
                <a:avLst/>
                <a:gdLst>
                  <a:gd name="connsiteX0" fmla="*/ 290617 w 299786"/>
                  <a:gd name="connsiteY0" fmla="*/ 16259 h 16726"/>
                  <a:gd name="connsiteX1" fmla="*/ 7556 w 299786"/>
                  <a:gd name="connsiteY1" fmla="*/ 16259 h 16726"/>
                  <a:gd name="connsiteX2" fmla="*/ -807 w 299786"/>
                  <a:gd name="connsiteY2" fmla="*/ 7896 h 16726"/>
                  <a:gd name="connsiteX3" fmla="*/ 7556 w 299786"/>
                  <a:gd name="connsiteY3" fmla="*/ -467 h 16726"/>
                  <a:gd name="connsiteX4" fmla="*/ 290617 w 299786"/>
                  <a:gd name="connsiteY4" fmla="*/ -467 h 16726"/>
                  <a:gd name="connsiteX5" fmla="*/ 298980 w 299786"/>
                  <a:gd name="connsiteY5" fmla="*/ 7896 h 16726"/>
                  <a:gd name="connsiteX6" fmla="*/ 290617 w 299786"/>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786" h="16726">
                    <a:moveTo>
                      <a:pt x="290617" y="16259"/>
                    </a:moveTo>
                    <a:lnTo>
                      <a:pt x="7556" y="16259"/>
                    </a:lnTo>
                    <a:cubicBezTo>
                      <a:pt x="2940" y="16259"/>
                      <a:pt x="-807" y="12524"/>
                      <a:pt x="-807" y="7896"/>
                    </a:cubicBezTo>
                    <a:cubicBezTo>
                      <a:pt x="-807" y="3269"/>
                      <a:pt x="2940" y="-467"/>
                      <a:pt x="7556" y="-467"/>
                    </a:cubicBezTo>
                    <a:lnTo>
                      <a:pt x="290617" y="-467"/>
                    </a:lnTo>
                    <a:cubicBezTo>
                      <a:pt x="295233" y="-467"/>
                      <a:pt x="298980" y="3269"/>
                      <a:pt x="298980" y="7896"/>
                    </a:cubicBezTo>
                    <a:cubicBezTo>
                      <a:pt x="298980" y="12524"/>
                      <a:pt x="295233" y="16259"/>
                      <a:pt x="290617" y="16259"/>
                    </a:cubicBezTo>
                    <a:close/>
                  </a:path>
                </a:pathLst>
              </a:custGeom>
              <a:solidFill>
                <a:srgbClr val="30373B"/>
              </a:solidFill>
              <a:ln w="5573" cap="flat">
                <a:noFill/>
                <a:prstDash val="solid"/>
                <a:miter/>
              </a:ln>
            </p:spPr>
            <p:txBody>
              <a:bodyPr rtlCol="0" anchor="ctr"/>
              <a:lstStyle/>
              <a:p>
                <a:endParaRPr lang="en-GB"/>
              </a:p>
            </p:txBody>
          </p:sp>
          <p:sp>
            <p:nvSpPr>
              <p:cNvPr id="202" name="Graphic 6">
                <a:extLst>
                  <a:ext uri="{FF2B5EF4-FFF2-40B4-BE49-F238E27FC236}">
                    <a16:creationId xmlns:a16="http://schemas.microsoft.com/office/drawing/2014/main" id="{DF89199F-4735-4A23-F7C2-5AA2E10E491E}"/>
                  </a:ext>
                </a:extLst>
              </p:cNvPr>
              <p:cNvSpPr/>
              <p:nvPr/>
            </p:nvSpPr>
            <p:spPr>
              <a:xfrm>
                <a:off x="5828064" y="6109316"/>
                <a:ext cx="190174" cy="16726"/>
              </a:xfrm>
              <a:custGeom>
                <a:avLst/>
                <a:gdLst>
                  <a:gd name="connsiteX0" fmla="*/ 181005 w 190174"/>
                  <a:gd name="connsiteY0" fmla="*/ 16259 h 16726"/>
                  <a:gd name="connsiteX1" fmla="*/ 7556 w 190174"/>
                  <a:gd name="connsiteY1" fmla="*/ 16259 h 16726"/>
                  <a:gd name="connsiteX2" fmla="*/ -807 w 190174"/>
                  <a:gd name="connsiteY2" fmla="*/ 7896 h 16726"/>
                  <a:gd name="connsiteX3" fmla="*/ 7556 w 190174"/>
                  <a:gd name="connsiteY3" fmla="*/ -467 h 16726"/>
                  <a:gd name="connsiteX4" fmla="*/ 181005 w 190174"/>
                  <a:gd name="connsiteY4" fmla="*/ -467 h 16726"/>
                  <a:gd name="connsiteX5" fmla="*/ 189368 w 190174"/>
                  <a:gd name="connsiteY5" fmla="*/ 7896 h 16726"/>
                  <a:gd name="connsiteX6" fmla="*/ 181005 w 190174"/>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74" h="16726">
                    <a:moveTo>
                      <a:pt x="181005" y="16259"/>
                    </a:moveTo>
                    <a:lnTo>
                      <a:pt x="7556" y="16259"/>
                    </a:lnTo>
                    <a:cubicBezTo>
                      <a:pt x="2940" y="16259"/>
                      <a:pt x="-807" y="12523"/>
                      <a:pt x="-807" y="7896"/>
                    </a:cubicBezTo>
                    <a:cubicBezTo>
                      <a:pt x="-807" y="3269"/>
                      <a:pt x="2940" y="-467"/>
                      <a:pt x="7556" y="-467"/>
                    </a:cubicBezTo>
                    <a:lnTo>
                      <a:pt x="181005" y="-467"/>
                    </a:lnTo>
                    <a:cubicBezTo>
                      <a:pt x="185622" y="-467"/>
                      <a:pt x="189368" y="3269"/>
                      <a:pt x="189368" y="7896"/>
                    </a:cubicBezTo>
                    <a:cubicBezTo>
                      <a:pt x="189368" y="12523"/>
                      <a:pt x="185622" y="16259"/>
                      <a:pt x="181005" y="16259"/>
                    </a:cubicBezTo>
                    <a:close/>
                  </a:path>
                </a:pathLst>
              </a:custGeom>
              <a:solidFill>
                <a:srgbClr val="30373B"/>
              </a:solidFill>
              <a:ln w="5573" cap="flat">
                <a:noFill/>
                <a:prstDash val="solid"/>
                <a:miter/>
              </a:ln>
            </p:spPr>
            <p:txBody>
              <a:bodyPr rtlCol="0" anchor="ctr"/>
              <a:lstStyle/>
              <a:p>
                <a:endParaRPr lang="en-GB"/>
              </a:p>
            </p:txBody>
          </p:sp>
        </p:grpSp>
      </p:grpSp>
      <p:sp>
        <p:nvSpPr>
          <p:cNvPr id="2" name="TextBox 1">
            <a:extLst>
              <a:ext uri="{FF2B5EF4-FFF2-40B4-BE49-F238E27FC236}">
                <a16:creationId xmlns:a16="http://schemas.microsoft.com/office/drawing/2014/main" id="{6031A85D-62B0-6940-6C9F-8008E5EFB8C8}"/>
              </a:ext>
            </a:extLst>
          </p:cNvPr>
          <p:cNvSpPr txBox="1"/>
          <p:nvPr/>
        </p:nvSpPr>
        <p:spPr>
          <a:xfrm>
            <a:off x="1050622" y="2690336"/>
            <a:ext cx="6419070" cy="2862322"/>
          </a:xfrm>
          <a:prstGeom prst="rect">
            <a:avLst/>
          </a:prstGeom>
          <a:noFill/>
        </p:spPr>
        <p:txBody>
          <a:bodyPr wrap="square" rtlCol="0">
            <a:spAutoFit/>
          </a:bodyPr>
          <a:lstStyle/>
          <a:p>
            <a:r>
              <a:rPr lang="da-DK" sz="2400" dirty="0">
                <a:solidFill>
                  <a:schemeClr val="bg1"/>
                </a:solidFill>
              </a:rPr>
              <a:t>Formål: </a:t>
            </a:r>
          </a:p>
          <a:p>
            <a:pPr marL="342900" indent="-342900">
              <a:buFont typeface="Courier New" panose="02070309020205020404" pitchFamily="49" charset="0"/>
              <a:buChar char="o"/>
            </a:pPr>
            <a:r>
              <a:rPr lang="da-DK" sz="2400" dirty="0">
                <a:solidFill>
                  <a:schemeClr val="bg1"/>
                </a:solidFill>
              </a:rPr>
              <a:t>Kvalificering og legitimering af leverancer</a:t>
            </a:r>
          </a:p>
          <a:p>
            <a:pPr marL="342900" indent="-342900">
              <a:buFont typeface="Courier New" panose="02070309020205020404" pitchFamily="49" charset="0"/>
              <a:buChar char="o"/>
            </a:pPr>
            <a:r>
              <a:rPr lang="da-DK" sz="2400" dirty="0">
                <a:solidFill>
                  <a:schemeClr val="bg1"/>
                </a:solidFill>
              </a:rPr>
              <a:t>Tidlig inddragelse =&gt; videndeling</a:t>
            </a:r>
          </a:p>
          <a:p>
            <a:pPr marL="342900" indent="-342900">
              <a:buFont typeface="Courier New" panose="02070309020205020404" pitchFamily="49" charset="0"/>
              <a:buChar char="o"/>
            </a:pPr>
            <a:r>
              <a:rPr lang="da-DK" sz="2400" dirty="0">
                <a:solidFill>
                  <a:schemeClr val="bg1"/>
                </a:solidFill>
              </a:rPr>
              <a:t>Tidlig kompetenceudvikling</a:t>
            </a:r>
          </a:p>
          <a:p>
            <a:pPr marL="342900" indent="-342900">
              <a:buFont typeface="Courier New" panose="02070309020205020404" pitchFamily="49" charset="0"/>
              <a:buChar char="o"/>
            </a:pPr>
            <a:r>
              <a:rPr lang="da-DK" sz="2400" dirty="0">
                <a:solidFill>
                  <a:schemeClr val="bg1"/>
                </a:solidFill>
              </a:rPr>
              <a:t>Transparens og afmystificering</a:t>
            </a:r>
          </a:p>
          <a:p>
            <a:endParaRPr lang="da-DK" sz="1400" dirty="0">
              <a:solidFill>
                <a:schemeClr val="bg1"/>
              </a:solidFill>
            </a:endParaRPr>
          </a:p>
          <a:p>
            <a:endParaRPr lang="da-DK" sz="1400" dirty="0">
              <a:solidFill>
                <a:schemeClr val="bg1"/>
              </a:solidFill>
            </a:endParaRPr>
          </a:p>
          <a:p>
            <a:br>
              <a:rPr lang="da-DK" sz="1400" dirty="0">
                <a:solidFill>
                  <a:schemeClr val="bg1"/>
                </a:solidFill>
              </a:rPr>
            </a:br>
            <a:endParaRPr lang="da-DK" dirty="0">
              <a:solidFill>
                <a:schemeClr val="bg1"/>
              </a:solidFill>
            </a:endParaRPr>
          </a:p>
        </p:txBody>
      </p:sp>
    </p:spTree>
    <p:extLst>
      <p:ext uri="{BB962C8B-B14F-4D97-AF65-F5344CB8AC3E}">
        <p14:creationId xmlns:p14="http://schemas.microsoft.com/office/powerpoint/2010/main" val="348127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97F5A6C-1D14-4603-0C04-6D01E00C6646}"/>
              </a:ext>
            </a:extLst>
          </p:cNvPr>
          <p:cNvSpPr/>
          <p:nvPr/>
        </p:nvSpPr>
        <p:spPr>
          <a:xfrm>
            <a:off x="0" y="0"/>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 name="Pladsholder til slidenummer 3">
            <a:extLst>
              <a:ext uri="{FF2B5EF4-FFF2-40B4-BE49-F238E27FC236}">
                <a16:creationId xmlns:a16="http://schemas.microsoft.com/office/drawing/2014/main" id="{FD16CE2B-389C-004B-349A-C26295F05869}"/>
              </a:ext>
            </a:extLst>
          </p:cNvPr>
          <p:cNvSpPr>
            <a:spLocks noGrp="1"/>
          </p:cNvSpPr>
          <p:nvPr>
            <p:ph type="sldNum" sz="quarter" idx="4"/>
          </p:nvPr>
        </p:nvSpPr>
        <p:spPr/>
        <p:txBody>
          <a:bodyPr/>
          <a:lstStyle/>
          <a:p>
            <a:fld id="{39DF810D-F77C-4BB2-BE6A-BDC67BB44902}" type="slidenum">
              <a:rPr lang="da-DK" smtClean="0"/>
              <a:pPr/>
              <a:t>13</a:t>
            </a:fld>
            <a:endParaRPr lang="da-DK"/>
          </a:p>
        </p:txBody>
      </p:sp>
      <p:sp>
        <p:nvSpPr>
          <p:cNvPr id="9" name="Title 5">
            <a:extLst>
              <a:ext uri="{FF2B5EF4-FFF2-40B4-BE49-F238E27FC236}">
                <a16:creationId xmlns:a16="http://schemas.microsoft.com/office/drawing/2014/main" id="{89ADDDCC-48D0-A25D-DEFB-F331C056B171}"/>
              </a:ext>
            </a:extLst>
          </p:cNvPr>
          <p:cNvSpPr txBox="1">
            <a:spLocks/>
          </p:cNvSpPr>
          <p:nvPr/>
        </p:nvSpPr>
        <p:spPr>
          <a:xfrm>
            <a:off x="898597" y="543048"/>
            <a:ext cx="10964281" cy="627864"/>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1200" dirty="0">
                <a:solidFill>
                  <a:schemeClr val="bg1"/>
                </a:solidFill>
                <a:latin typeface="+mn-lt"/>
              </a:rPr>
              <a:t>Gennemgås ikke </a:t>
            </a:r>
            <a:br>
              <a:rPr lang="da-DK" sz="1200" dirty="0">
                <a:solidFill>
                  <a:schemeClr val="bg1"/>
                </a:solidFill>
                <a:latin typeface="+mn-lt"/>
              </a:rPr>
            </a:br>
            <a:r>
              <a:rPr lang="da-DK" sz="3600" dirty="0">
                <a:solidFill>
                  <a:schemeClr val="bg1"/>
                </a:solidFill>
                <a:latin typeface="+mn-lt"/>
              </a:rPr>
              <a:t>Inddragelse af universiteterne i testaktiviteter </a:t>
            </a:r>
            <a:endParaRPr lang="nb-NO" sz="3600" dirty="0">
              <a:solidFill>
                <a:schemeClr val="bg1"/>
              </a:solidFill>
              <a:latin typeface="+mn-lt"/>
            </a:endParaRPr>
          </a:p>
        </p:txBody>
      </p:sp>
      <p:grpSp>
        <p:nvGrpSpPr>
          <p:cNvPr id="104" name="Group 103">
            <a:extLst>
              <a:ext uri="{FF2B5EF4-FFF2-40B4-BE49-F238E27FC236}">
                <a16:creationId xmlns:a16="http://schemas.microsoft.com/office/drawing/2014/main" id="{9EE2FA64-324F-3584-E0BE-9E8098D95803}"/>
              </a:ext>
            </a:extLst>
          </p:cNvPr>
          <p:cNvGrpSpPr/>
          <p:nvPr/>
        </p:nvGrpSpPr>
        <p:grpSpPr>
          <a:xfrm>
            <a:off x="7290846" y="2455866"/>
            <a:ext cx="4554050" cy="4063084"/>
            <a:chOff x="5088160" y="2252854"/>
            <a:chExt cx="4554050" cy="4063084"/>
          </a:xfrm>
        </p:grpSpPr>
        <p:grpSp>
          <p:nvGrpSpPr>
            <p:cNvPr id="105" name="Group 104">
              <a:extLst>
                <a:ext uri="{FF2B5EF4-FFF2-40B4-BE49-F238E27FC236}">
                  <a16:creationId xmlns:a16="http://schemas.microsoft.com/office/drawing/2014/main" id="{B6CB8F35-B392-0BC9-1DD7-E9A24702FEDB}"/>
                </a:ext>
              </a:extLst>
            </p:cNvPr>
            <p:cNvGrpSpPr/>
            <p:nvPr/>
          </p:nvGrpSpPr>
          <p:grpSpPr>
            <a:xfrm>
              <a:off x="5507648" y="3152769"/>
              <a:ext cx="3209500" cy="3163169"/>
              <a:chOff x="5507648" y="3152769"/>
              <a:chExt cx="3209500" cy="3163169"/>
            </a:xfrm>
          </p:grpSpPr>
          <p:sp>
            <p:nvSpPr>
              <p:cNvPr id="203" name="Graphic 6">
                <a:extLst>
                  <a:ext uri="{FF2B5EF4-FFF2-40B4-BE49-F238E27FC236}">
                    <a16:creationId xmlns:a16="http://schemas.microsoft.com/office/drawing/2014/main" id="{148CE5D1-2EA4-784F-EE8D-1119D4345314}"/>
                  </a:ext>
                </a:extLst>
              </p:cNvPr>
              <p:cNvSpPr/>
              <p:nvPr/>
            </p:nvSpPr>
            <p:spPr>
              <a:xfrm>
                <a:off x="7508973"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579"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579"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4" name="Graphic 6">
                <a:extLst>
                  <a:ext uri="{FF2B5EF4-FFF2-40B4-BE49-F238E27FC236}">
                    <a16:creationId xmlns:a16="http://schemas.microsoft.com/office/drawing/2014/main" id="{A69D2D2C-6EA1-6D4A-918A-D1B645F0357E}"/>
                  </a:ext>
                </a:extLst>
              </p:cNvPr>
              <p:cNvSpPr/>
              <p:nvPr/>
            </p:nvSpPr>
            <p:spPr>
              <a:xfrm>
                <a:off x="5907457"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635"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635"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5" name="Graphic 6">
                <a:extLst>
                  <a:ext uri="{FF2B5EF4-FFF2-40B4-BE49-F238E27FC236}">
                    <a16:creationId xmlns:a16="http://schemas.microsoft.com/office/drawing/2014/main" id="{C7C48635-E34C-5020-CF88-1A69F6D16B34}"/>
                  </a:ext>
                </a:extLst>
              </p:cNvPr>
              <p:cNvSpPr/>
              <p:nvPr/>
            </p:nvSpPr>
            <p:spPr>
              <a:xfrm>
                <a:off x="8131627" y="3835803"/>
                <a:ext cx="325711" cy="325711"/>
              </a:xfrm>
              <a:custGeom>
                <a:avLst/>
                <a:gdLst>
                  <a:gd name="connsiteX0" fmla="*/ 249943 w 325711"/>
                  <a:gd name="connsiteY0" fmla="*/ 0 h 325711"/>
                  <a:gd name="connsiteX1" fmla="*/ 325712 w 325711"/>
                  <a:gd name="connsiteY1" fmla="*/ 0 h 325711"/>
                  <a:gd name="connsiteX2" fmla="*/ 325712 w 325711"/>
                  <a:gd name="connsiteY2" fmla="*/ 325711 h 325711"/>
                  <a:gd name="connsiteX3" fmla="*/ 249943 w 325711"/>
                  <a:gd name="connsiteY3" fmla="*/ 325711 h 325711"/>
                  <a:gd name="connsiteX4" fmla="*/ 75769 w 325711"/>
                  <a:gd name="connsiteY4" fmla="*/ 325711 h 325711"/>
                  <a:gd name="connsiteX5" fmla="*/ 0 w 325711"/>
                  <a:gd name="connsiteY5" fmla="*/ 325711 h 325711"/>
                  <a:gd name="connsiteX6" fmla="*/ 0 w 325711"/>
                  <a:gd name="connsiteY6" fmla="*/ 0 h 325711"/>
                  <a:gd name="connsiteX7" fmla="*/ 75769 w 325711"/>
                  <a:gd name="connsiteY7" fmla="*/ 0 h 32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11" h="325711">
                    <a:moveTo>
                      <a:pt x="249943" y="0"/>
                    </a:moveTo>
                    <a:cubicBezTo>
                      <a:pt x="291789" y="0"/>
                      <a:pt x="325712" y="0"/>
                      <a:pt x="325712" y="0"/>
                    </a:cubicBezTo>
                    <a:lnTo>
                      <a:pt x="325712" y="325711"/>
                    </a:lnTo>
                    <a:cubicBezTo>
                      <a:pt x="325712" y="325711"/>
                      <a:pt x="291789" y="325711"/>
                      <a:pt x="249943" y="325711"/>
                    </a:cubicBezTo>
                    <a:lnTo>
                      <a:pt x="75769" y="325711"/>
                    </a:lnTo>
                    <a:cubicBezTo>
                      <a:pt x="33923" y="325711"/>
                      <a:pt x="0" y="325711"/>
                      <a:pt x="0" y="325711"/>
                    </a:cubicBezTo>
                    <a:lnTo>
                      <a:pt x="0" y="0"/>
                    </a:lnTo>
                    <a:cubicBezTo>
                      <a:pt x="0" y="0"/>
                      <a:pt x="33923" y="0"/>
                      <a:pt x="75769" y="0"/>
                    </a:cubicBezTo>
                    <a:close/>
                  </a:path>
                </a:pathLst>
              </a:custGeom>
              <a:solidFill>
                <a:schemeClr val="accent2"/>
              </a:solidFill>
              <a:ln w="5573" cap="flat">
                <a:noFill/>
                <a:prstDash val="solid"/>
                <a:miter/>
              </a:ln>
            </p:spPr>
            <p:txBody>
              <a:bodyPr rtlCol="0" anchor="ctr"/>
              <a:lstStyle/>
              <a:p>
                <a:endParaRPr lang="en-GB"/>
              </a:p>
            </p:txBody>
          </p:sp>
          <p:sp>
            <p:nvSpPr>
              <p:cNvPr id="206" name="Graphic 6">
                <a:extLst>
                  <a:ext uri="{FF2B5EF4-FFF2-40B4-BE49-F238E27FC236}">
                    <a16:creationId xmlns:a16="http://schemas.microsoft.com/office/drawing/2014/main" id="{D85DE4EF-D8B0-1B1D-3C3E-119C8B2BA794}"/>
                  </a:ext>
                </a:extLst>
              </p:cNvPr>
              <p:cNvSpPr/>
              <p:nvPr/>
            </p:nvSpPr>
            <p:spPr>
              <a:xfrm>
                <a:off x="7522020" y="4946244"/>
                <a:ext cx="435991" cy="435991"/>
              </a:xfrm>
              <a:custGeom>
                <a:avLst/>
                <a:gdLst>
                  <a:gd name="connsiteX0" fmla="*/ 435992 w 435991"/>
                  <a:gd name="connsiteY0" fmla="*/ 217996 h 435991"/>
                  <a:gd name="connsiteX1" fmla="*/ 217996 w 435991"/>
                  <a:gd name="connsiteY1" fmla="*/ 435991 h 435991"/>
                  <a:gd name="connsiteX2" fmla="*/ 0 w 435991"/>
                  <a:gd name="connsiteY2" fmla="*/ 217996 h 435991"/>
                  <a:gd name="connsiteX3" fmla="*/ 217996 w 435991"/>
                  <a:gd name="connsiteY3" fmla="*/ 0 h 435991"/>
                  <a:gd name="connsiteX4" fmla="*/ 435992 w 435991"/>
                  <a:gd name="connsiteY4" fmla="*/ 217996 h 435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91" h="435991">
                    <a:moveTo>
                      <a:pt x="435992" y="217996"/>
                    </a:moveTo>
                    <a:cubicBezTo>
                      <a:pt x="435992" y="338392"/>
                      <a:pt x="338392" y="435991"/>
                      <a:pt x="217996" y="435991"/>
                    </a:cubicBezTo>
                    <a:cubicBezTo>
                      <a:pt x="97600" y="435991"/>
                      <a:pt x="0" y="338391"/>
                      <a:pt x="0" y="217996"/>
                    </a:cubicBezTo>
                    <a:cubicBezTo>
                      <a:pt x="0" y="97600"/>
                      <a:pt x="97600" y="0"/>
                      <a:pt x="217996" y="0"/>
                    </a:cubicBezTo>
                    <a:cubicBezTo>
                      <a:pt x="338392" y="0"/>
                      <a:pt x="435992" y="97600"/>
                      <a:pt x="435992" y="217996"/>
                    </a:cubicBezTo>
                    <a:close/>
                  </a:path>
                </a:pathLst>
              </a:custGeom>
              <a:solidFill>
                <a:schemeClr val="accent2"/>
              </a:solidFill>
              <a:ln w="5573" cap="flat">
                <a:noFill/>
                <a:prstDash val="solid"/>
                <a:miter/>
              </a:ln>
            </p:spPr>
            <p:txBody>
              <a:bodyPr rtlCol="0" anchor="ctr"/>
              <a:lstStyle/>
              <a:p>
                <a:endParaRPr lang="en-GB"/>
              </a:p>
            </p:txBody>
          </p:sp>
          <p:sp>
            <p:nvSpPr>
              <p:cNvPr id="207" name="Graphic 6">
                <a:extLst>
                  <a:ext uri="{FF2B5EF4-FFF2-40B4-BE49-F238E27FC236}">
                    <a16:creationId xmlns:a16="http://schemas.microsoft.com/office/drawing/2014/main" id="{7B794C1F-8F0A-E7A6-0085-07A765D88323}"/>
                  </a:ext>
                </a:extLst>
              </p:cNvPr>
              <p:cNvSpPr/>
              <p:nvPr/>
            </p:nvSpPr>
            <p:spPr>
              <a:xfrm>
                <a:off x="8395842" y="5369370"/>
                <a:ext cx="292649" cy="338353"/>
              </a:xfrm>
              <a:custGeom>
                <a:avLst/>
                <a:gdLst>
                  <a:gd name="connsiteX0" fmla="*/ 287495 w 292649"/>
                  <a:gd name="connsiteY0" fmla="*/ 238813 h 338353"/>
                  <a:gd name="connsiteX1" fmla="*/ 174259 w 292649"/>
                  <a:gd name="connsiteY1" fmla="*/ 203409 h 338353"/>
                  <a:gd name="connsiteX2" fmla="*/ 189034 w 292649"/>
                  <a:gd name="connsiteY2" fmla="*/ 125355 h 338353"/>
                  <a:gd name="connsiteX3" fmla="*/ 291843 w 292649"/>
                  <a:gd name="connsiteY3" fmla="*/ 133495 h 338353"/>
                  <a:gd name="connsiteX4" fmla="*/ 291843 w 292649"/>
                  <a:gd name="connsiteY4" fmla="*/ 105228 h 338353"/>
                  <a:gd name="connsiteX5" fmla="*/ 282533 w 292649"/>
                  <a:gd name="connsiteY5" fmla="*/ 87665 h 338353"/>
                  <a:gd name="connsiteX6" fmla="*/ 157143 w 292649"/>
                  <a:gd name="connsiteY6" fmla="*/ 3088 h 338353"/>
                  <a:gd name="connsiteX7" fmla="*/ 133950 w 292649"/>
                  <a:gd name="connsiteY7" fmla="*/ 3088 h 338353"/>
                  <a:gd name="connsiteX8" fmla="*/ 8560 w 292649"/>
                  <a:gd name="connsiteY8" fmla="*/ 87665 h 338353"/>
                  <a:gd name="connsiteX9" fmla="*/ -807 w 292649"/>
                  <a:gd name="connsiteY9" fmla="*/ 105228 h 338353"/>
                  <a:gd name="connsiteX10" fmla="*/ -807 w 292649"/>
                  <a:gd name="connsiteY10" fmla="*/ 232178 h 338353"/>
                  <a:gd name="connsiteX11" fmla="*/ 8560 w 292649"/>
                  <a:gd name="connsiteY11" fmla="*/ 249741 h 338353"/>
                  <a:gd name="connsiteX12" fmla="*/ 133950 w 292649"/>
                  <a:gd name="connsiteY12" fmla="*/ 334374 h 338353"/>
                  <a:gd name="connsiteX13" fmla="*/ 145490 w 292649"/>
                  <a:gd name="connsiteY13" fmla="*/ 337887 h 338353"/>
                  <a:gd name="connsiteX14" fmla="*/ 157143 w 292649"/>
                  <a:gd name="connsiteY14" fmla="*/ 334374 h 338353"/>
                  <a:gd name="connsiteX15" fmla="*/ 282533 w 292649"/>
                  <a:gd name="connsiteY15" fmla="*/ 249741 h 338353"/>
                  <a:gd name="connsiteX16" fmla="*/ 291397 w 292649"/>
                  <a:gd name="connsiteY16" fmla="*/ 236081 h 33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649" h="338353">
                    <a:moveTo>
                      <a:pt x="287495" y="238813"/>
                    </a:moveTo>
                    <a:lnTo>
                      <a:pt x="174259" y="203409"/>
                    </a:lnTo>
                    <a:lnTo>
                      <a:pt x="189034" y="125355"/>
                    </a:lnTo>
                    <a:lnTo>
                      <a:pt x="291843" y="133495"/>
                    </a:lnTo>
                    <a:lnTo>
                      <a:pt x="291843" y="105228"/>
                    </a:lnTo>
                    <a:cubicBezTo>
                      <a:pt x="291843" y="98203"/>
                      <a:pt x="288331" y="91624"/>
                      <a:pt x="282533" y="87665"/>
                    </a:cubicBezTo>
                    <a:lnTo>
                      <a:pt x="157143" y="3088"/>
                    </a:lnTo>
                    <a:cubicBezTo>
                      <a:pt x="150118" y="-1652"/>
                      <a:pt x="140975" y="-1652"/>
                      <a:pt x="133950" y="3088"/>
                    </a:cubicBezTo>
                    <a:lnTo>
                      <a:pt x="8560" y="87665"/>
                    </a:lnTo>
                    <a:cubicBezTo>
                      <a:pt x="2706" y="91569"/>
                      <a:pt x="-807" y="98203"/>
                      <a:pt x="-807" y="105228"/>
                    </a:cubicBezTo>
                    <a:lnTo>
                      <a:pt x="-807" y="232178"/>
                    </a:lnTo>
                    <a:cubicBezTo>
                      <a:pt x="-807" y="239203"/>
                      <a:pt x="2706" y="245838"/>
                      <a:pt x="8560" y="249741"/>
                    </a:cubicBezTo>
                    <a:lnTo>
                      <a:pt x="133950" y="334374"/>
                    </a:lnTo>
                    <a:cubicBezTo>
                      <a:pt x="137350" y="336660"/>
                      <a:pt x="141365" y="337887"/>
                      <a:pt x="145490" y="337887"/>
                    </a:cubicBezTo>
                    <a:cubicBezTo>
                      <a:pt x="149617" y="337887"/>
                      <a:pt x="153687" y="336660"/>
                      <a:pt x="157143" y="334374"/>
                    </a:cubicBezTo>
                    <a:lnTo>
                      <a:pt x="282533" y="249741"/>
                    </a:lnTo>
                    <a:cubicBezTo>
                      <a:pt x="287216" y="246563"/>
                      <a:pt x="290394" y="241656"/>
                      <a:pt x="291397" y="236081"/>
                    </a:cubicBezTo>
                    <a:close/>
                  </a:path>
                </a:pathLst>
              </a:custGeom>
              <a:solidFill>
                <a:schemeClr val="accent2"/>
              </a:solidFill>
              <a:ln w="5573" cap="flat">
                <a:noFill/>
                <a:prstDash val="solid"/>
                <a:miter/>
              </a:ln>
            </p:spPr>
            <p:txBody>
              <a:bodyPr rtlCol="0" anchor="ctr"/>
              <a:lstStyle/>
              <a:p>
                <a:endParaRPr lang="en-GB"/>
              </a:p>
            </p:txBody>
          </p:sp>
          <p:sp>
            <p:nvSpPr>
              <p:cNvPr id="208" name="Graphic 6">
                <a:extLst>
                  <a:ext uri="{FF2B5EF4-FFF2-40B4-BE49-F238E27FC236}">
                    <a16:creationId xmlns:a16="http://schemas.microsoft.com/office/drawing/2014/main" id="{B872DF55-6743-A3C0-C18F-2766839F234E}"/>
                  </a:ext>
                </a:extLst>
              </p:cNvPr>
              <p:cNvSpPr/>
              <p:nvPr/>
            </p:nvSpPr>
            <p:spPr>
              <a:xfrm>
                <a:off x="5507648" y="6090694"/>
                <a:ext cx="485724" cy="225244"/>
              </a:xfrm>
              <a:custGeom>
                <a:avLst/>
                <a:gdLst>
                  <a:gd name="connsiteX0" fmla="*/ -806 w 485724"/>
                  <a:gd name="connsiteY0" fmla="*/ 176383 h 225244"/>
                  <a:gd name="connsiteX1" fmla="*/ 45235 w 485724"/>
                  <a:gd name="connsiteY1" fmla="*/ 222881 h 225244"/>
                  <a:gd name="connsiteX2" fmla="*/ 78029 w 485724"/>
                  <a:gd name="connsiteY2" fmla="*/ 209500 h 225244"/>
                  <a:gd name="connsiteX3" fmla="*/ 110924 w 485724"/>
                  <a:gd name="connsiteY3" fmla="*/ 176940 h 225244"/>
                  <a:gd name="connsiteX4" fmla="*/ 143484 w 485724"/>
                  <a:gd name="connsiteY4" fmla="*/ 209835 h 225244"/>
                  <a:gd name="connsiteX5" fmla="*/ 176100 w 485724"/>
                  <a:gd name="connsiteY5" fmla="*/ 223550 h 225244"/>
                  <a:gd name="connsiteX6" fmla="*/ 437806 w 485724"/>
                  <a:gd name="connsiteY6" fmla="*/ 224777 h 225244"/>
                  <a:gd name="connsiteX7" fmla="*/ 484249 w 485724"/>
                  <a:gd name="connsiteY7" fmla="*/ 178725 h 225244"/>
                  <a:gd name="connsiteX8" fmla="*/ 484918 w 485724"/>
                  <a:gd name="connsiteY8" fmla="*/ 47871 h 225244"/>
                  <a:gd name="connsiteX9" fmla="*/ 438866 w 485724"/>
                  <a:gd name="connsiteY9" fmla="*/ 1428 h 225244"/>
                  <a:gd name="connsiteX10" fmla="*/ 177159 w 485724"/>
                  <a:gd name="connsiteY10" fmla="*/ 146 h 225244"/>
                  <a:gd name="connsiteX11" fmla="*/ 144432 w 485724"/>
                  <a:gd name="connsiteY11" fmla="*/ 13527 h 225244"/>
                  <a:gd name="connsiteX12" fmla="*/ 111537 w 485724"/>
                  <a:gd name="connsiteY12" fmla="*/ 46087 h 225244"/>
                  <a:gd name="connsiteX13" fmla="*/ 78921 w 485724"/>
                  <a:gd name="connsiteY13" fmla="*/ 13192 h 225244"/>
                  <a:gd name="connsiteX14" fmla="*/ 28743 w 485724"/>
                  <a:gd name="connsiteY14" fmla="*/ 2934 h 225244"/>
                  <a:gd name="connsiteX15" fmla="*/ 13690 w 485724"/>
                  <a:gd name="connsiteY15" fmla="*/ 12914 h 225244"/>
                  <a:gd name="connsiteX16" fmla="*/ -25 w 485724"/>
                  <a:gd name="connsiteY16" fmla="*/ 45530 h 2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5724" h="225244">
                    <a:moveTo>
                      <a:pt x="-806" y="176383"/>
                    </a:moveTo>
                    <a:cubicBezTo>
                      <a:pt x="-934" y="201917"/>
                      <a:pt x="19678" y="222769"/>
                      <a:pt x="45235" y="222881"/>
                    </a:cubicBezTo>
                    <a:cubicBezTo>
                      <a:pt x="57507" y="222937"/>
                      <a:pt x="69304" y="218142"/>
                      <a:pt x="78029" y="209500"/>
                    </a:cubicBezTo>
                    <a:lnTo>
                      <a:pt x="110924" y="176940"/>
                    </a:lnTo>
                    <a:lnTo>
                      <a:pt x="143484" y="209835"/>
                    </a:lnTo>
                    <a:cubicBezTo>
                      <a:pt x="152120" y="218533"/>
                      <a:pt x="163845" y="223438"/>
                      <a:pt x="176100" y="223550"/>
                    </a:cubicBezTo>
                    <a:lnTo>
                      <a:pt x="437806" y="224777"/>
                    </a:lnTo>
                    <a:cubicBezTo>
                      <a:pt x="463341" y="224888"/>
                      <a:pt x="484126" y="204259"/>
                      <a:pt x="484249" y="178725"/>
                    </a:cubicBezTo>
                    <a:lnTo>
                      <a:pt x="484918" y="47871"/>
                    </a:lnTo>
                    <a:cubicBezTo>
                      <a:pt x="485013" y="22336"/>
                      <a:pt x="464400" y="1540"/>
                      <a:pt x="438866" y="1428"/>
                    </a:cubicBezTo>
                    <a:lnTo>
                      <a:pt x="177159" y="146"/>
                    </a:lnTo>
                    <a:cubicBezTo>
                      <a:pt x="164910" y="90"/>
                      <a:pt x="153146" y="4941"/>
                      <a:pt x="144432" y="13527"/>
                    </a:cubicBezTo>
                    <a:lnTo>
                      <a:pt x="111537" y="46087"/>
                    </a:lnTo>
                    <a:lnTo>
                      <a:pt x="78921" y="13192"/>
                    </a:lnTo>
                    <a:cubicBezTo>
                      <a:pt x="65797" y="-21"/>
                      <a:pt x="46004" y="-4091"/>
                      <a:pt x="28743" y="2934"/>
                    </a:cubicBezTo>
                    <a:cubicBezTo>
                      <a:pt x="23112" y="5220"/>
                      <a:pt x="17989" y="8621"/>
                      <a:pt x="13690" y="12914"/>
                    </a:cubicBezTo>
                    <a:cubicBezTo>
                      <a:pt x="4959" y="21500"/>
                      <a:pt x="19" y="33263"/>
                      <a:pt x="-25" y="45530"/>
                    </a:cubicBezTo>
                    <a:close/>
                  </a:path>
                </a:pathLst>
              </a:custGeom>
              <a:solidFill>
                <a:schemeClr val="accent2"/>
              </a:solidFill>
              <a:ln w="5573" cap="flat">
                <a:noFill/>
                <a:prstDash val="solid"/>
                <a:miter/>
              </a:ln>
            </p:spPr>
            <p:txBody>
              <a:bodyPr rtlCol="0" anchor="ctr"/>
              <a:lstStyle/>
              <a:p>
                <a:endParaRPr lang="en-GB"/>
              </a:p>
            </p:txBody>
          </p:sp>
        </p:grpSp>
        <p:grpSp>
          <p:nvGrpSpPr>
            <p:cNvPr id="106" name="Group 105">
              <a:extLst>
                <a:ext uri="{FF2B5EF4-FFF2-40B4-BE49-F238E27FC236}">
                  <a16:creationId xmlns:a16="http://schemas.microsoft.com/office/drawing/2014/main" id="{7BF449A1-D5CD-24B7-7654-166378883C8D}"/>
                </a:ext>
              </a:extLst>
            </p:cNvPr>
            <p:cNvGrpSpPr/>
            <p:nvPr/>
          </p:nvGrpSpPr>
          <p:grpSpPr>
            <a:xfrm>
              <a:off x="5088160" y="2252854"/>
              <a:ext cx="4554050" cy="4023387"/>
              <a:chOff x="5088160" y="2252854"/>
              <a:chExt cx="4554050" cy="4023387"/>
            </a:xfrm>
          </p:grpSpPr>
          <p:sp>
            <p:nvSpPr>
              <p:cNvPr id="107" name="Graphic 6">
                <a:extLst>
                  <a:ext uri="{FF2B5EF4-FFF2-40B4-BE49-F238E27FC236}">
                    <a16:creationId xmlns:a16="http://schemas.microsoft.com/office/drawing/2014/main" id="{ACBB701D-9C4A-0A5F-B37E-BE186E16DB1A}"/>
                  </a:ext>
                </a:extLst>
              </p:cNvPr>
              <p:cNvSpPr/>
              <p:nvPr/>
            </p:nvSpPr>
            <p:spPr>
              <a:xfrm>
                <a:off x="6175301" y="5778799"/>
                <a:ext cx="68023" cy="497392"/>
              </a:xfrm>
              <a:custGeom>
                <a:avLst/>
                <a:gdLst>
                  <a:gd name="connsiteX0" fmla="*/ 7272 w 68023"/>
                  <a:gd name="connsiteY0" fmla="*/ 496920 h 497392"/>
                  <a:gd name="connsiteX1" fmla="*/ 6603 w 68023"/>
                  <a:gd name="connsiteY1" fmla="*/ 496920 h 497392"/>
                  <a:gd name="connsiteX2" fmla="*/ -756 w 68023"/>
                  <a:gd name="connsiteY2" fmla="*/ 487776 h 497392"/>
                  <a:gd name="connsiteX3" fmla="*/ -756 w 68023"/>
                  <a:gd name="connsiteY3" fmla="*/ 487664 h 497392"/>
                  <a:gd name="connsiteX4" fmla="*/ 47582 w 68023"/>
                  <a:gd name="connsiteY4" fmla="*/ 66894 h 497392"/>
                  <a:gd name="connsiteX5" fmla="*/ 50481 w 68023"/>
                  <a:gd name="connsiteY5" fmla="*/ 7516 h 497392"/>
                  <a:gd name="connsiteX6" fmla="*/ 59290 w 68023"/>
                  <a:gd name="connsiteY6" fmla="*/ -457 h 497392"/>
                  <a:gd name="connsiteX7" fmla="*/ 67207 w 68023"/>
                  <a:gd name="connsiteY7" fmla="*/ 8353 h 497392"/>
                  <a:gd name="connsiteX8" fmla="*/ 64308 w 68023"/>
                  <a:gd name="connsiteY8" fmla="*/ 68287 h 497392"/>
                  <a:gd name="connsiteX9" fmla="*/ 15914 w 68023"/>
                  <a:gd name="connsiteY9" fmla="*/ 489560 h 497392"/>
                  <a:gd name="connsiteX10" fmla="*/ 7272 w 68023"/>
                  <a:gd name="connsiteY10" fmla="*/ 496920 h 49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23" h="497392">
                    <a:moveTo>
                      <a:pt x="7272" y="496920"/>
                    </a:moveTo>
                    <a:lnTo>
                      <a:pt x="6603" y="496920"/>
                    </a:lnTo>
                    <a:cubicBezTo>
                      <a:pt x="2032" y="496417"/>
                      <a:pt x="-1258" y="492347"/>
                      <a:pt x="-756" y="487776"/>
                    </a:cubicBezTo>
                    <a:cubicBezTo>
                      <a:pt x="-756" y="487720"/>
                      <a:pt x="-756" y="487720"/>
                      <a:pt x="-756" y="487664"/>
                    </a:cubicBezTo>
                    <a:lnTo>
                      <a:pt x="47582" y="66894"/>
                    </a:lnTo>
                    <a:lnTo>
                      <a:pt x="50481" y="7516"/>
                    </a:lnTo>
                    <a:cubicBezTo>
                      <a:pt x="50704" y="2888"/>
                      <a:pt x="54663" y="-679"/>
                      <a:pt x="59290" y="-457"/>
                    </a:cubicBezTo>
                    <a:cubicBezTo>
                      <a:pt x="63862" y="-178"/>
                      <a:pt x="67430" y="3725"/>
                      <a:pt x="67207" y="8353"/>
                    </a:cubicBezTo>
                    <a:lnTo>
                      <a:pt x="64308" y="68287"/>
                    </a:lnTo>
                    <a:lnTo>
                      <a:pt x="15914" y="489560"/>
                    </a:lnTo>
                    <a:cubicBezTo>
                      <a:pt x="15413" y="493909"/>
                      <a:pt x="11621" y="497086"/>
                      <a:pt x="7272" y="496920"/>
                    </a:cubicBezTo>
                    <a:close/>
                  </a:path>
                </a:pathLst>
              </a:custGeom>
              <a:solidFill>
                <a:srgbClr val="30373B"/>
              </a:solidFill>
              <a:ln w="5573" cap="flat">
                <a:noFill/>
                <a:prstDash val="solid"/>
                <a:miter/>
              </a:ln>
            </p:spPr>
            <p:txBody>
              <a:bodyPr rtlCol="0" anchor="ctr"/>
              <a:lstStyle/>
              <a:p>
                <a:endParaRPr lang="en-GB"/>
              </a:p>
            </p:txBody>
          </p:sp>
          <p:sp>
            <p:nvSpPr>
              <p:cNvPr id="108" name="Graphic 6">
                <a:extLst>
                  <a:ext uri="{FF2B5EF4-FFF2-40B4-BE49-F238E27FC236}">
                    <a16:creationId xmlns:a16="http://schemas.microsoft.com/office/drawing/2014/main" id="{B2317B86-2716-6BFF-3571-8135CD4F2156}"/>
                  </a:ext>
                </a:extLst>
              </p:cNvPr>
              <p:cNvSpPr/>
              <p:nvPr/>
            </p:nvSpPr>
            <p:spPr>
              <a:xfrm>
                <a:off x="6174031" y="5582446"/>
                <a:ext cx="309926" cy="192429"/>
              </a:xfrm>
              <a:custGeom>
                <a:avLst/>
                <a:gdLst>
                  <a:gd name="connsiteX0" fmla="*/ 279336 w 309926"/>
                  <a:gd name="connsiteY0" fmla="*/ 191938 h 192429"/>
                  <a:gd name="connsiteX1" fmla="*/ 205241 w 309926"/>
                  <a:gd name="connsiteY1" fmla="*/ 166738 h 192429"/>
                  <a:gd name="connsiteX2" fmla="*/ 130363 w 309926"/>
                  <a:gd name="connsiteY2" fmla="*/ 136241 h 192429"/>
                  <a:gd name="connsiteX3" fmla="*/ 125401 w 309926"/>
                  <a:gd name="connsiteY3" fmla="*/ 125480 h 192429"/>
                  <a:gd name="connsiteX4" fmla="*/ 135549 w 309926"/>
                  <a:gd name="connsiteY4" fmla="*/ 120351 h 192429"/>
                  <a:gd name="connsiteX5" fmla="*/ 212098 w 309926"/>
                  <a:gd name="connsiteY5" fmla="*/ 151461 h 192429"/>
                  <a:gd name="connsiteX6" fmla="*/ 287365 w 309926"/>
                  <a:gd name="connsiteY6" fmla="*/ 172982 h 192429"/>
                  <a:gd name="connsiteX7" fmla="*/ 288424 w 309926"/>
                  <a:gd name="connsiteY7" fmla="*/ 122804 h 192429"/>
                  <a:gd name="connsiteX8" fmla="*/ 284912 w 309926"/>
                  <a:gd name="connsiteY8" fmla="*/ 105576 h 192429"/>
                  <a:gd name="connsiteX9" fmla="*/ 207192 w 309926"/>
                  <a:gd name="connsiteY9" fmla="*/ 16371 h 192429"/>
                  <a:gd name="connsiteX10" fmla="*/ 118878 w 309926"/>
                  <a:gd name="connsiteY10" fmla="*/ 16371 h 192429"/>
                  <a:gd name="connsiteX11" fmla="*/ 24599 w 309926"/>
                  <a:gd name="connsiteY11" fmla="*/ 82049 h 192429"/>
                  <a:gd name="connsiteX12" fmla="*/ 22146 w 309926"/>
                  <a:gd name="connsiteY12" fmla="*/ 164006 h 192429"/>
                  <a:gd name="connsiteX13" fmla="*/ 131256 w 309926"/>
                  <a:gd name="connsiteY13" fmla="*/ 37055 h 192429"/>
                  <a:gd name="connsiteX14" fmla="*/ 142406 w 309926"/>
                  <a:gd name="connsiteY14" fmla="*/ 33543 h 192429"/>
                  <a:gd name="connsiteX15" fmla="*/ 145919 w 309926"/>
                  <a:gd name="connsiteY15" fmla="*/ 44693 h 192429"/>
                  <a:gd name="connsiteX16" fmla="*/ 145919 w 309926"/>
                  <a:gd name="connsiteY16" fmla="*/ 44693 h 192429"/>
                  <a:gd name="connsiteX17" fmla="*/ 80687 w 309926"/>
                  <a:gd name="connsiteY17" fmla="*/ 141370 h 192429"/>
                  <a:gd name="connsiteX18" fmla="*/ 16236 w 309926"/>
                  <a:gd name="connsiteY18" fmla="*/ 179617 h 192429"/>
                  <a:gd name="connsiteX19" fmla="*/ 8208 w 309926"/>
                  <a:gd name="connsiteY19" fmla="*/ 78201 h 192429"/>
                  <a:gd name="connsiteX20" fmla="*/ 118767 w 309926"/>
                  <a:gd name="connsiteY20" fmla="*/ -467 h 192429"/>
                  <a:gd name="connsiteX21" fmla="*/ 207080 w 309926"/>
                  <a:gd name="connsiteY21" fmla="*/ -467 h 192429"/>
                  <a:gd name="connsiteX22" fmla="*/ 301192 w 309926"/>
                  <a:gd name="connsiteY22" fmla="*/ 102343 h 192429"/>
                  <a:gd name="connsiteX23" fmla="*/ 304704 w 309926"/>
                  <a:gd name="connsiteY23" fmla="*/ 119459 h 192429"/>
                  <a:gd name="connsiteX24" fmla="*/ 297735 w 309926"/>
                  <a:gd name="connsiteY24" fmla="*/ 186028 h 192429"/>
                  <a:gd name="connsiteX25" fmla="*/ 279336 w 309926"/>
                  <a:gd name="connsiteY25" fmla="*/ 191938 h 19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9926" h="192429">
                    <a:moveTo>
                      <a:pt x="279336" y="191938"/>
                    </a:moveTo>
                    <a:cubicBezTo>
                      <a:pt x="261161" y="191938"/>
                      <a:pt x="236295" y="180788"/>
                      <a:pt x="205241" y="166738"/>
                    </a:cubicBezTo>
                    <a:cubicBezTo>
                      <a:pt x="180820" y="155253"/>
                      <a:pt x="155843" y="145049"/>
                      <a:pt x="130363" y="136241"/>
                    </a:cubicBezTo>
                    <a:cubicBezTo>
                      <a:pt x="126014" y="134624"/>
                      <a:pt x="123785" y="129829"/>
                      <a:pt x="125401" y="125480"/>
                    </a:cubicBezTo>
                    <a:cubicBezTo>
                      <a:pt x="126907" y="121410"/>
                      <a:pt x="131367" y="119124"/>
                      <a:pt x="135549" y="120351"/>
                    </a:cubicBezTo>
                    <a:cubicBezTo>
                      <a:pt x="161585" y="129327"/>
                      <a:pt x="187176" y="139753"/>
                      <a:pt x="212098" y="151461"/>
                    </a:cubicBezTo>
                    <a:cubicBezTo>
                      <a:pt x="245550" y="166626"/>
                      <a:pt x="277497" y="180955"/>
                      <a:pt x="287365" y="172982"/>
                    </a:cubicBezTo>
                    <a:cubicBezTo>
                      <a:pt x="291045" y="170083"/>
                      <a:pt x="296062" y="159601"/>
                      <a:pt x="288424" y="122804"/>
                    </a:cubicBezTo>
                    <a:lnTo>
                      <a:pt x="284912" y="105576"/>
                    </a:lnTo>
                    <a:cubicBezTo>
                      <a:pt x="272256" y="42408"/>
                      <a:pt x="267015" y="16371"/>
                      <a:pt x="207192" y="16371"/>
                    </a:cubicBezTo>
                    <a:lnTo>
                      <a:pt x="118878" y="16371"/>
                    </a:lnTo>
                    <a:cubicBezTo>
                      <a:pt x="69927" y="16371"/>
                      <a:pt x="33854" y="41571"/>
                      <a:pt x="24599" y="82049"/>
                    </a:cubicBezTo>
                    <a:cubicBezTo>
                      <a:pt x="7371" y="157650"/>
                      <a:pt x="21533" y="163783"/>
                      <a:pt x="22146" y="164006"/>
                    </a:cubicBezTo>
                    <a:cubicBezTo>
                      <a:pt x="36252" y="169191"/>
                      <a:pt x="89385" y="117005"/>
                      <a:pt x="131256" y="37055"/>
                    </a:cubicBezTo>
                    <a:cubicBezTo>
                      <a:pt x="133374" y="33041"/>
                      <a:pt x="138336" y="31480"/>
                      <a:pt x="142406" y="33543"/>
                    </a:cubicBezTo>
                    <a:cubicBezTo>
                      <a:pt x="146476" y="35661"/>
                      <a:pt x="148037" y="40623"/>
                      <a:pt x="145919" y="44693"/>
                    </a:cubicBezTo>
                    <a:cubicBezTo>
                      <a:pt x="145919" y="44693"/>
                      <a:pt x="145919" y="44693"/>
                      <a:pt x="145919" y="44693"/>
                    </a:cubicBezTo>
                    <a:cubicBezTo>
                      <a:pt x="127966" y="79317"/>
                      <a:pt x="106055" y="111765"/>
                      <a:pt x="80687" y="141370"/>
                    </a:cubicBezTo>
                    <a:cubicBezTo>
                      <a:pt x="53257" y="172369"/>
                      <a:pt x="31569" y="185248"/>
                      <a:pt x="16236" y="179617"/>
                    </a:cubicBezTo>
                    <a:cubicBezTo>
                      <a:pt x="-3389" y="172369"/>
                      <a:pt x="-6065" y="140143"/>
                      <a:pt x="8208" y="78201"/>
                    </a:cubicBezTo>
                    <a:cubicBezTo>
                      <a:pt x="19359" y="29696"/>
                      <a:pt x="61620" y="-467"/>
                      <a:pt x="118767" y="-467"/>
                    </a:cubicBezTo>
                    <a:lnTo>
                      <a:pt x="207080" y="-467"/>
                    </a:lnTo>
                    <a:cubicBezTo>
                      <a:pt x="280619" y="-467"/>
                      <a:pt x="288815" y="40456"/>
                      <a:pt x="301192" y="102343"/>
                    </a:cubicBezTo>
                    <a:cubicBezTo>
                      <a:pt x="302307" y="107918"/>
                      <a:pt x="303478" y="113494"/>
                      <a:pt x="304704" y="119459"/>
                    </a:cubicBezTo>
                    <a:cubicBezTo>
                      <a:pt x="312231" y="155643"/>
                      <a:pt x="310280" y="176160"/>
                      <a:pt x="297735" y="186028"/>
                    </a:cubicBezTo>
                    <a:cubicBezTo>
                      <a:pt x="292495" y="190099"/>
                      <a:pt x="285971" y="192217"/>
                      <a:pt x="279336" y="191938"/>
                    </a:cubicBezTo>
                    <a:close/>
                  </a:path>
                </a:pathLst>
              </a:custGeom>
              <a:solidFill>
                <a:srgbClr val="30373B"/>
              </a:solidFill>
              <a:ln w="5573" cap="flat">
                <a:noFill/>
                <a:prstDash val="solid"/>
                <a:miter/>
              </a:ln>
            </p:spPr>
            <p:txBody>
              <a:bodyPr rtlCol="0" anchor="ctr"/>
              <a:lstStyle/>
              <a:p>
                <a:endParaRPr lang="en-GB"/>
              </a:p>
            </p:txBody>
          </p:sp>
          <p:sp>
            <p:nvSpPr>
              <p:cNvPr id="109" name="Graphic 6">
                <a:extLst>
                  <a:ext uri="{FF2B5EF4-FFF2-40B4-BE49-F238E27FC236}">
                    <a16:creationId xmlns:a16="http://schemas.microsoft.com/office/drawing/2014/main" id="{FE6EB57C-8782-8224-C270-1279A9462BCA}"/>
                  </a:ext>
                </a:extLst>
              </p:cNvPr>
              <p:cNvSpPr/>
              <p:nvPr/>
            </p:nvSpPr>
            <p:spPr>
              <a:xfrm>
                <a:off x="6250492" y="5415353"/>
                <a:ext cx="143189" cy="183762"/>
              </a:xfrm>
              <a:custGeom>
                <a:avLst/>
                <a:gdLst>
                  <a:gd name="connsiteX0" fmla="*/ 70797 w 143189"/>
                  <a:gd name="connsiteY0" fmla="*/ 183296 h 183762"/>
                  <a:gd name="connsiteX1" fmla="*/ -289 w 143189"/>
                  <a:gd name="connsiteY1" fmla="*/ 92140 h 183762"/>
                  <a:gd name="connsiteX2" fmla="*/ 19503 w 143189"/>
                  <a:gd name="connsiteY2" fmla="*/ 20608 h 183762"/>
                  <a:gd name="connsiteX3" fmla="*/ 122089 w 143189"/>
                  <a:gd name="connsiteY3" fmla="*/ 20608 h 183762"/>
                  <a:gd name="connsiteX4" fmla="*/ 141882 w 143189"/>
                  <a:gd name="connsiteY4" fmla="*/ 92140 h 183762"/>
                  <a:gd name="connsiteX5" fmla="*/ 131289 w 143189"/>
                  <a:gd name="connsiteY5" fmla="*/ 134289 h 183762"/>
                  <a:gd name="connsiteX6" fmla="*/ 120194 w 143189"/>
                  <a:gd name="connsiteY6" fmla="*/ 138526 h 183762"/>
                  <a:gd name="connsiteX7" fmla="*/ 120138 w 143189"/>
                  <a:gd name="connsiteY7" fmla="*/ 138526 h 183762"/>
                  <a:gd name="connsiteX8" fmla="*/ 115845 w 143189"/>
                  <a:gd name="connsiteY8" fmla="*/ 127487 h 183762"/>
                  <a:gd name="connsiteX9" fmla="*/ 115901 w 143189"/>
                  <a:gd name="connsiteY9" fmla="*/ 127375 h 183762"/>
                  <a:gd name="connsiteX10" fmla="*/ 125100 w 143189"/>
                  <a:gd name="connsiteY10" fmla="*/ 90578 h 183762"/>
                  <a:gd name="connsiteX11" fmla="*/ 109656 w 143189"/>
                  <a:gd name="connsiteY11" fmla="*/ 31759 h 183762"/>
                  <a:gd name="connsiteX12" fmla="*/ 31602 w 143189"/>
                  <a:gd name="connsiteY12" fmla="*/ 31759 h 183762"/>
                  <a:gd name="connsiteX13" fmla="*/ 16102 w 143189"/>
                  <a:gd name="connsiteY13" fmla="*/ 90522 h 183762"/>
                  <a:gd name="connsiteX14" fmla="*/ 70517 w 143189"/>
                  <a:gd name="connsiteY14" fmla="*/ 166403 h 183762"/>
                  <a:gd name="connsiteX15" fmla="*/ 78880 w 143189"/>
                  <a:gd name="connsiteY15" fmla="*/ 174766 h 183762"/>
                  <a:gd name="connsiteX16" fmla="*/ 70517 w 143189"/>
                  <a:gd name="connsiteY16" fmla="*/ 183129 h 18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189" h="183762">
                    <a:moveTo>
                      <a:pt x="70797" y="183296"/>
                    </a:moveTo>
                    <a:cubicBezTo>
                      <a:pt x="31769" y="183296"/>
                      <a:pt x="3558" y="136017"/>
                      <a:pt x="-289" y="92140"/>
                    </a:cubicBezTo>
                    <a:cubicBezTo>
                      <a:pt x="-2854" y="62813"/>
                      <a:pt x="4171" y="37389"/>
                      <a:pt x="19503" y="20608"/>
                    </a:cubicBezTo>
                    <a:cubicBezTo>
                      <a:pt x="47938" y="-7492"/>
                      <a:pt x="93655" y="-7492"/>
                      <a:pt x="122089" y="20608"/>
                    </a:cubicBezTo>
                    <a:cubicBezTo>
                      <a:pt x="137422" y="37334"/>
                      <a:pt x="144391" y="62813"/>
                      <a:pt x="141882" y="92140"/>
                    </a:cubicBezTo>
                    <a:cubicBezTo>
                      <a:pt x="140712" y="106691"/>
                      <a:pt x="137143" y="120908"/>
                      <a:pt x="131289" y="134289"/>
                    </a:cubicBezTo>
                    <a:cubicBezTo>
                      <a:pt x="129393" y="138526"/>
                      <a:pt x="124431" y="140422"/>
                      <a:pt x="120194" y="138526"/>
                    </a:cubicBezTo>
                    <a:cubicBezTo>
                      <a:pt x="120138" y="138526"/>
                      <a:pt x="120138" y="138526"/>
                      <a:pt x="120138" y="138526"/>
                    </a:cubicBezTo>
                    <a:cubicBezTo>
                      <a:pt x="115901" y="136686"/>
                      <a:pt x="114005" y="131724"/>
                      <a:pt x="115845" y="127487"/>
                    </a:cubicBezTo>
                    <a:cubicBezTo>
                      <a:pt x="115845" y="127487"/>
                      <a:pt x="115901" y="127431"/>
                      <a:pt x="115901" y="127375"/>
                    </a:cubicBezTo>
                    <a:cubicBezTo>
                      <a:pt x="120975" y="115723"/>
                      <a:pt x="124097" y="103290"/>
                      <a:pt x="125100" y="90578"/>
                    </a:cubicBezTo>
                    <a:cubicBezTo>
                      <a:pt x="127275" y="65936"/>
                      <a:pt x="121755" y="45083"/>
                      <a:pt x="109656" y="31759"/>
                    </a:cubicBezTo>
                    <a:cubicBezTo>
                      <a:pt x="87857" y="10795"/>
                      <a:pt x="53401" y="10795"/>
                      <a:pt x="31602" y="31759"/>
                    </a:cubicBezTo>
                    <a:cubicBezTo>
                      <a:pt x="19448" y="45028"/>
                      <a:pt x="13928" y="65880"/>
                      <a:pt x="16102" y="90522"/>
                    </a:cubicBezTo>
                    <a:cubicBezTo>
                      <a:pt x="20451" y="140031"/>
                      <a:pt x="50502" y="166403"/>
                      <a:pt x="70517" y="166403"/>
                    </a:cubicBezTo>
                    <a:cubicBezTo>
                      <a:pt x="75145" y="166403"/>
                      <a:pt x="78880" y="170138"/>
                      <a:pt x="78880" y="174766"/>
                    </a:cubicBezTo>
                    <a:cubicBezTo>
                      <a:pt x="78880" y="179394"/>
                      <a:pt x="75145" y="183129"/>
                      <a:pt x="70517" y="183129"/>
                    </a:cubicBezTo>
                    <a:close/>
                  </a:path>
                </a:pathLst>
              </a:custGeom>
              <a:solidFill>
                <a:srgbClr val="30373B"/>
              </a:solidFill>
              <a:ln w="5573" cap="flat">
                <a:noFill/>
                <a:prstDash val="solid"/>
                <a:miter/>
              </a:ln>
            </p:spPr>
            <p:txBody>
              <a:bodyPr rtlCol="0" anchor="ctr"/>
              <a:lstStyle/>
              <a:p>
                <a:endParaRPr lang="en-GB"/>
              </a:p>
            </p:txBody>
          </p:sp>
          <p:sp>
            <p:nvSpPr>
              <p:cNvPr id="110" name="Graphic 6">
                <a:extLst>
                  <a:ext uri="{FF2B5EF4-FFF2-40B4-BE49-F238E27FC236}">
                    <a16:creationId xmlns:a16="http://schemas.microsoft.com/office/drawing/2014/main" id="{D01AE15E-6057-0C79-9475-AD84391C8A37}"/>
                  </a:ext>
                </a:extLst>
              </p:cNvPr>
              <p:cNvSpPr/>
              <p:nvPr/>
            </p:nvSpPr>
            <p:spPr>
              <a:xfrm>
                <a:off x="6373644" y="5800148"/>
                <a:ext cx="47022" cy="474589"/>
              </a:xfrm>
              <a:custGeom>
                <a:avLst/>
                <a:gdLst>
                  <a:gd name="connsiteX0" fmla="*/ 7579 w 47022"/>
                  <a:gd name="connsiteY0" fmla="*/ 474122 h 474589"/>
                  <a:gd name="connsiteX1" fmla="*/ 6966 w 47022"/>
                  <a:gd name="connsiteY1" fmla="*/ 474122 h 474589"/>
                  <a:gd name="connsiteX2" fmla="*/ -784 w 47022"/>
                  <a:gd name="connsiteY2" fmla="*/ 465145 h 474589"/>
                  <a:gd name="connsiteX3" fmla="*/ 29434 w 47022"/>
                  <a:gd name="connsiteY3" fmla="*/ 44820 h 474589"/>
                  <a:gd name="connsiteX4" fmla="*/ 27427 w 47022"/>
                  <a:gd name="connsiteY4" fmla="*/ 8358 h 474589"/>
                  <a:gd name="connsiteX5" fmla="*/ 35344 w 47022"/>
                  <a:gd name="connsiteY5" fmla="*/ -451 h 474589"/>
                  <a:gd name="connsiteX6" fmla="*/ 44153 w 47022"/>
                  <a:gd name="connsiteY6" fmla="*/ 7409 h 474589"/>
                  <a:gd name="connsiteX7" fmla="*/ 46216 w 47022"/>
                  <a:gd name="connsiteY7" fmla="*/ 44430 h 474589"/>
                  <a:gd name="connsiteX8" fmla="*/ 46216 w 47022"/>
                  <a:gd name="connsiteY8" fmla="*/ 45489 h 474589"/>
                  <a:gd name="connsiteX9" fmla="*/ 15998 w 47022"/>
                  <a:gd name="connsiteY9" fmla="*/ 466372 h 474589"/>
                  <a:gd name="connsiteX10" fmla="*/ 7579 w 47022"/>
                  <a:gd name="connsiteY10" fmla="*/ 474122 h 47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22" h="474589">
                    <a:moveTo>
                      <a:pt x="7579" y="474122"/>
                    </a:moveTo>
                    <a:lnTo>
                      <a:pt x="6966" y="474122"/>
                    </a:lnTo>
                    <a:cubicBezTo>
                      <a:pt x="2338" y="473787"/>
                      <a:pt x="-1119" y="469773"/>
                      <a:pt x="-784" y="465145"/>
                    </a:cubicBezTo>
                    <a:lnTo>
                      <a:pt x="29434" y="44820"/>
                    </a:lnTo>
                    <a:lnTo>
                      <a:pt x="27427" y="8358"/>
                    </a:lnTo>
                    <a:cubicBezTo>
                      <a:pt x="27148" y="3730"/>
                      <a:pt x="30717" y="-229"/>
                      <a:pt x="35344" y="-451"/>
                    </a:cubicBezTo>
                    <a:cubicBezTo>
                      <a:pt x="39916" y="-730"/>
                      <a:pt x="43874" y="2782"/>
                      <a:pt x="44153" y="7409"/>
                    </a:cubicBezTo>
                    <a:lnTo>
                      <a:pt x="46216" y="44430"/>
                    </a:lnTo>
                    <a:lnTo>
                      <a:pt x="46216" y="45489"/>
                    </a:lnTo>
                    <a:lnTo>
                      <a:pt x="15998" y="466372"/>
                    </a:lnTo>
                    <a:cubicBezTo>
                      <a:pt x="15663" y="470776"/>
                      <a:pt x="11984" y="474177"/>
                      <a:pt x="7579" y="474122"/>
                    </a:cubicBezTo>
                    <a:close/>
                  </a:path>
                </a:pathLst>
              </a:custGeom>
              <a:solidFill>
                <a:srgbClr val="30373B"/>
              </a:solidFill>
              <a:ln w="5573" cap="flat">
                <a:noFill/>
                <a:prstDash val="solid"/>
                <a:miter/>
              </a:ln>
            </p:spPr>
            <p:txBody>
              <a:bodyPr rtlCol="0" anchor="ctr"/>
              <a:lstStyle/>
              <a:p>
                <a:endParaRPr lang="en-GB"/>
              </a:p>
            </p:txBody>
          </p:sp>
          <p:sp>
            <p:nvSpPr>
              <p:cNvPr id="111" name="Graphic 6">
                <a:extLst>
                  <a:ext uri="{FF2B5EF4-FFF2-40B4-BE49-F238E27FC236}">
                    <a16:creationId xmlns:a16="http://schemas.microsoft.com/office/drawing/2014/main" id="{79EEC0F6-A6E2-A4D5-5CC6-7AF98AEAA14F}"/>
                  </a:ext>
                </a:extLst>
              </p:cNvPr>
              <p:cNvSpPr/>
              <p:nvPr/>
            </p:nvSpPr>
            <p:spPr>
              <a:xfrm>
                <a:off x="6228344" y="5918566"/>
                <a:ext cx="102565" cy="357662"/>
              </a:xfrm>
              <a:custGeom>
                <a:avLst/>
                <a:gdLst>
                  <a:gd name="connsiteX0" fmla="*/ 7530 w 102565"/>
                  <a:gd name="connsiteY0" fmla="*/ 357153 h 357662"/>
                  <a:gd name="connsiteX1" fmla="*/ 5467 w 102565"/>
                  <a:gd name="connsiteY1" fmla="*/ 357153 h 357662"/>
                  <a:gd name="connsiteX2" fmla="*/ -554 w 102565"/>
                  <a:gd name="connsiteY2" fmla="*/ 347006 h 357662"/>
                  <a:gd name="connsiteX3" fmla="*/ 84972 w 102565"/>
                  <a:gd name="connsiteY3" fmla="*/ 6910 h 357662"/>
                  <a:gd name="connsiteX4" fmla="*/ 94394 w 102565"/>
                  <a:gd name="connsiteY4" fmla="*/ -393 h 357662"/>
                  <a:gd name="connsiteX5" fmla="*/ 101698 w 102565"/>
                  <a:gd name="connsiteY5" fmla="*/ 8973 h 357662"/>
                  <a:gd name="connsiteX6" fmla="*/ 101698 w 102565"/>
                  <a:gd name="connsiteY6" fmla="*/ 348735 h 357662"/>
                  <a:gd name="connsiteX7" fmla="*/ 93335 w 102565"/>
                  <a:gd name="connsiteY7" fmla="*/ 357098 h 357662"/>
                  <a:gd name="connsiteX8" fmla="*/ 84972 w 102565"/>
                  <a:gd name="connsiteY8" fmla="*/ 348735 h 357662"/>
                  <a:gd name="connsiteX9" fmla="*/ 84972 w 102565"/>
                  <a:gd name="connsiteY9" fmla="*/ 76434 h 357662"/>
                  <a:gd name="connsiteX10" fmla="*/ 15893 w 102565"/>
                  <a:gd name="connsiteY10" fmla="*/ 350797 h 357662"/>
                  <a:gd name="connsiteX11" fmla="*/ 7530 w 102565"/>
                  <a:gd name="connsiteY11" fmla="*/ 357153 h 35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565" h="357662">
                    <a:moveTo>
                      <a:pt x="7530" y="357153"/>
                    </a:moveTo>
                    <a:cubicBezTo>
                      <a:pt x="6861" y="357209"/>
                      <a:pt x="6136" y="357209"/>
                      <a:pt x="5467" y="357153"/>
                    </a:cubicBezTo>
                    <a:cubicBezTo>
                      <a:pt x="1007" y="355982"/>
                      <a:pt x="-1669" y="351466"/>
                      <a:pt x="-554" y="347006"/>
                    </a:cubicBezTo>
                    <a:lnTo>
                      <a:pt x="84972" y="6910"/>
                    </a:lnTo>
                    <a:cubicBezTo>
                      <a:pt x="85530" y="2283"/>
                      <a:pt x="89767" y="-1006"/>
                      <a:pt x="94394" y="-393"/>
                    </a:cubicBezTo>
                    <a:cubicBezTo>
                      <a:pt x="98966" y="164"/>
                      <a:pt x="102256" y="4346"/>
                      <a:pt x="101698" y="8973"/>
                    </a:cubicBezTo>
                    <a:lnTo>
                      <a:pt x="101698" y="348735"/>
                    </a:lnTo>
                    <a:cubicBezTo>
                      <a:pt x="101698" y="353362"/>
                      <a:pt x="97963" y="357098"/>
                      <a:pt x="93335" y="357098"/>
                    </a:cubicBezTo>
                    <a:cubicBezTo>
                      <a:pt x="88707" y="357098"/>
                      <a:pt x="84972" y="353362"/>
                      <a:pt x="84972" y="348735"/>
                    </a:cubicBezTo>
                    <a:lnTo>
                      <a:pt x="84972" y="76434"/>
                    </a:lnTo>
                    <a:lnTo>
                      <a:pt x="15893" y="350797"/>
                    </a:lnTo>
                    <a:cubicBezTo>
                      <a:pt x="14946" y="354588"/>
                      <a:pt x="11433" y="357264"/>
                      <a:pt x="7530" y="357153"/>
                    </a:cubicBezTo>
                    <a:close/>
                  </a:path>
                </a:pathLst>
              </a:custGeom>
              <a:solidFill>
                <a:srgbClr val="30373B"/>
              </a:solidFill>
              <a:ln w="5573" cap="flat">
                <a:noFill/>
                <a:prstDash val="solid"/>
                <a:miter/>
              </a:ln>
            </p:spPr>
            <p:txBody>
              <a:bodyPr rtlCol="0" anchor="ctr"/>
              <a:lstStyle/>
              <a:p>
                <a:endParaRPr lang="en-GB"/>
              </a:p>
            </p:txBody>
          </p:sp>
          <p:sp>
            <p:nvSpPr>
              <p:cNvPr id="112" name="Graphic 6">
                <a:extLst>
                  <a:ext uri="{FF2B5EF4-FFF2-40B4-BE49-F238E27FC236}">
                    <a16:creationId xmlns:a16="http://schemas.microsoft.com/office/drawing/2014/main" id="{E0BC5D10-3188-E318-77FB-F20F0E4AABCE}"/>
                  </a:ext>
                </a:extLst>
              </p:cNvPr>
              <p:cNvSpPr/>
              <p:nvPr/>
            </p:nvSpPr>
            <p:spPr>
              <a:xfrm>
                <a:off x="9575903" y="5824226"/>
                <a:ext cx="45922" cy="439024"/>
              </a:xfrm>
              <a:custGeom>
                <a:avLst/>
                <a:gdLst>
                  <a:gd name="connsiteX0" fmla="*/ 7572 w 45922"/>
                  <a:gd name="connsiteY0" fmla="*/ 438557 h 439024"/>
                  <a:gd name="connsiteX1" fmla="*/ 6959 w 45922"/>
                  <a:gd name="connsiteY1" fmla="*/ 438557 h 439024"/>
                  <a:gd name="connsiteX2" fmla="*/ -791 w 45922"/>
                  <a:gd name="connsiteY2" fmla="*/ 429637 h 439024"/>
                  <a:gd name="connsiteX3" fmla="*/ 28368 w 45922"/>
                  <a:gd name="connsiteY3" fmla="*/ 7361 h 439024"/>
                  <a:gd name="connsiteX4" fmla="*/ 37288 w 45922"/>
                  <a:gd name="connsiteY4" fmla="*/ -445 h 439024"/>
                  <a:gd name="connsiteX5" fmla="*/ 45094 w 45922"/>
                  <a:gd name="connsiteY5" fmla="*/ 8476 h 439024"/>
                  <a:gd name="connsiteX6" fmla="*/ 15935 w 45922"/>
                  <a:gd name="connsiteY6" fmla="*/ 430752 h 439024"/>
                  <a:gd name="connsiteX7" fmla="*/ 7572 w 45922"/>
                  <a:gd name="connsiteY7" fmla="*/ 438557 h 43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22" h="439024">
                    <a:moveTo>
                      <a:pt x="7572" y="438557"/>
                    </a:moveTo>
                    <a:lnTo>
                      <a:pt x="6959" y="438557"/>
                    </a:lnTo>
                    <a:cubicBezTo>
                      <a:pt x="2387" y="438223"/>
                      <a:pt x="-1069" y="434209"/>
                      <a:pt x="-791" y="429637"/>
                    </a:cubicBezTo>
                    <a:lnTo>
                      <a:pt x="28368" y="7361"/>
                    </a:lnTo>
                    <a:cubicBezTo>
                      <a:pt x="28703" y="2734"/>
                      <a:pt x="32661" y="-779"/>
                      <a:pt x="37288" y="-445"/>
                    </a:cubicBezTo>
                    <a:cubicBezTo>
                      <a:pt x="41916" y="-110"/>
                      <a:pt x="45429" y="3848"/>
                      <a:pt x="45094" y="8476"/>
                    </a:cubicBezTo>
                    <a:lnTo>
                      <a:pt x="15935" y="430752"/>
                    </a:lnTo>
                    <a:cubicBezTo>
                      <a:pt x="15657" y="435157"/>
                      <a:pt x="11977" y="438613"/>
                      <a:pt x="7572" y="438557"/>
                    </a:cubicBezTo>
                    <a:close/>
                  </a:path>
                </a:pathLst>
              </a:custGeom>
              <a:solidFill>
                <a:srgbClr val="30373B"/>
              </a:solidFill>
              <a:ln w="5573" cap="flat">
                <a:noFill/>
                <a:prstDash val="solid"/>
                <a:miter/>
              </a:ln>
            </p:spPr>
            <p:txBody>
              <a:bodyPr rtlCol="0" anchor="ctr"/>
              <a:lstStyle/>
              <a:p>
                <a:endParaRPr lang="en-GB"/>
              </a:p>
            </p:txBody>
          </p:sp>
          <p:sp>
            <p:nvSpPr>
              <p:cNvPr id="113" name="Graphic 6">
                <a:extLst>
                  <a:ext uri="{FF2B5EF4-FFF2-40B4-BE49-F238E27FC236}">
                    <a16:creationId xmlns:a16="http://schemas.microsoft.com/office/drawing/2014/main" id="{17420BC4-BB95-08F8-FC59-07CCFDC8E078}"/>
                  </a:ext>
                </a:extLst>
              </p:cNvPr>
              <p:cNvSpPr/>
              <p:nvPr/>
            </p:nvSpPr>
            <p:spPr>
              <a:xfrm>
                <a:off x="9428242" y="5557517"/>
                <a:ext cx="213968" cy="283462"/>
              </a:xfrm>
              <a:custGeom>
                <a:avLst/>
                <a:gdLst>
                  <a:gd name="connsiteX0" fmla="*/ 43114 w 213968"/>
                  <a:gd name="connsiteY0" fmla="*/ 282990 h 283462"/>
                  <a:gd name="connsiteX1" fmla="*/ 34416 w 213968"/>
                  <a:gd name="connsiteY1" fmla="*/ 274962 h 283462"/>
                  <a:gd name="connsiteX2" fmla="*/ 42500 w 213968"/>
                  <a:gd name="connsiteY2" fmla="*/ 266264 h 283462"/>
                  <a:gd name="connsiteX3" fmla="*/ 120555 w 213968"/>
                  <a:gd name="connsiteY3" fmla="*/ 243015 h 283462"/>
                  <a:gd name="connsiteX4" fmla="*/ 196435 w 213968"/>
                  <a:gd name="connsiteY4" fmla="*/ 118295 h 283462"/>
                  <a:gd name="connsiteX5" fmla="*/ 122785 w 213968"/>
                  <a:gd name="connsiteY5" fmla="*/ 16266 h 283462"/>
                  <a:gd name="connsiteX6" fmla="*/ 47852 w 213968"/>
                  <a:gd name="connsiteY6" fmla="*/ 16266 h 283462"/>
                  <a:gd name="connsiteX7" fmla="*/ 21649 w 213968"/>
                  <a:gd name="connsiteY7" fmla="*/ 25466 h 283462"/>
                  <a:gd name="connsiteX8" fmla="*/ 2302 w 213968"/>
                  <a:gd name="connsiteY8" fmla="*/ 20949 h 283462"/>
                  <a:gd name="connsiteX9" fmla="*/ 47852 w 213968"/>
                  <a:gd name="connsiteY9" fmla="*/ -460 h 283462"/>
                  <a:gd name="connsiteX10" fmla="*/ 122785 w 213968"/>
                  <a:gd name="connsiteY10" fmla="*/ -460 h 283462"/>
                  <a:gd name="connsiteX11" fmla="*/ 213161 w 213968"/>
                  <a:gd name="connsiteY11" fmla="*/ 118295 h 283462"/>
                  <a:gd name="connsiteX12" fmla="*/ 43783 w 213968"/>
                  <a:gd name="connsiteY12" fmla="*/ 282935 h 28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968" h="283462">
                    <a:moveTo>
                      <a:pt x="43114" y="282990"/>
                    </a:moveTo>
                    <a:cubicBezTo>
                      <a:pt x="38486" y="283158"/>
                      <a:pt x="34639" y="279534"/>
                      <a:pt x="34416" y="274962"/>
                    </a:cubicBezTo>
                    <a:cubicBezTo>
                      <a:pt x="34249" y="270334"/>
                      <a:pt x="37873" y="266432"/>
                      <a:pt x="42500" y="266264"/>
                    </a:cubicBezTo>
                    <a:cubicBezTo>
                      <a:pt x="69708" y="263254"/>
                      <a:pt x="96135" y="255393"/>
                      <a:pt x="120555" y="243015"/>
                    </a:cubicBezTo>
                    <a:cubicBezTo>
                      <a:pt x="170733" y="216644"/>
                      <a:pt x="196435" y="174717"/>
                      <a:pt x="196435" y="118295"/>
                    </a:cubicBezTo>
                    <a:cubicBezTo>
                      <a:pt x="196435" y="26357"/>
                      <a:pt x="172852" y="16266"/>
                      <a:pt x="122785" y="16266"/>
                    </a:cubicBezTo>
                    <a:lnTo>
                      <a:pt x="47852" y="16266"/>
                    </a:lnTo>
                    <a:cubicBezTo>
                      <a:pt x="38319" y="16099"/>
                      <a:pt x="29008" y="19388"/>
                      <a:pt x="21649" y="25466"/>
                    </a:cubicBezTo>
                    <a:cubicBezTo>
                      <a:pt x="9438" y="35389"/>
                      <a:pt x="-7957" y="32769"/>
                      <a:pt x="2302" y="20949"/>
                    </a:cubicBezTo>
                    <a:cubicBezTo>
                      <a:pt x="13397" y="7179"/>
                      <a:pt x="30179" y="-739"/>
                      <a:pt x="47852" y="-460"/>
                    </a:cubicBezTo>
                    <a:lnTo>
                      <a:pt x="122785" y="-460"/>
                    </a:lnTo>
                    <a:cubicBezTo>
                      <a:pt x="182720" y="-460"/>
                      <a:pt x="213161" y="17939"/>
                      <a:pt x="213161" y="118295"/>
                    </a:cubicBezTo>
                    <a:cubicBezTo>
                      <a:pt x="213161" y="268829"/>
                      <a:pt x="45455" y="282823"/>
                      <a:pt x="43783" y="282935"/>
                    </a:cubicBezTo>
                    <a:close/>
                  </a:path>
                </a:pathLst>
              </a:custGeom>
              <a:solidFill>
                <a:srgbClr val="30373B"/>
              </a:solidFill>
              <a:ln w="5573" cap="flat">
                <a:noFill/>
                <a:prstDash val="solid"/>
                <a:miter/>
              </a:ln>
            </p:spPr>
            <p:txBody>
              <a:bodyPr rtlCol="0" anchor="ctr"/>
              <a:lstStyle/>
              <a:p>
                <a:endParaRPr lang="en-GB"/>
              </a:p>
            </p:txBody>
          </p:sp>
          <p:sp>
            <p:nvSpPr>
              <p:cNvPr id="114" name="Graphic 6">
                <a:extLst>
                  <a:ext uri="{FF2B5EF4-FFF2-40B4-BE49-F238E27FC236}">
                    <a16:creationId xmlns:a16="http://schemas.microsoft.com/office/drawing/2014/main" id="{1A3A39E6-C1AC-3D63-B5C1-6D8D029B578C}"/>
                  </a:ext>
                </a:extLst>
              </p:cNvPr>
              <p:cNvSpPr/>
              <p:nvPr/>
            </p:nvSpPr>
            <p:spPr>
              <a:xfrm>
                <a:off x="9450556" y="5387964"/>
                <a:ext cx="145184" cy="186286"/>
              </a:xfrm>
              <a:custGeom>
                <a:avLst/>
                <a:gdLst>
                  <a:gd name="connsiteX0" fmla="*/ 71758 w 145184"/>
                  <a:gd name="connsiteY0" fmla="*/ 185820 h 186286"/>
                  <a:gd name="connsiteX1" fmla="*/ -276 w 145184"/>
                  <a:gd name="connsiteY1" fmla="*/ 93380 h 186286"/>
                  <a:gd name="connsiteX2" fmla="*/ 19795 w 145184"/>
                  <a:gd name="connsiteY2" fmla="*/ 20901 h 186286"/>
                  <a:gd name="connsiteX3" fmla="*/ 123776 w 145184"/>
                  <a:gd name="connsiteY3" fmla="*/ 20901 h 186286"/>
                  <a:gd name="connsiteX4" fmla="*/ 143847 w 145184"/>
                  <a:gd name="connsiteY4" fmla="*/ 93380 h 186286"/>
                  <a:gd name="connsiteX5" fmla="*/ 133087 w 145184"/>
                  <a:gd name="connsiteY5" fmla="*/ 136087 h 186286"/>
                  <a:gd name="connsiteX6" fmla="*/ 121936 w 145184"/>
                  <a:gd name="connsiteY6" fmla="*/ 140101 h 186286"/>
                  <a:gd name="connsiteX7" fmla="*/ 117810 w 145184"/>
                  <a:gd name="connsiteY7" fmla="*/ 129286 h 186286"/>
                  <a:gd name="connsiteX8" fmla="*/ 127177 w 145184"/>
                  <a:gd name="connsiteY8" fmla="*/ 91931 h 186286"/>
                  <a:gd name="connsiteX9" fmla="*/ 111399 w 145184"/>
                  <a:gd name="connsiteY9" fmla="*/ 32107 h 186286"/>
                  <a:gd name="connsiteX10" fmla="*/ 32173 w 145184"/>
                  <a:gd name="connsiteY10" fmla="*/ 32107 h 186286"/>
                  <a:gd name="connsiteX11" fmla="*/ 16395 w 145184"/>
                  <a:gd name="connsiteY11" fmla="*/ 91931 h 186286"/>
                  <a:gd name="connsiteX12" fmla="*/ 71758 w 145184"/>
                  <a:gd name="connsiteY12" fmla="*/ 169094 h 186286"/>
                  <a:gd name="connsiteX13" fmla="*/ 80121 w 145184"/>
                  <a:gd name="connsiteY13" fmla="*/ 177457 h 186286"/>
                  <a:gd name="connsiteX14" fmla="*/ 71758 w 145184"/>
                  <a:gd name="connsiteY14" fmla="*/ 185820 h 18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184" h="186286">
                    <a:moveTo>
                      <a:pt x="71758" y="185820"/>
                    </a:moveTo>
                    <a:cubicBezTo>
                      <a:pt x="32340" y="185820"/>
                      <a:pt x="3683" y="137872"/>
                      <a:pt x="-276" y="93380"/>
                    </a:cubicBezTo>
                    <a:cubicBezTo>
                      <a:pt x="-2896" y="63608"/>
                      <a:pt x="4241" y="37627"/>
                      <a:pt x="19795" y="20901"/>
                    </a:cubicBezTo>
                    <a:cubicBezTo>
                      <a:pt x="48620" y="-7589"/>
                      <a:pt x="94952" y="-7589"/>
                      <a:pt x="123776" y="20901"/>
                    </a:cubicBezTo>
                    <a:cubicBezTo>
                      <a:pt x="139331" y="37627"/>
                      <a:pt x="146468" y="63664"/>
                      <a:pt x="143847" y="93380"/>
                    </a:cubicBezTo>
                    <a:cubicBezTo>
                      <a:pt x="142620" y="108099"/>
                      <a:pt x="138996" y="122540"/>
                      <a:pt x="133087" y="136087"/>
                    </a:cubicBezTo>
                    <a:cubicBezTo>
                      <a:pt x="131136" y="140269"/>
                      <a:pt x="126118" y="142053"/>
                      <a:pt x="121936" y="140101"/>
                    </a:cubicBezTo>
                    <a:cubicBezTo>
                      <a:pt x="117922" y="138206"/>
                      <a:pt x="116082" y="133411"/>
                      <a:pt x="117810" y="129286"/>
                    </a:cubicBezTo>
                    <a:cubicBezTo>
                      <a:pt x="122995" y="117466"/>
                      <a:pt x="126173" y="104810"/>
                      <a:pt x="127177" y="91931"/>
                    </a:cubicBezTo>
                    <a:cubicBezTo>
                      <a:pt x="129407" y="66842"/>
                      <a:pt x="123776" y="45600"/>
                      <a:pt x="111399" y="32107"/>
                    </a:cubicBezTo>
                    <a:cubicBezTo>
                      <a:pt x="89265" y="10921"/>
                      <a:pt x="54307" y="10921"/>
                      <a:pt x="32173" y="32107"/>
                    </a:cubicBezTo>
                    <a:cubicBezTo>
                      <a:pt x="19795" y="45600"/>
                      <a:pt x="14165" y="66842"/>
                      <a:pt x="16395" y="91931"/>
                    </a:cubicBezTo>
                    <a:cubicBezTo>
                      <a:pt x="20855" y="142109"/>
                      <a:pt x="51408" y="169094"/>
                      <a:pt x="71758" y="169094"/>
                    </a:cubicBezTo>
                    <a:cubicBezTo>
                      <a:pt x="76385" y="169094"/>
                      <a:pt x="80121" y="172829"/>
                      <a:pt x="80121" y="177457"/>
                    </a:cubicBezTo>
                    <a:cubicBezTo>
                      <a:pt x="80121" y="182084"/>
                      <a:pt x="76385" y="185820"/>
                      <a:pt x="71758" y="185820"/>
                    </a:cubicBezTo>
                    <a:close/>
                  </a:path>
                </a:pathLst>
              </a:custGeom>
              <a:solidFill>
                <a:srgbClr val="30373B"/>
              </a:solidFill>
              <a:ln w="5573" cap="flat">
                <a:noFill/>
                <a:prstDash val="solid"/>
                <a:miter/>
              </a:ln>
            </p:spPr>
            <p:txBody>
              <a:bodyPr rtlCol="0" anchor="ctr"/>
              <a:lstStyle/>
              <a:p>
                <a:endParaRPr lang="en-GB"/>
              </a:p>
            </p:txBody>
          </p:sp>
          <p:sp>
            <p:nvSpPr>
              <p:cNvPr id="115" name="Graphic 6">
                <a:extLst>
                  <a:ext uri="{FF2B5EF4-FFF2-40B4-BE49-F238E27FC236}">
                    <a16:creationId xmlns:a16="http://schemas.microsoft.com/office/drawing/2014/main" id="{9B3C3A4D-132B-B3CF-0435-4C3EE90AA03A}"/>
                  </a:ext>
                </a:extLst>
              </p:cNvPr>
              <p:cNvSpPr/>
              <p:nvPr/>
            </p:nvSpPr>
            <p:spPr>
              <a:xfrm>
                <a:off x="9422988" y="5807690"/>
                <a:ext cx="47356" cy="459909"/>
              </a:xfrm>
              <a:custGeom>
                <a:avLst/>
                <a:gdLst>
                  <a:gd name="connsiteX0" fmla="*/ 38221 w 47356"/>
                  <a:gd name="connsiteY0" fmla="*/ 459387 h 459909"/>
                  <a:gd name="connsiteX1" fmla="*/ 29858 w 47356"/>
                  <a:gd name="connsiteY1" fmla="*/ 451582 h 459909"/>
                  <a:gd name="connsiteX2" fmla="*/ -807 w 47356"/>
                  <a:gd name="connsiteY2" fmla="*/ 7283 h 459909"/>
                  <a:gd name="connsiteX3" fmla="*/ -807 w 47356"/>
                  <a:gd name="connsiteY3" fmla="*/ 6335 h 459909"/>
                  <a:gd name="connsiteX4" fmla="*/ -807 w 47356"/>
                  <a:gd name="connsiteY4" fmla="*/ 760 h 459909"/>
                  <a:gd name="connsiteX5" fmla="*/ 15919 w 47356"/>
                  <a:gd name="connsiteY5" fmla="*/ -467 h 459909"/>
                  <a:gd name="connsiteX6" fmla="*/ 15919 w 47356"/>
                  <a:gd name="connsiteY6" fmla="*/ 6670 h 459909"/>
                  <a:gd name="connsiteX7" fmla="*/ 46528 w 47356"/>
                  <a:gd name="connsiteY7" fmla="*/ 450523 h 459909"/>
                  <a:gd name="connsiteX8" fmla="*/ 38778 w 47356"/>
                  <a:gd name="connsiteY8" fmla="*/ 459443 h 45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56" h="459909">
                    <a:moveTo>
                      <a:pt x="38221" y="459387"/>
                    </a:moveTo>
                    <a:cubicBezTo>
                      <a:pt x="33816" y="459387"/>
                      <a:pt x="30192" y="455986"/>
                      <a:pt x="29858" y="451582"/>
                    </a:cubicBezTo>
                    <a:lnTo>
                      <a:pt x="-807" y="7283"/>
                    </a:lnTo>
                    <a:lnTo>
                      <a:pt x="-807" y="6335"/>
                    </a:lnTo>
                    <a:lnTo>
                      <a:pt x="-807" y="760"/>
                    </a:lnTo>
                    <a:lnTo>
                      <a:pt x="15919" y="-467"/>
                    </a:lnTo>
                    <a:lnTo>
                      <a:pt x="15919" y="6670"/>
                    </a:lnTo>
                    <a:lnTo>
                      <a:pt x="46528" y="450523"/>
                    </a:lnTo>
                    <a:cubicBezTo>
                      <a:pt x="46862" y="455150"/>
                      <a:pt x="43405" y="459108"/>
                      <a:pt x="38778" y="459443"/>
                    </a:cubicBezTo>
                    <a:close/>
                  </a:path>
                </a:pathLst>
              </a:custGeom>
              <a:solidFill>
                <a:srgbClr val="30373B"/>
              </a:solidFill>
              <a:ln w="5573" cap="flat">
                <a:noFill/>
                <a:prstDash val="solid"/>
                <a:miter/>
              </a:ln>
            </p:spPr>
            <p:txBody>
              <a:bodyPr rtlCol="0" anchor="ctr"/>
              <a:lstStyle/>
              <a:p>
                <a:endParaRPr lang="en-GB"/>
              </a:p>
            </p:txBody>
          </p:sp>
          <p:sp>
            <p:nvSpPr>
              <p:cNvPr id="116" name="Graphic 6">
                <a:extLst>
                  <a:ext uri="{FF2B5EF4-FFF2-40B4-BE49-F238E27FC236}">
                    <a16:creationId xmlns:a16="http://schemas.microsoft.com/office/drawing/2014/main" id="{8EC854DA-7E22-0704-94E0-42F0F2108702}"/>
                  </a:ext>
                </a:extLst>
              </p:cNvPr>
              <p:cNvSpPr/>
              <p:nvPr/>
            </p:nvSpPr>
            <p:spPr>
              <a:xfrm>
                <a:off x="9507173" y="5866671"/>
                <a:ext cx="24313" cy="409514"/>
              </a:xfrm>
              <a:custGeom>
                <a:avLst/>
                <a:gdLst>
                  <a:gd name="connsiteX0" fmla="*/ 15141 w 24313"/>
                  <a:gd name="connsiteY0" fmla="*/ 409048 h 409514"/>
                  <a:gd name="connsiteX1" fmla="*/ 6834 w 24313"/>
                  <a:gd name="connsiteY1" fmla="*/ 400852 h 409514"/>
                  <a:gd name="connsiteX2" fmla="*/ -804 w 24313"/>
                  <a:gd name="connsiteY2" fmla="*/ 8069 h 409514"/>
                  <a:gd name="connsiteX3" fmla="*/ 7391 w 24313"/>
                  <a:gd name="connsiteY3" fmla="*/ -461 h 409514"/>
                  <a:gd name="connsiteX4" fmla="*/ 7391 w 24313"/>
                  <a:gd name="connsiteY4" fmla="*/ -461 h 409514"/>
                  <a:gd name="connsiteX5" fmla="*/ 15866 w 24313"/>
                  <a:gd name="connsiteY5" fmla="*/ 7456 h 409514"/>
                  <a:gd name="connsiteX6" fmla="*/ 15866 w 24313"/>
                  <a:gd name="connsiteY6" fmla="*/ 7734 h 409514"/>
                  <a:gd name="connsiteX7" fmla="*/ 23504 w 24313"/>
                  <a:gd name="connsiteY7" fmla="*/ 400518 h 409514"/>
                  <a:gd name="connsiteX8" fmla="*/ 15420 w 24313"/>
                  <a:gd name="connsiteY8" fmla="*/ 409048 h 409514"/>
                  <a:gd name="connsiteX9" fmla="*/ 15309 w 24313"/>
                  <a:gd name="connsiteY9" fmla="*/ 409048 h 4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13" h="409514">
                    <a:moveTo>
                      <a:pt x="15141" y="409048"/>
                    </a:moveTo>
                    <a:cubicBezTo>
                      <a:pt x="10569" y="409048"/>
                      <a:pt x="6890" y="405424"/>
                      <a:pt x="6834" y="400852"/>
                    </a:cubicBezTo>
                    <a:lnTo>
                      <a:pt x="-804" y="8069"/>
                    </a:lnTo>
                    <a:cubicBezTo>
                      <a:pt x="-916" y="3442"/>
                      <a:pt x="2764" y="-350"/>
                      <a:pt x="7391" y="-461"/>
                    </a:cubicBezTo>
                    <a:cubicBezTo>
                      <a:pt x="7391" y="-461"/>
                      <a:pt x="7391" y="-461"/>
                      <a:pt x="7391" y="-461"/>
                    </a:cubicBezTo>
                    <a:cubicBezTo>
                      <a:pt x="11908" y="-629"/>
                      <a:pt x="15699" y="2940"/>
                      <a:pt x="15866" y="7456"/>
                    </a:cubicBezTo>
                    <a:cubicBezTo>
                      <a:pt x="15866" y="7568"/>
                      <a:pt x="15866" y="7624"/>
                      <a:pt x="15866" y="7734"/>
                    </a:cubicBezTo>
                    <a:lnTo>
                      <a:pt x="23504" y="400518"/>
                    </a:lnTo>
                    <a:cubicBezTo>
                      <a:pt x="23616" y="405089"/>
                      <a:pt x="19992" y="408936"/>
                      <a:pt x="15420" y="409048"/>
                    </a:cubicBezTo>
                    <a:cubicBezTo>
                      <a:pt x="15364" y="409048"/>
                      <a:pt x="15364" y="409048"/>
                      <a:pt x="15309" y="409048"/>
                    </a:cubicBezTo>
                    <a:close/>
                  </a:path>
                </a:pathLst>
              </a:custGeom>
              <a:solidFill>
                <a:srgbClr val="30373B"/>
              </a:solidFill>
              <a:ln w="5573" cap="flat">
                <a:noFill/>
                <a:prstDash val="solid"/>
                <a:miter/>
              </a:ln>
            </p:spPr>
            <p:txBody>
              <a:bodyPr rtlCol="0" anchor="ctr"/>
              <a:lstStyle/>
              <a:p>
                <a:endParaRPr lang="en-GB"/>
              </a:p>
            </p:txBody>
          </p:sp>
          <p:sp>
            <p:nvSpPr>
              <p:cNvPr id="117" name="Graphic 6">
                <a:extLst>
                  <a:ext uri="{FF2B5EF4-FFF2-40B4-BE49-F238E27FC236}">
                    <a16:creationId xmlns:a16="http://schemas.microsoft.com/office/drawing/2014/main" id="{15FD71FF-E047-7449-0456-6F342A379FAA}"/>
                  </a:ext>
                </a:extLst>
              </p:cNvPr>
              <p:cNvSpPr/>
              <p:nvPr/>
            </p:nvSpPr>
            <p:spPr>
              <a:xfrm>
                <a:off x="7035611" y="2582920"/>
                <a:ext cx="46500" cy="522068"/>
              </a:xfrm>
              <a:custGeom>
                <a:avLst/>
                <a:gdLst>
                  <a:gd name="connsiteX0" fmla="*/ 7572 w 46500"/>
                  <a:gd name="connsiteY0" fmla="*/ 521601 h 522068"/>
                  <a:gd name="connsiteX1" fmla="*/ 7015 w 46500"/>
                  <a:gd name="connsiteY1" fmla="*/ 521601 h 522068"/>
                  <a:gd name="connsiteX2" fmla="*/ -791 w 46500"/>
                  <a:gd name="connsiteY2" fmla="*/ 512680 h 522068"/>
                  <a:gd name="connsiteX3" fmla="*/ 28870 w 46500"/>
                  <a:gd name="connsiteY3" fmla="*/ 83379 h 522068"/>
                  <a:gd name="connsiteX4" fmla="*/ 23685 w 46500"/>
                  <a:gd name="connsiteY4" fmla="*/ 8502 h 522068"/>
                  <a:gd name="connsiteX5" fmla="*/ 31490 w 46500"/>
                  <a:gd name="connsiteY5" fmla="*/ -446 h 522068"/>
                  <a:gd name="connsiteX6" fmla="*/ 40411 w 46500"/>
                  <a:gd name="connsiteY6" fmla="*/ 7332 h 522068"/>
                  <a:gd name="connsiteX7" fmla="*/ 45652 w 46500"/>
                  <a:gd name="connsiteY7" fmla="*/ 82766 h 522068"/>
                  <a:gd name="connsiteX8" fmla="*/ 45652 w 46500"/>
                  <a:gd name="connsiteY8" fmla="*/ 83937 h 522068"/>
                  <a:gd name="connsiteX9" fmla="*/ 16047 w 46500"/>
                  <a:gd name="connsiteY9" fmla="*/ 513851 h 522068"/>
                  <a:gd name="connsiteX10" fmla="*/ 7572 w 46500"/>
                  <a:gd name="connsiteY10" fmla="*/ 521601 h 5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00" h="522068">
                    <a:moveTo>
                      <a:pt x="7572" y="521601"/>
                    </a:moveTo>
                    <a:lnTo>
                      <a:pt x="7015" y="521601"/>
                    </a:lnTo>
                    <a:cubicBezTo>
                      <a:pt x="2387" y="521272"/>
                      <a:pt x="-1069" y="517291"/>
                      <a:pt x="-791" y="512680"/>
                    </a:cubicBezTo>
                    <a:lnTo>
                      <a:pt x="28870" y="83379"/>
                    </a:lnTo>
                    <a:lnTo>
                      <a:pt x="23685" y="8502"/>
                    </a:lnTo>
                    <a:cubicBezTo>
                      <a:pt x="23351" y="3886"/>
                      <a:pt x="26863" y="-123"/>
                      <a:pt x="31490" y="-446"/>
                    </a:cubicBezTo>
                    <a:cubicBezTo>
                      <a:pt x="36062" y="-769"/>
                      <a:pt x="40077" y="2715"/>
                      <a:pt x="40411" y="7332"/>
                    </a:cubicBezTo>
                    <a:lnTo>
                      <a:pt x="45652" y="82766"/>
                    </a:lnTo>
                    <a:cubicBezTo>
                      <a:pt x="45707" y="83156"/>
                      <a:pt x="45707" y="83547"/>
                      <a:pt x="45652" y="83937"/>
                    </a:cubicBezTo>
                    <a:lnTo>
                      <a:pt x="16047" y="513851"/>
                    </a:lnTo>
                    <a:cubicBezTo>
                      <a:pt x="15712" y="518273"/>
                      <a:pt x="12033" y="521674"/>
                      <a:pt x="7572" y="521601"/>
                    </a:cubicBezTo>
                    <a:close/>
                  </a:path>
                </a:pathLst>
              </a:custGeom>
              <a:solidFill>
                <a:srgbClr val="30373B"/>
              </a:solidFill>
              <a:ln w="5573" cap="flat">
                <a:noFill/>
                <a:prstDash val="solid"/>
                <a:miter/>
              </a:ln>
            </p:spPr>
            <p:txBody>
              <a:bodyPr rtlCol="0" anchor="ctr"/>
              <a:lstStyle/>
              <a:p>
                <a:endParaRPr lang="en-GB"/>
              </a:p>
            </p:txBody>
          </p:sp>
          <p:sp>
            <p:nvSpPr>
              <p:cNvPr id="118" name="Graphic 6">
                <a:extLst>
                  <a:ext uri="{FF2B5EF4-FFF2-40B4-BE49-F238E27FC236}">
                    <a16:creationId xmlns:a16="http://schemas.microsoft.com/office/drawing/2014/main" id="{0DD9E0FF-AD39-1C7A-40A8-7A8517F62713}"/>
                  </a:ext>
                </a:extLst>
              </p:cNvPr>
              <p:cNvSpPr/>
              <p:nvPr/>
            </p:nvSpPr>
            <p:spPr>
              <a:xfrm>
                <a:off x="6829373" y="2414761"/>
                <a:ext cx="191145" cy="368195"/>
              </a:xfrm>
              <a:custGeom>
                <a:avLst/>
                <a:gdLst>
                  <a:gd name="connsiteX0" fmla="*/ 17893 w 191145"/>
                  <a:gd name="connsiteY0" fmla="*/ 367729 h 368195"/>
                  <a:gd name="connsiteX1" fmla="*/ 9586 w 191145"/>
                  <a:gd name="connsiteY1" fmla="*/ 360481 h 368195"/>
                  <a:gd name="connsiteX2" fmla="*/ -561 w 191145"/>
                  <a:gd name="connsiteY2" fmla="*/ 257337 h 368195"/>
                  <a:gd name="connsiteX3" fmla="*/ 107879 w 191145"/>
                  <a:gd name="connsiteY3" fmla="*/ -467 h 368195"/>
                  <a:gd name="connsiteX4" fmla="*/ 181976 w 191145"/>
                  <a:gd name="connsiteY4" fmla="*/ -467 h 368195"/>
                  <a:gd name="connsiteX5" fmla="*/ 190339 w 191145"/>
                  <a:gd name="connsiteY5" fmla="*/ 7896 h 368195"/>
                  <a:gd name="connsiteX6" fmla="*/ 181976 w 191145"/>
                  <a:gd name="connsiteY6" fmla="*/ 16259 h 368195"/>
                  <a:gd name="connsiteX7" fmla="*/ 109161 w 191145"/>
                  <a:gd name="connsiteY7" fmla="*/ 16259 h 368195"/>
                  <a:gd name="connsiteX8" fmla="*/ 24974 w 191145"/>
                  <a:gd name="connsiteY8" fmla="*/ 138527 h 368195"/>
                  <a:gd name="connsiteX9" fmla="*/ 16221 w 191145"/>
                  <a:gd name="connsiteY9" fmla="*/ 257337 h 368195"/>
                  <a:gd name="connsiteX10" fmla="*/ 16221 w 191145"/>
                  <a:gd name="connsiteY10" fmla="*/ 259177 h 368195"/>
                  <a:gd name="connsiteX11" fmla="*/ 26368 w 191145"/>
                  <a:gd name="connsiteY11" fmla="*/ 358195 h 368195"/>
                  <a:gd name="connsiteX12" fmla="*/ 19231 w 191145"/>
                  <a:gd name="connsiteY12" fmla="*/ 367612 h 368195"/>
                  <a:gd name="connsiteX13" fmla="*/ 19175 w 191145"/>
                  <a:gd name="connsiteY13" fmla="*/ 367617 h 3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145" h="368195">
                    <a:moveTo>
                      <a:pt x="17893" y="367729"/>
                    </a:moveTo>
                    <a:cubicBezTo>
                      <a:pt x="13711" y="367712"/>
                      <a:pt x="10143" y="364623"/>
                      <a:pt x="9586" y="360481"/>
                    </a:cubicBezTo>
                    <a:cubicBezTo>
                      <a:pt x="7579" y="345762"/>
                      <a:pt x="-2178" y="273060"/>
                      <a:pt x="-561" y="257337"/>
                    </a:cubicBezTo>
                    <a:cubicBezTo>
                      <a:pt x="-1174" y="239886"/>
                      <a:pt x="-7419" y="11186"/>
                      <a:pt x="107879" y="-467"/>
                    </a:cubicBezTo>
                    <a:lnTo>
                      <a:pt x="181976" y="-467"/>
                    </a:lnTo>
                    <a:cubicBezTo>
                      <a:pt x="186603" y="-467"/>
                      <a:pt x="190339" y="3280"/>
                      <a:pt x="190339" y="7896"/>
                    </a:cubicBezTo>
                    <a:cubicBezTo>
                      <a:pt x="190339" y="12513"/>
                      <a:pt x="186603" y="16259"/>
                      <a:pt x="181976" y="16259"/>
                    </a:cubicBezTo>
                    <a:lnTo>
                      <a:pt x="109161" y="16259"/>
                    </a:lnTo>
                    <a:cubicBezTo>
                      <a:pt x="57367" y="21835"/>
                      <a:pt x="34786" y="85784"/>
                      <a:pt x="24974" y="138527"/>
                    </a:cubicBezTo>
                    <a:cubicBezTo>
                      <a:pt x="18116" y="177743"/>
                      <a:pt x="15217" y="217540"/>
                      <a:pt x="16221" y="257337"/>
                    </a:cubicBezTo>
                    <a:cubicBezTo>
                      <a:pt x="16277" y="257950"/>
                      <a:pt x="16277" y="258563"/>
                      <a:pt x="16221" y="259177"/>
                    </a:cubicBezTo>
                    <a:cubicBezTo>
                      <a:pt x="14994" y="266146"/>
                      <a:pt x="20402" y="314930"/>
                      <a:pt x="26368" y="358195"/>
                    </a:cubicBezTo>
                    <a:cubicBezTo>
                      <a:pt x="26981" y="362772"/>
                      <a:pt x="23803" y="366987"/>
                      <a:pt x="19231" y="367612"/>
                    </a:cubicBezTo>
                    <a:cubicBezTo>
                      <a:pt x="19175" y="367612"/>
                      <a:pt x="19175" y="367617"/>
                      <a:pt x="19175" y="367617"/>
                    </a:cubicBezTo>
                    <a:close/>
                  </a:path>
                </a:pathLst>
              </a:custGeom>
              <a:solidFill>
                <a:srgbClr val="30373B"/>
              </a:solidFill>
              <a:ln w="5573" cap="flat">
                <a:noFill/>
                <a:prstDash val="solid"/>
                <a:miter/>
              </a:ln>
            </p:spPr>
            <p:txBody>
              <a:bodyPr rtlCol="0" anchor="ctr"/>
              <a:lstStyle/>
              <a:p>
                <a:endParaRPr lang="en-GB"/>
              </a:p>
            </p:txBody>
          </p:sp>
          <p:sp>
            <p:nvSpPr>
              <p:cNvPr id="119" name="Graphic 6">
                <a:extLst>
                  <a:ext uri="{FF2B5EF4-FFF2-40B4-BE49-F238E27FC236}">
                    <a16:creationId xmlns:a16="http://schemas.microsoft.com/office/drawing/2014/main" id="{B0DC7713-DB5D-7AD4-4ED1-9B54C81884D8}"/>
                  </a:ext>
                </a:extLst>
              </p:cNvPr>
              <p:cNvSpPr/>
              <p:nvPr/>
            </p:nvSpPr>
            <p:spPr>
              <a:xfrm>
                <a:off x="6881436" y="2252854"/>
                <a:ext cx="148082" cy="178857"/>
              </a:xfrm>
              <a:custGeom>
                <a:avLst/>
                <a:gdLst>
                  <a:gd name="connsiteX0" fmla="*/ 90383 w 148082"/>
                  <a:gd name="connsiteY0" fmla="*/ 178389 h 178857"/>
                  <a:gd name="connsiteX1" fmla="*/ 9708 w 148082"/>
                  <a:gd name="connsiteY1" fmla="*/ 113604 h 178857"/>
                  <a:gd name="connsiteX2" fmla="*/ 4801 w 148082"/>
                  <a:gd name="connsiteY2" fmla="*/ 40009 h 178857"/>
                  <a:gd name="connsiteX3" fmla="*/ 100920 w 148082"/>
                  <a:gd name="connsiteY3" fmla="*/ 6557 h 178857"/>
                  <a:gd name="connsiteX4" fmla="*/ 143014 w 148082"/>
                  <a:gd name="connsiteY4" fmla="*/ 67161 h 178857"/>
                  <a:gd name="connsiteX5" fmla="*/ 146917 w 148082"/>
                  <a:gd name="connsiteY5" fmla="*/ 110091 h 178857"/>
                  <a:gd name="connsiteX6" fmla="*/ 137829 w 148082"/>
                  <a:gd name="connsiteY6" fmla="*/ 117757 h 178857"/>
                  <a:gd name="connsiteX7" fmla="*/ 130191 w 148082"/>
                  <a:gd name="connsiteY7" fmla="*/ 108697 h 178857"/>
                  <a:gd name="connsiteX8" fmla="*/ 126734 w 148082"/>
                  <a:gd name="connsiteY8" fmla="*/ 71287 h 178857"/>
                  <a:gd name="connsiteX9" fmla="*/ 93282 w 148082"/>
                  <a:gd name="connsiteY9" fmla="*/ 21109 h 178857"/>
                  <a:gd name="connsiteX10" fmla="*/ 20357 w 148082"/>
                  <a:gd name="connsiteY10" fmla="*/ 46588 h 178857"/>
                  <a:gd name="connsiteX11" fmla="*/ 25207 w 148082"/>
                  <a:gd name="connsiteY11" fmla="*/ 106746 h 178857"/>
                  <a:gd name="connsiteX12" fmla="*/ 100976 w 148082"/>
                  <a:gd name="connsiteY12" fmla="*/ 159935 h 178857"/>
                  <a:gd name="connsiteX13" fmla="*/ 111625 w 148082"/>
                  <a:gd name="connsiteY13" fmla="*/ 165036 h 178857"/>
                  <a:gd name="connsiteX14" fmla="*/ 106551 w 148082"/>
                  <a:gd name="connsiteY14" fmla="*/ 175713 h 178857"/>
                  <a:gd name="connsiteX15" fmla="*/ 90383 w 148082"/>
                  <a:gd name="connsiteY15" fmla="*/ 178389 h 17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082" h="178857">
                    <a:moveTo>
                      <a:pt x="90383" y="178389"/>
                    </a:moveTo>
                    <a:cubicBezTo>
                      <a:pt x="58269" y="178389"/>
                      <a:pt x="25151" y="147781"/>
                      <a:pt x="9708" y="113604"/>
                    </a:cubicBezTo>
                    <a:cubicBezTo>
                      <a:pt x="-2335" y="86954"/>
                      <a:pt x="-4119" y="60805"/>
                      <a:pt x="4801" y="40009"/>
                    </a:cubicBezTo>
                    <a:cubicBezTo>
                      <a:pt x="22308" y="4455"/>
                      <a:pt x="65127" y="-10442"/>
                      <a:pt x="100920" y="6557"/>
                    </a:cubicBezTo>
                    <a:cubicBezTo>
                      <a:pt x="120880" y="17262"/>
                      <a:pt x="135822" y="38783"/>
                      <a:pt x="143014" y="67161"/>
                    </a:cubicBezTo>
                    <a:cubicBezTo>
                      <a:pt x="146694" y="81155"/>
                      <a:pt x="147976" y="95662"/>
                      <a:pt x="146917" y="110091"/>
                    </a:cubicBezTo>
                    <a:cubicBezTo>
                      <a:pt x="146527" y="114708"/>
                      <a:pt x="142457" y="118142"/>
                      <a:pt x="137829" y="117757"/>
                    </a:cubicBezTo>
                    <a:cubicBezTo>
                      <a:pt x="133257" y="117373"/>
                      <a:pt x="129801" y="113314"/>
                      <a:pt x="130191" y="108697"/>
                    </a:cubicBezTo>
                    <a:cubicBezTo>
                      <a:pt x="131083" y="96119"/>
                      <a:pt x="129968" y="83480"/>
                      <a:pt x="126734" y="71287"/>
                    </a:cubicBezTo>
                    <a:cubicBezTo>
                      <a:pt x="120713" y="47480"/>
                      <a:pt x="108726" y="29751"/>
                      <a:pt x="93282" y="21109"/>
                    </a:cubicBezTo>
                    <a:cubicBezTo>
                      <a:pt x="66074" y="8659"/>
                      <a:pt x="33905" y="19905"/>
                      <a:pt x="20357" y="46588"/>
                    </a:cubicBezTo>
                    <a:cubicBezTo>
                      <a:pt x="13387" y="63035"/>
                      <a:pt x="15060" y="84389"/>
                      <a:pt x="25207" y="106746"/>
                    </a:cubicBezTo>
                    <a:cubicBezTo>
                      <a:pt x="45501" y="151628"/>
                      <a:pt x="82299" y="166514"/>
                      <a:pt x="100976" y="159935"/>
                    </a:cubicBezTo>
                    <a:cubicBezTo>
                      <a:pt x="105325" y="158396"/>
                      <a:pt x="110119" y="160682"/>
                      <a:pt x="111625" y="165036"/>
                    </a:cubicBezTo>
                    <a:cubicBezTo>
                      <a:pt x="113186" y="169396"/>
                      <a:pt x="110900" y="174174"/>
                      <a:pt x="106551" y="175713"/>
                    </a:cubicBezTo>
                    <a:cubicBezTo>
                      <a:pt x="101366" y="177525"/>
                      <a:pt x="95903" y="178434"/>
                      <a:pt x="90383" y="178389"/>
                    </a:cubicBezTo>
                    <a:close/>
                  </a:path>
                </a:pathLst>
              </a:custGeom>
              <a:solidFill>
                <a:srgbClr val="30373B"/>
              </a:solidFill>
              <a:ln w="5573" cap="flat">
                <a:noFill/>
                <a:prstDash val="solid"/>
                <a:miter/>
              </a:ln>
            </p:spPr>
            <p:txBody>
              <a:bodyPr rtlCol="0" anchor="ctr"/>
              <a:lstStyle/>
              <a:p>
                <a:endParaRPr lang="en-GB"/>
              </a:p>
            </p:txBody>
          </p:sp>
          <p:sp>
            <p:nvSpPr>
              <p:cNvPr id="120" name="Graphic 6">
                <a:extLst>
                  <a:ext uri="{FF2B5EF4-FFF2-40B4-BE49-F238E27FC236}">
                    <a16:creationId xmlns:a16="http://schemas.microsoft.com/office/drawing/2014/main" id="{2D30F67A-F440-AE2A-92CC-93555AD84E15}"/>
                  </a:ext>
                </a:extLst>
              </p:cNvPr>
              <p:cNvSpPr/>
              <p:nvPr/>
            </p:nvSpPr>
            <p:spPr>
              <a:xfrm>
                <a:off x="6885929" y="2591630"/>
                <a:ext cx="46799" cy="517483"/>
              </a:xfrm>
              <a:custGeom>
                <a:avLst/>
                <a:gdLst>
                  <a:gd name="connsiteX0" fmla="*/ 37496 w 46799"/>
                  <a:gd name="connsiteY0" fmla="*/ 517016 h 517483"/>
                  <a:gd name="connsiteX1" fmla="*/ 29133 w 46799"/>
                  <a:gd name="connsiteY1" fmla="*/ 509211 h 517483"/>
                  <a:gd name="connsiteX2" fmla="*/ -807 w 46799"/>
                  <a:gd name="connsiteY2" fmla="*/ 74836 h 517483"/>
                  <a:gd name="connsiteX3" fmla="*/ -807 w 46799"/>
                  <a:gd name="connsiteY3" fmla="*/ 73889 h 517483"/>
                  <a:gd name="connsiteX4" fmla="*/ 2148 w 46799"/>
                  <a:gd name="connsiteY4" fmla="*/ 7542 h 517483"/>
                  <a:gd name="connsiteX5" fmla="*/ 10846 w 46799"/>
                  <a:gd name="connsiteY5" fmla="*/ -459 h 517483"/>
                  <a:gd name="connsiteX6" fmla="*/ 18874 w 46799"/>
                  <a:gd name="connsiteY6" fmla="*/ 8267 h 517483"/>
                  <a:gd name="connsiteX7" fmla="*/ 15975 w 46799"/>
                  <a:gd name="connsiteY7" fmla="*/ 74167 h 517483"/>
                  <a:gd name="connsiteX8" fmla="*/ 45971 w 46799"/>
                  <a:gd name="connsiteY8" fmla="*/ 508040 h 517483"/>
                  <a:gd name="connsiteX9" fmla="*/ 38221 w 46799"/>
                  <a:gd name="connsiteY9" fmla="*/ 516961 h 517483"/>
                  <a:gd name="connsiteX10" fmla="*/ 38165 w 46799"/>
                  <a:gd name="connsiteY10" fmla="*/ 516961 h 51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9" h="517483">
                    <a:moveTo>
                      <a:pt x="37496" y="517016"/>
                    </a:moveTo>
                    <a:cubicBezTo>
                      <a:pt x="33091" y="517000"/>
                      <a:pt x="29468" y="513599"/>
                      <a:pt x="29133" y="509211"/>
                    </a:cubicBezTo>
                    <a:lnTo>
                      <a:pt x="-807" y="74836"/>
                    </a:lnTo>
                    <a:cubicBezTo>
                      <a:pt x="-807" y="74518"/>
                      <a:pt x="-807" y="74206"/>
                      <a:pt x="-807" y="73889"/>
                    </a:cubicBezTo>
                    <a:lnTo>
                      <a:pt x="2148" y="7542"/>
                    </a:lnTo>
                    <a:cubicBezTo>
                      <a:pt x="2371" y="2925"/>
                      <a:pt x="6274" y="-660"/>
                      <a:pt x="10846" y="-459"/>
                    </a:cubicBezTo>
                    <a:cubicBezTo>
                      <a:pt x="15474" y="-258"/>
                      <a:pt x="19097" y="3650"/>
                      <a:pt x="18874" y="8267"/>
                    </a:cubicBezTo>
                    <a:lnTo>
                      <a:pt x="15975" y="74167"/>
                    </a:lnTo>
                    <a:lnTo>
                      <a:pt x="45971" y="508040"/>
                    </a:lnTo>
                    <a:cubicBezTo>
                      <a:pt x="46305" y="512645"/>
                      <a:pt x="42792" y="516643"/>
                      <a:pt x="38221" y="516961"/>
                    </a:cubicBezTo>
                    <a:cubicBezTo>
                      <a:pt x="38165" y="516961"/>
                      <a:pt x="38165" y="516961"/>
                      <a:pt x="38165" y="516961"/>
                    </a:cubicBezTo>
                    <a:close/>
                  </a:path>
                </a:pathLst>
              </a:custGeom>
              <a:solidFill>
                <a:srgbClr val="30373B"/>
              </a:solidFill>
              <a:ln w="5573" cap="flat">
                <a:noFill/>
                <a:prstDash val="solid"/>
                <a:miter/>
              </a:ln>
            </p:spPr>
            <p:txBody>
              <a:bodyPr rtlCol="0" anchor="ctr"/>
              <a:lstStyle/>
              <a:p>
                <a:endParaRPr lang="en-GB"/>
              </a:p>
            </p:txBody>
          </p:sp>
          <p:sp>
            <p:nvSpPr>
              <p:cNvPr id="121" name="Graphic 6">
                <a:extLst>
                  <a:ext uri="{FF2B5EF4-FFF2-40B4-BE49-F238E27FC236}">
                    <a16:creationId xmlns:a16="http://schemas.microsoft.com/office/drawing/2014/main" id="{6B0615C6-1DD8-1E01-36D4-7753BE4FE07C}"/>
                  </a:ext>
                </a:extLst>
              </p:cNvPr>
              <p:cNvSpPr/>
              <p:nvPr/>
            </p:nvSpPr>
            <p:spPr>
              <a:xfrm>
                <a:off x="6853176" y="2399739"/>
                <a:ext cx="234981" cy="190421"/>
              </a:xfrm>
              <a:custGeom>
                <a:avLst/>
                <a:gdLst>
                  <a:gd name="connsiteX0" fmla="*/ 125501 w 234981"/>
                  <a:gd name="connsiteY0" fmla="*/ 189955 h 190421"/>
                  <a:gd name="connsiteX1" fmla="*/ 101638 w 234981"/>
                  <a:gd name="connsiteY1" fmla="*/ 185774 h 190421"/>
                  <a:gd name="connsiteX2" fmla="*/ -669 w 234981"/>
                  <a:gd name="connsiteY2" fmla="*/ 9537 h 190421"/>
                  <a:gd name="connsiteX3" fmla="*/ 6188 w 234981"/>
                  <a:gd name="connsiteY3" fmla="*/ -331 h 190421"/>
                  <a:gd name="connsiteX4" fmla="*/ 16057 w 234981"/>
                  <a:gd name="connsiteY4" fmla="*/ 6526 h 190421"/>
                  <a:gd name="connsiteX5" fmla="*/ 107548 w 234981"/>
                  <a:gd name="connsiteY5" fmla="*/ 170051 h 190421"/>
                  <a:gd name="connsiteX6" fmla="*/ 184878 w 234981"/>
                  <a:gd name="connsiteY6" fmla="*/ 146356 h 190421"/>
                  <a:gd name="connsiteX7" fmla="*/ 214204 w 234981"/>
                  <a:gd name="connsiteY7" fmla="*/ 70085 h 190421"/>
                  <a:gd name="connsiteX8" fmla="*/ 158451 w 234981"/>
                  <a:gd name="connsiteY8" fmla="*/ 31337 h 190421"/>
                  <a:gd name="connsiteX9" fmla="*/ 150088 w 234981"/>
                  <a:gd name="connsiteY9" fmla="*/ 22974 h 190421"/>
                  <a:gd name="connsiteX10" fmla="*/ 158451 w 234981"/>
                  <a:gd name="connsiteY10" fmla="*/ 14611 h 190421"/>
                  <a:gd name="connsiteX11" fmla="*/ 229871 w 234981"/>
                  <a:gd name="connsiteY11" fmla="*/ 64343 h 190421"/>
                  <a:gd name="connsiteX12" fmla="*/ 195694 w 234981"/>
                  <a:gd name="connsiteY12" fmla="*/ 159124 h 190421"/>
                  <a:gd name="connsiteX13" fmla="*/ 125501 w 234981"/>
                  <a:gd name="connsiteY13" fmla="*/ 189955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981" h="190421">
                    <a:moveTo>
                      <a:pt x="125501" y="189955"/>
                    </a:moveTo>
                    <a:cubicBezTo>
                      <a:pt x="117360" y="189950"/>
                      <a:pt x="109276" y="188539"/>
                      <a:pt x="101638" y="185774"/>
                    </a:cubicBezTo>
                    <a:cubicBezTo>
                      <a:pt x="27932" y="159458"/>
                      <a:pt x="501" y="15670"/>
                      <a:pt x="-669" y="9537"/>
                    </a:cubicBezTo>
                    <a:cubicBezTo>
                      <a:pt x="-1506" y="4921"/>
                      <a:pt x="1561" y="499"/>
                      <a:pt x="6188" y="-331"/>
                    </a:cubicBezTo>
                    <a:cubicBezTo>
                      <a:pt x="10816" y="-1162"/>
                      <a:pt x="15220" y="1910"/>
                      <a:pt x="16057" y="6526"/>
                    </a:cubicBezTo>
                    <a:cubicBezTo>
                      <a:pt x="16057" y="7920"/>
                      <a:pt x="42874" y="146969"/>
                      <a:pt x="107548" y="170051"/>
                    </a:cubicBezTo>
                    <a:cubicBezTo>
                      <a:pt x="130519" y="178247"/>
                      <a:pt x="156555" y="170051"/>
                      <a:pt x="184878" y="146356"/>
                    </a:cubicBezTo>
                    <a:cubicBezTo>
                      <a:pt x="213201" y="122661"/>
                      <a:pt x="223348" y="95119"/>
                      <a:pt x="214204" y="70085"/>
                    </a:cubicBezTo>
                    <a:cubicBezTo>
                      <a:pt x="205339" y="46937"/>
                      <a:pt x="183261" y="31560"/>
                      <a:pt x="158451" y="31337"/>
                    </a:cubicBezTo>
                    <a:cubicBezTo>
                      <a:pt x="153823" y="31337"/>
                      <a:pt x="150088" y="27590"/>
                      <a:pt x="150088" y="22974"/>
                    </a:cubicBezTo>
                    <a:cubicBezTo>
                      <a:pt x="150088" y="18357"/>
                      <a:pt x="153823" y="14611"/>
                      <a:pt x="158451" y="14611"/>
                    </a:cubicBezTo>
                    <a:cubicBezTo>
                      <a:pt x="190230" y="14917"/>
                      <a:pt x="218553" y="34648"/>
                      <a:pt x="229871" y="64343"/>
                    </a:cubicBezTo>
                    <a:cubicBezTo>
                      <a:pt x="241579" y="96345"/>
                      <a:pt x="229146" y="130912"/>
                      <a:pt x="195694" y="159124"/>
                    </a:cubicBezTo>
                    <a:cubicBezTo>
                      <a:pt x="171163" y="179641"/>
                      <a:pt x="147746" y="189916"/>
                      <a:pt x="125501" y="189955"/>
                    </a:cubicBezTo>
                    <a:close/>
                  </a:path>
                </a:pathLst>
              </a:custGeom>
              <a:solidFill>
                <a:srgbClr val="30373B"/>
              </a:solidFill>
              <a:ln w="5573" cap="flat">
                <a:noFill/>
                <a:prstDash val="solid"/>
                <a:miter/>
              </a:ln>
            </p:spPr>
            <p:txBody>
              <a:bodyPr rtlCol="0" anchor="ctr"/>
              <a:lstStyle/>
              <a:p>
                <a:endParaRPr lang="en-GB"/>
              </a:p>
            </p:txBody>
          </p:sp>
          <p:sp>
            <p:nvSpPr>
              <p:cNvPr id="122" name="Graphic 6">
                <a:extLst>
                  <a:ext uri="{FF2B5EF4-FFF2-40B4-BE49-F238E27FC236}">
                    <a16:creationId xmlns:a16="http://schemas.microsoft.com/office/drawing/2014/main" id="{19952567-3B83-D4AF-A6C9-B0095D1558FB}"/>
                  </a:ext>
                </a:extLst>
              </p:cNvPr>
              <p:cNvSpPr/>
              <p:nvPr/>
            </p:nvSpPr>
            <p:spPr>
              <a:xfrm>
                <a:off x="6623478" y="2339574"/>
                <a:ext cx="200197" cy="43295"/>
              </a:xfrm>
              <a:custGeom>
                <a:avLst/>
                <a:gdLst>
                  <a:gd name="connsiteX0" fmla="*/ 190392 w 200197"/>
                  <a:gd name="connsiteY0" fmla="*/ 42829 h 43295"/>
                  <a:gd name="connsiteX1" fmla="*/ 189221 w 200197"/>
                  <a:gd name="connsiteY1" fmla="*/ 42829 h 43295"/>
                  <a:gd name="connsiteX2" fmla="*/ 6461 w 200197"/>
                  <a:gd name="connsiteY2" fmla="*/ 16346 h 43295"/>
                  <a:gd name="connsiteX3" fmla="*/ -731 w 200197"/>
                  <a:gd name="connsiteY3" fmla="*/ 6784 h 43295"/>
                  <a:gd name="connsiteX4" fmla="*/ 8859 w 200197"/>
                  <a:gd name="connsiteY4" fmla="*/ -380 h 43295"/>
                  <a:gd name="connsiteX5" fmla="*/ 191618 w 200197"/>
                  <a:gd name="connsiteY5" fmla="*/ 26047 h 43295"/>
                  <a:gd name="connsiteX6" fmla="*/ 199368 w 200197"/>
                  <a:gd name="connsiteY6" fmla="*/ 35023 h 43295"/>
                  <a:gd name="connsiteX7" fmla="*/ 190392 w 200197"/>
                  <a:gd name="connsiteY7" fmla="*/ 42773 h 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197" h="43295">
                    <a:moveTo>
                      <a:pt x="190392" y="42829"/>
                    </a:moveTo>
                    <a:lnTo>
                      <a:pt x="189221" y="42829"/>
                    </a:lnTo>
                    <a:lnTo>
                      <a:pt x="6461" y="16346"/>
                    </a:lnTo>
                    <a:cubicBezTo>
                      <a:pt x="1834" y="15683"/>
                      <a:pt x="-1344" y="11401"/>
                      <a:pt x="-731" y="6784"/>
                    </a:cubicBezTo>
                    <a:cubicBezTo>
                      <a:pt x="-62" y="2168"/>
                      <a:pt x="4231" y="-1043"/>
                      <a:pt x="8859" y="-380"/>
                    </a:cubicBezTo>
                    <a:lnTo>
                      <a:pt x="191618" y="26047"/>
                    </a:lnTo>
                    <a:cubicBezTo>
                      <a:pt x="196246" y="26387"/>
                      <a:pt x="199703" y="30407"/>
                      <a:pt x="199368" y="35023"/>
                    </a:cubicBezTo>
                    <a:cubicBezTo>
                      <a:pt x="199034" y="39640"/>
                      <a:pt x="195020" y="43113"/>
                      <a:pt x="190392" y="42773"/>
                    </a:cubicBezTo>
                    <a:close/>
                  </a:path>
                </a:pathLst>
              </a:custGeom>
              <a:solidFill>
                <a:srgbClr val="30373B"/>
              </a:solidFill>
              <a:ln w="5573" cap="flat">
                <a:noFill/>
                <a:prstDash val="solid"/>
                <a:miter/>
              </a:ln>
            </p:spPr>
            <p:txBody>
              <a:bodyPr rtlCol="0" anchor="ctr"/>
              <a:lstStyle/>
              <a:p>
                <a:endParaRPr lang="en-GB"/>
              </a:p>
            </p:txBody>
          </p:sp>
          <p:sp>
            <p:nvSpPr>
              <p:cNvPr id="123" name="Graphic 6">
                <a:extLst>
                  <a:ext uri="{FF2B5EF4-FFF2-40B4-BE49-F238E27FC236}">
                    <a16:creationId xmlns:a16="http://schemas.microsoft.com/office/drawing/2014/main" id="{6E34AF7F-0C88-1009-1455-927DCB21F83F}"/>
                  </a:ext>
                </a:extLst>
              </p:cNvPr>
              <p:cNvSpPr/>
              <p:nvPr/>
            </p:nvSpPr>
            <p:spPr>
              <a:xfrm>
                <a:off x="6557182" y="2409840"/>
                <a:ext cx="247848" cy="150659"/>
              </a:xfrm>
              <a:custGeom>
                <a:avLst/>
                <a:gdLst>
                  <a:gd name="connsiteX0" fmla="*/ 7582 w 247848"/>
                  <a:gd name="connsiteY0" fmla="*/ 150193 h 150659"/>
                  <a:gd name="connsiteX1" fmla="*/ 333 w 247848"/>
                  <a:gd name="connsiteY1" fmla="*/ 146067 h 150659"/>
                  <a:gd name="connsiteX2" fmla="*/ 3344 w 247848"/>
                  <a:gd name="connsiteY2" fmla="*/ 134638 h 150659"/>
                  <a:gd name="connsiteX3" fmla="*/ 234219 w 247848"/>
                  <a:gd name="connsiteY3" fmla="*/ 829 h 150659"/>
                  <a:gd name="connsiteX4" fmla="*/ 245760 w 247848"/>
                  <a:gd name="connsiteY4" fmla="*/ 3428 h 150659"/>
                  <a:gd name="connsiteX5" fmla="*/ 243140 w 247848"/>
                  <a:gd name="connsiteY5" fmla="*/ 14963 h 150659"/>
                  <a:gd name="connsiteX6" fmla="*/ 242638 w 247848"/>
                  <a:gd name="connsiteY6" fmla="*/ 15270 h 150659"/>
                  <a:gd name="connsiteX7" fmla="*/ 11763 w 247848"/>
                  <a:gd name="connsiteY7" fmla="*/ 149078 h 150659"/>
                  <a:gd name="connsiteX8" fmla="*/ 7582 w 247848"/>
                  <a:gd name="connsiteY8" fmla="*/ 150193 h 15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848" h="150659">
                    <a:moveTo>
                      <a:pt x="7582" y="150193"/>
                    </a:moveTo>
                    <a:cubicBezTo>
                      <a:pt x="4627" y="150193"/>
                      <a:pt x="1839" y="148626"/>
                      <a:pt x="333" y="146067"/>
                    </a:cubicBezTo>
                    <a:cubicBezTo>
                      <a:pt x="-2008" y="142081"/>
                      <a:pt x="-615" y="136962"/>
                      <a:pt x="3344" y="134638"/>
                    </a:cubicBezTo>
                    <a:lnTo>
                      <a:pt x="234219" y="829"/>
                    </a:lnTo>
                    <a:cubicBezTo>
                      <a:pt x="238122" y="-1640"/>
                      <a:pt x="243307" y="-475"/>
                      <a:pt x="245760" y="3428"/>
                    </a:cubicBezTo>
                    <a:cubicBezTo>
                      <a:pt x="248213" y="7330"/>
                      <a:pt x="247042" y="12493"/>
                      <a:pt x="243140" y="14963"/>
                    </a:cubicBezTo>
                    <a:cubicBezTo>
                      <a:pt x="242972" y="15074"/>
                      <a:pt x="242805" y="15175"/>
                      <a:pt x="242638" y="15270"/>
                    </a:cubicBezTo>
                    <a:lnTo>
                      <a:pt x="11763" y="149078"/>
                    </a:lnTo>
                    <a:cubicBezTo>
                      <a:pt x="10480" y="149814"/>
                      <a:pt x="9031" y="150198"/>
                      <a:pt x="7582" y="150193"/>
                    </a:cubicBezTo>
                    <a:close/>
                  </a:path>
                </a:pathLst>
              </a:custGeom>
              <a:solidFill>
                <a:srgbClr val="30373B"/>
              </a:solidFill>
              <a:ln w="5573" cap="flat">
                <a:noFill/>
                <a:prstDash val="solid"/>
                <a:miter/>
              </a:ln>
            </p:spPr>
            <p:txBody>
              <a:bodyPr rtlCol="0" anchor="ctr"/>
              <a:lstStyle/>
              <a:p>
                <a:endParaRPr lang="en-GB"/>
              </a:p>
            </p:txBody>
          </p:sp>
          <p:sp>
            <p:nvSpPr>
              <p:cNvPr id="124" name="Graphic 6">
                <a:extLst>
                  <a:ext uri="{FF2B5EF4-FFF2-40B4-BE49-F238E27FC236}">
                    <a16:creationId xmlns:a16="http://schemas.microsoft.com/office/drawing/2014/main" id="{D13488E9-81DA-20E4-AE14-D6A80071DE60}"/>
                  </a:ext>
                </a:extLst>
              </p:cNvPr>
              <p:cNvSpPr/>
              <p:nvPr/>
            </p:nvSpPr>
            <p:spPr>
              <a:xfrm>
                <a:off x="6684900" y="2446293"/>
                <a:ext cx="157626" cy="250969"/>
              </a:xfrm>
              <a:custGeom>
                <a:avLst/>
                <a:gdLst>
                  <a:gd name="connsiteX0" fmla="*/ 7538 w 157626"/>
                  <a:gd name="connsiteY0" fmla="*/ 250503 h 250969"/>
                  <a:gd name="connsiteX1" fmla="*/ 3246 w 157626"/>
                  <a:gd name="connsiteY1" fmla="*/ 249276 h 250969"/>
                  <a:gd name="connsiteX2" fmla="*/ 402 w 157626"/>
                  <a:gd name="connsiteY2" fmla="*/ 237797 h 250969"/>
                  <a:gd name="connsiteX3" fmla="*/ 402 w 157626"/>
                  <a:gd name="connsiteY3" fmla="*/ 237791 h 250969"/>
                  <a:gd name="connsiteX4" fmla="*/ 141514 w 157626"/>
                  <a:gd name="connsiteY4" fmla="*/ 3237 h 250969"/>
                  <a:gd name="connsiteX5" fmla="*/ 153111 w 157626"/>
                  <a:gd name="connsiteY5" fmla="*/ 951 h 250969"/>
                  <a:gd name="connsiteX6" fmla="*/ 155843 w 157626"/>
                  <a:gd name="connsiteY6" fmla="*/ 11823 h 250969"/>
                  <a:gd name="connsiteX7" fmla="*/ 14731 w 157626"/>
                  <a:gd name="connsiteY7" fmla="*/ 246433 h 250969"/>
                  <a:gd name="connsiteX8" fmla="*/ 7538 w 157626"/>
                  <a:gd name="connsiteY8" fmla="*/ 250503 h 25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26" h="250969">
                    <a:moveTo>
                      <a:pt x="7538" y="250503"/>
                    </a:moveTo>
                    <a:cubicBezTo>
                      <a:pt x="6033" y="250503"/>
                      <a:pt x="4528" y="250079"/>
                      <a:pt x="3246" y="249276"/>
                    </a:cubicBezTo>
                    <a:cubicBezTo>
                      <a:pt x="-713" y="246890"/>
                      <a:pt x="-1995" y="241755"/>
                      <a:pt x="402" y="237797"/>
                    </a:cubicBezTo>
                    <a:cubicBezTo>
                      <a:pt x="402" y="237797"/>
                      <a:pt x="402" y="237791"/>
                      <a:pt x="402" y="237791"/>
                    </a:cubicBezTo>
                    <a:lnTo>
                      <a:pt x="141514" y="3237"/>
                    </a:lnTo>
                    <a:cubicBezTo>
                      <a:pt x="144079" y="-599"/>
                      <a:pt x="149264" y="-1619"/>
                      <a:pt x="153111" y="951"/>
                    </a:cubicBezTo>
                    <a:cubicBezTo>
                      <a:pt x="156679" y="3343"/>
                      <a:pt x="157850" y="8037"/>
                      <a:pt x="155843" y="11823"/>
                    </a:cubicBezTo>
                    <a:lnTo>
                      <a:pt x="14731" y="246433"/>
                    </a:lnTo>
                    <a:cubicBezTo>
                      <a:pt x="13225" y="248964"/>
                      <a:pt x="10493" y="250509"/>
                      <a:pt x="7538" y="250503"/>
                    </a:cubicBezTo>
                    <a:close/>
                  </a:path>
                </a:pathLst>
              </a:custGeom>
              <a:solidFill>
                <a:srgbClr val="30373B"/>
              </a:solidFill>
              <a:ln w="5573" cap="flat">
                <a:noFill/>
                <a:prstDash val="solid"/>
                <a:miter/>
              </a:ln>
            </p:spPr>
            <p:txBody>
              <a:bodyPr rtlCol="0" anchor="ctr"/>
              <a:lstStyle/>
              <a:p>
                <a:endParaRPr lang="en-GB"/>
              </a:p>
            </p:txBody>
          </p:sp>
          <p:sp>
            <p:nvSpPr>
              <p:cNvPr id="125" name="Graphic 6">
                <a:extLst>
                  <a:ext uri="{FF2B5EF4-FFF2-40B4-BE49-F238E27FC236}">
                    <a16:creationId xmlns:a16="http://schemas.microsoft.com/office/drawing/2014/main" id="{4B89330D-1F66-95B2-1504-7C222CB44CDC}"/>
                  </a:ext>
                </a:extLst>
              </p:cNvPr>
              <p:cNvSpPr/>
              <p:nvPr/>
            </p:nvSpPr>
            <p:spPr>
              <a:xfrm>
                <a:off x="6975859" y="2697040"/>
                <a:ext cx="16726" cy="407947"/>
              </a:xfrm>
              <a:custGeom>
                <a:avLst/>
                <a:gdLst>
                  <a:gd name="connsiteX0" fmla="*/ 7556 w 16726"/>
                  <a:gd name="connsiteY0" fmla="*/ 407481 h 407947"/>
                  <a:gd name="connsiteX1" fmla="*/ -807 w 16726"/>
                  <a:gd name="connsiteY1" fmla="*/ 399118 h 407947"/>
                  <a:gd name="connsiteX2" fmla="*/ -807 w 16726"/>
                  <a:gd name="connsiteY2" fmla="*/ 7896 h 407947"/>
                  <a:gd name="connsiteX3" fmla="*/ 7556 w 16726"/>
                  <a:gd name="connsiteY3" fmla="*/ -467 h 407947"/>
                  <a:gd name="connsiteX4" fmla="*/ 15919 w 16726"/>
                  <a:gd name="connsiteY4" fmla="*/ 7896 h 407947"/>
                  <a:gd name="connsiteX5" fmla="*/ 15919 w 16726"/>
                  <a:gd name="connsiteY5" fmla="*/ 399118 h 407947"/>
                  <a:gd name="connsiteX6" fmla="*/ 7556 w 16726"/>
                  <a:gd name="connsiteY6" fmla="*/ 407481 h 40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407947">
                    <a:moveTo>
                      <a:pt x="7556" y="407481"/>
                    </a:moveTo>
                    <a:cubicBezTo>
                      <a:pt x="2929" y="407481"/>
                      <a:pt x="-807" y="403734"/>
                      <a:pt x="-807" y="399118"/>
                    </a:cubicBezTo>
                    <a:lnTo>
                      <a:pt x="-807" y="7896"/>
                    </a:lnTo>
                    <a:cubicBezTo>
                      <a:pt x="-807" y="3280"/>
                      <a:pt x="2929" y="-467"/>
                      <a:pt x="7556" y="-467"/>
                    </a:cubicBezTo>
                    <a:cubicBezTo>
                      <a:pt x="12184" y="-467"/>
                      <a:pt x="15919" y="3280"/>
                      <a:pt x="15919" y="7896"/>
                    </a:cubicBezTo>
                    <a:lnTo>
                      <a:pt x="15919" y="399118"/>
                    </a:lnTo>
                    <a:cubicBezTo>
                      <a:pt x="15919" y="403734"/>
                      <a:pt x="12184" y="407481"/>
                      <a:pt x="7556" y="407481"/>
                    </a:cubicBezTo>
                    <a:close/>
                  </a:path>
                </a:pathLst>
              </a:custGeom>
              <a:solidFill>
                <a:srgbClr val="30373B"/>
              </a:solidFill>
              <a:ln w="5573" cap="flat">
                <a:noFill/>
                <a:prstDash val="solid"/>
                <a:miter/>
              </a:ln>
            </p:spPr>
            <p:txBody>
              <a:bodyPr rtlCol="0" anchor="ctr"/>
              <a:lstStyle/>
              <a:p>
                <a:endParaRPr lang="en-GB"/>
              </a:p>
            </p:txBody>
          </p:sp>
          <p:sp>
            <p:nvSpPr>
              <p:cNvPr id="126" name="Graphic 6">
                <a:extLst>
                  <a:ext uri="{FF2B5EF4-FFF2-40B4-BE49-F238E27FC236}">
                    <a16:creationId xmlns:a16="http://schemas.microsoft.com/office/drawing/2014/main" id="{4855A34A-43D3-37B5-AE77-69E47DBEE3F3}"/>
                  </a:ext>
                </a:extLst>
              </p:cNvPr>
              <p:cNvSpPr/>
              <p:nvPr/>
            </p:nvSpPr>
            <p:spPr>
              <a:xfrm>
                <a:off x="8938435" y="4877612"/>
                <a:ext cx="16726" cy="657332"/>
              </a:xfrm>
              <a:custGeom>
                <a:avLst/>
                <a:gdLst>
                  <a:gd name="connsiteX0" fmla="*/ 7556 w 16726"/>
                  <a:gd name="connsiteY0" fmla="*/ 656866 h 657332"/>
                  <a:gd name="connsiteX1" fmla="*/ -807 w 16726"/>
                  <a:gd name="connsiteY1" fmla="*/ 648503 h 657332"/>
                  <a:gd name="connsiteX2" fmla="*/ -807 w 16726"/>
                  <a:gd name="connsiteY2" fmla="*/ 7896 h 657332"/>
                  <a:gd name="connsiteX3" fmla="*/ 7556 w 16726"/>
                  <a:gd name="connsiteY3" fmla="*/ -467 h 657332"/>
                  <a:gd name="connsiteX4" fmla="*/ 15919 w 16726"/>
                  <a:gd name="connsiteY4" fmla="*/ 7896 h 657332"/>
                  <a:gd name="connsiteX5" fmla="*/ 15919 w 16726"/>
                  <a:gd name="connsiteY5" fmla="*/ 648503 h 657332"/>
                  <a:gd name="connsiteX6" fmla="*/ 7556 w 16726"/>
                  <a:gd name="connsiteY6" fmla="*/ 656866 h 6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657332">
                    <a:moveTo>
                      <a:pt x="7556" y="656866"/>
                    </a:moveTo>
                    <a:cubicBezTo>
                      <a:pt x="2928" y="656866"/>
                      <a:pt x="-807" y="653131"/>
                      <a:pt x="-807" y="648503"/>
                    </a:cubicBezTo>
                    <a:lnTo>
                      <a:pt x="-807" y="7896"/>
                    </a:lnTo>
                    <a:cubicBezTo>
                      <a:pt x="-807" y="3280"/>
                      <a:pt x="2928" y="-467"/>
                      <a:pt x="7556" y="-467"/>
                    </a:cubicBezTo>
                    <a:cubicBezTo>
                      <a:pt x="12184" y="-467"/>
                      <a:pt x="15919" y="3280"/>
                      <a:pt x="15919" y="7896"/>
                    </a:cubicBezTo>
                    <a:lnTo>
                      <a:pt x="15919" y="648503"/>
                    </a:lnTo>
                    <a:cubicBezTo>
                      <a:pt x="15919" y="653131"/>
                      <a:pt x="12184" y="656866"/>
                      <a:pt x="7556" y="656866"/>
                    </a:cubicBezTo>
                    <a:close/>
                  </a:path>
                </a:pathLst>
              </a:custGeom>
              <a:solidFill>
                <a:srgbClr val="30373B"/>
              </a:solidFill>
              <a:ln w="5573" cap="flat">
                <a:noFill/>
                <a:prstDash val="solid"/>
                <a:miter/>
              </a:ln>
            </p:spPr>
            <p:txBody>
              <a:bodyPr rtlCol="0" anchor="ctr"/>
              <a:lstStyle/>
              <a:p>
                <a:endParaRPr lang="en-GB"/>
              </a:p>
            </p:txBody>
          </p:sp>
          <p:sp>
            <p:nvSpPr>
              <p:cNvPr id="127" name="Graphic 6">
                <a:extLst>
                  <a:ext uri="{FF2B5EF4-FFF2-40B4-BE49-F238E27FC236}">
                    <a16:creationId xmlns:a16="http://schemas.microsoft.com/office/drawing/2014/main" id="{17F2EC53-A7E5-F083-4E89-F0CCCE844347}"/>
                  </a:ext>
                </a:extLst>
              </p:cNvPr>
              <p:cNvSpPr/>
              <p:nvPr/>
            </p:nvSpPr>
            <p:spPr>
              <a:xfrm>
                <a:off x="7928963" y="5690496"/>
                <a:ext cx="1026197" cy="174564"/>
              </a:xfrm>
              <a:custGeom>
                <a:avLst/>
                <a:gdLst>
                  <a:gd name="connsiteX0" fmla="*/ 911152 w 1026197"/>
                  <a:gd name="connsiteY0" fmla="*/ 174097 h 174564"/>
                  <a:gd name="connsiteX1" fmla="*/ 7556 w 1026197"/>
                  <a:gd name="connsiteY1" fmla="*/ 174097 h 174564"/>
                  <a:gd name="connsiteX2" fmla="*/ -807 w 1026197"/>
                  <a:gd name="connsiteY2" fmla="*/ 165734 h 174564"/>
                  <a:gd name="connsiteX3" fmla="*/ 7556 w 1026197"/>
                  <a:gd name="connsiteY3" fmla="*/ 157371 h 174564"/>
                  <a:gd name="connsiteX4" fmla="*/ 911152 w 1026197"/>
                  <a:gd name="connsiteY4" fmla="*/ 157371 h 174564"/>
                  <a:gd name="connsiteX5" fmla="*/ 1008665 w 1026197"/>
                  <a:gd name="connsiteY5" fmla="*/ 59858 h 174564"/>
                  <a:gd name="connsiteX6" fmla="*/ 1008665 w 1026197"/>
                  <a:gd name="connsiteY6" fmla="*/ 7896 h 174564"/>
                  <a:gd name="connsiteX7" fmla="*/ 1017028 w 1026197"/>
                  <a:gd name="connsiteY7" fmla="*/ -467 h 174564"/>
                  <a:gd name="connsiteX8" fmla="*/ 1025391 w 1026197"/>
                  <a:gd name="connsiteY8" fmla="*/ 7896 h 174564"/>
                  <a:gd name="connsiteX9" fmla="*/ 1025391 w 1026197"/>
                  <a:gd name="connsiteY9" fmla="*/ 60025 h 174564"/>
                  <a:gd name="connsiteX10" fmla="*/ 911152 w 1026197"/>
                  <a:gd name="connsiteY10" fmla="*/ 174097 h 17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6197" h="174564">
                    <a:moveTo>
                      <a:pt x="911152" y="174097"/>
                    </a:moveTo>
                    <a:lnTo>
                      <a:pt x="7556" y="174097"/>
                    </a:lnTo>
                    <a:cubicBezTo>
                      <a:pt x="2929" y="174097"/>
                      <a:pt x="-807" y="170362"/>
                      <a:pt x="-807" y="165734"/>
                    </a:cubicBezTo>
                    <a:cubicBezTo>
                      <a:pt x="-807" y="161106"/>
                      <a:pt x="2929" y="157371"/>
                      <a:pt x="7556" y="157371"/>
                    </a:cubicBezTo>
                    <a:lnTo>
                      <a:pt x="911152" y="157371"/>
                    </a:lnTo>
                    <a:cubicBezTo>
                      <a:pt x="964954" y="157316"/>
                      <a:pt x="1008609" y="113660"/>
                      <a:pt x="1008665" y="59858"/>
                    </a:cubicBezTo>
                    <a:lnTo>
                      <a:pt x="1008665" y="7896"/>
                    </a:lnTo>
                    <a:cubicBezTo>
                      <a:pt x="1008665" y="3269"/>
                      <a:pt x="1012400" y="-467"/>
                      <a:pt x="1017028" y="-467"/>
                    </a:cubicBezTo>
                    <a:cubicBezTo>
                      <a:pt x="1021655" y="-467"/>
                      <a:pt x="1025391" y="3269"/>
                      <a:pt x="1025391" y="7896"/>
                    </a:cubicBezTo>
                    <a:lnTo>
                      <a:pt x="1025391" y="60025"/>
                    </a:lnTo>
                    <a:cubicBezTo>
                      <a:pt x="1025223" y="123027"/>
                      <a:pt x="974153" y="174042"/>
                      <a:pt x="911152" y="174097"/>
                    </a:cubicBezTo>
                    <a:close/>
                  </a:path>
                </a:pathLst>
              </a:custGeom>
              <a:solidFill>
                <a:srgbClr val="30373B"/>
              </a:solidFill>
              <a:ln w="5573" cap="flat">
                <a:noFill/>
                <a:prstDash val="solid"/>
                <a:miter/>
              </a:ln>
            </p:spPr>
            <p:txBody>
              <a:bodyPr rtlCol="0" anchor="ctr"/>
              <a:lstStyle/>
              <a:p>
                <a:endParaRPr lang="en-GB"/>
              </a:p>
            </p:txBody>
          </p:sp>
          <p:sp>
            <p:nvSpPr>
              <p:cNvPr id="128" name="Graphic 6">
                <a:extLst>
                  <a:ext uri="{FF2B5EF4-FFF2-40B4-BE49-F238E27FC236}">
                    <a16:creationId xmlns:a16="http://schemas.microsoft.com/office/drawing/2014/main" id="{5C9CCC71-9426-10BA-D9BF-9F3E9EEB8E51}"/>
                  </a:ext>
                </a:extLst>
              </p:cNvPr>
              <p:cNvSpPr/>
              <p:nvPr/>
            </p:nvSpPr>
            <p:spPr>
              <a:xfrm>
                <a:off x="7431755" y="5848334"/>
                <a:ext cx="330840" cy="16726"/>
              </a:xfrm>
              <a:custGeom>
                <a:avLst/>
                <a:gdLst>
                  <a:gd name="connsiteX0" fmla="*/ 321671 w 330840"/>
                  <a:gd name="connsiteY0" fmla="*/ 16259 h 16726"/>
                  <a:gd name="connsiteX1" fmla="*/ 7556 w 330840"/>
                  <a:gd name="connsiteY1" fmla="*/ 16259 h 16726"/>
                  <a:gd name="connsiteX2" fmla="*/ -807 w 330840"/>
                  <a:gd name="connsiteY2" fmla="*/ 7896 h 16726"/>
                  <a:gd name="connsiteX3" fmla="*/ 7556 w 330840"/>
                  <a:gd name="connsiteY3" fmla="*/ -467 h 16726"/>
                  <a:gd name="connsiteX4" fmla="*/ 321671 w 330840"/>
                  <a:gd name="connsiteY4" fmla="*/ -467 h 16726"/>
                  <a:gd name="connsiteX5" fmla="*/ 330034 w 330840"/>
                  <a:gd name="connsiteY5" fmla="*/ 7896 h 16726"/>
                  <a:gd name="connsiteX6" fmla="*/ 321671 w 33084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840" h="16726">
                    <a:moveTo>
                      <a:pt x="321671" y="16259"/>
                    </a:moveTo>
                    <a:lnTo>
                      <a:pt x="7556" y="16259"/>
                    </a:lnTo>
                    <a:cubicBezTo>
                      <a:pt x="2928" y="16259"/>
                      <a:pt x="-807" y="12523"/>
                      <a:pt x="-807" y="7896"/>
                    </a:cubicBezTo>
                    <a:cubicBezTo>
                      <a:pt x="-807" y="3268"/>
                      <a:pt x="2928" y="-467"/>
                      <a:pt x="7556" y="-467"/>
                    </a:cubicBezTo>
                    <a:lnTo>
                      <a:pt x="321671" y="-467"/>
                    </a:lnTo>
                    <a:cubicBezTo>
                      <a:pt x="326298" y="-467"/>
                      <a:pt x="330034" y="3268"/>
                      <a:pt x="330034" y="7896"/>
                    </a:cubicBezTo>
                    <a:cubicBezTo>
                      <a:pt x="330034" y="12523"/>
                      <a:pt x="326298" y="16259"/>
                      <a:pt x="321671" y="16259"/>
                    </a:cubicBezTo>
                    <a:close/>
                  </a:path>
                </a:pathLst>
              </a:custGeom>
              <a:solidFill>
                <a:srgbClr val="30373B"/>
              </a:solidFill>
              <a:ln w="5573" cap="flat">
                <a:noFill/>
                <a:prstDash val="solid"/>
                <a:miter/>
              </a:ln>
            </p:spPr>
            <p:txBody>
              <a:bodyPr rtlCol="0" anchor="ctr"/>
              <a:lstStyle/>
              <a:p>
                <a:endParaRPr lang="en-GB"/>
              </a:p>
            </p:txBody>
          </p:sp>
          <p:sp>
            <p:nvSpPr>
              <p:cNvPr id="129" name="Graphic 6">
                <a:extLst>
                  <a:ext uri="{FF2B5EF4-FFF2-40B4-BE49-F238E27FC236}">
                    <a16:creationId xmlns:a16="http://schemas.microsoft.com/office/drawing/2014/main" id="{850CDA10-5619-79AB-F602-086A6E0975AD}"/>
                  </a:ext>
                </a:extLst>
              </p:cNvPr>
              <p:cNvSpPr/>
              <p:nvPr/>
            </p:nvSpPr>
            <p:spPr>
              <a:xfrm>
                <a:off x="6403885" y="5848334"/>
                <a:ext cx="880290" cy="16726"/>
              </a:xfrm>
              <a:custGeom>
                <a:avLst/>
                <a:gdLst>
                  <a:gd name="connsiteX0" fmla="*/ 871121 w 880290"/>
                  <a:gd name="connsiteY0" fmla="*/ 16259 h 16726"/>
                  <a:gd name="connsiteX1" fmla="*/ 7556 w 880290"/>
                  <a:gd name="connsiteY1" fmla="*/ 16259 h 16726"/>
                  <a:gd name="connsiteX2" fmla="*/ -807 w 880290"/>
                  <a:gd name="connsiteY2" fmla="*/ 7896 h 16726"/>
                  <a:gd name="connsiteX3" fmla="*/ 7556 w 880290"/>
                  <a:gd name="connsiteY3" fmla="*/ -467 h 16726"/>
                  <a:gd name="connsiteX4" fmla="*/ 871121 w 880290"/>
                  <a:gd name="connsiteY4" fmla="*/ -467 h 16726"/>
                  <a:gd name="connsiteX5" fmla="*/ 879484 w 880290"/>
                  <a:gd name="connsiteY5" fmla="*/ 7896 h 16726"/>
                  <a:gd name="connsiteX6" fmla="*/ 871121 w 88029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290" h="16726">
                    <a:moveTo>
                      <a:pt x="871121" y="16259"/>
                    </a:moveTo>
                    <a:lnTo>
                      <a:pt x="7556" y="16259"/>
                    </a:lnTo>
                    <a:cubicBezTo>
                      <a:pt x="2928" y="16259"/>
                      <a:pt x="-807" y="12523"/>
                      <a:pt x="-807" y="7896"/>
                    </a:cubicBezTo>
                    <a:cubicBezTo>
                      <a:pt x="-807" y="3268"/>
                      <a:pt x="2928" y="-467"/>
                      <a:pt x="7556" y="-467"/>
                    </a:cubicBezTo>
                    <a:lnTo>
                      <a:pt x="871121" y="-467"/>
                    </a:lnTo>
                    <a:cubicBezTo>
                      <a:pt x="875748" y="-467"/>
                      <a:pt x="879484" y="3268"/>
                      <a:pt x="879484" y="7896"/>
                    </a:cubicBezTo>
                    <a:cubicBezTo>
                      <a:pt x="879484" y="12523"/>
                      <a:pt x="875748" y="16259"/>
                      <a:pt x="871121" y="16259"/>
                    </a:cubicBezTo>
                    <a:close/>
                  </a:path>
                </a:pathLst>
              </a:custGeom>
              <a:solidFill>
                <a:srgbClr val="30373B"/>
              </a:solidFill>
              <a:ln w="5573" cap="flat">
                <a:noFill/>
                <a:prstDash val="solid"/>
                <a:miter/>
              </a:ln>
            </p:spPr>
            <p:txBody>
              <a:bodyPr rtlCol="0" anchor="ctr"/>
              <a:lstStyle/>
              <a:p>
                <a:endParaRPr lang="en-GB"/>
              </a:p>
            </p:txBody>
          </p:sp>
          <p:sp>
            <p:nvSpPr>
              <p:cNvPr id="130" name="Graphic 6">
                <a:extLst>
                  <a:ext uri="{FF2B5EF4-FFF2-40B4-BE49-F238E27FC236}">
                    <a16:creationId xmlns:a16="http://schemas.microsoft.com/office/drawing/2014/main" id="{71F4FB02-6C27-0ED6-8DA8-4271F7E8E229}"/>
                  </a:ext>
                </a:extLst>
              </p:cNvPr>
              <p:cNvSpPr/>
              <p:nvPr/>
            </p:nvSpPr>
            <p:spPr>
              <a:xfrm>
                <a:off x="5729158" y="4877612"/>
                <a:ext cx="509809" cy="987448"/>
              </a:xfrm>
              <a:custGeom>
                <a:avLst/>
                <a:gdLst>
                  <a:gd name="connsiteX0" fmla="*/ 500639 w 509809"/>
                  <a:gd name="connsiteY0" fmla="*/ 986982 h 987448"/>
                  <a:gd name="connsiteX1" fmla="*/ 113432 w 509809"/>
                  <a:gd name="connsiteY1" fmla="*/ 986982 h 987448"/>
                  <a:gd name="connsiteX2" fmla="*/ -807 w 509809"/>
                  <a:gd name="connsiteY2" fmla="*/ 872743 h 987448"/>
                  <a:gd name="connsiteX3" fmla="*/ -807 w 509809"/>
                  <a:gd name="connsiteY3" fmla="*/ 7896 h 987448"/>
                  <a:gd name="connsiteX4" fmla="*/ 7556 w 509809"/>
                  <a:gd name="connsiteY4" fmla="*/ -467 h 987448"/>
                  <a:gd name="connsiteX5" fmla="*/ 15919 w 509809"/>
                  <a:gd name="connsiteY5" fmla="*/ 7896 h 987448"/>
                  <a:gd name="connsiteX6" fmla="*/ 15919 w 509809"/>
                  <a:gd name="connsiteY6" fmla="*/ 872743 h 987448"/>
                  <a:gd name="connsiteX7" fmla="*/ 113432 w 509809"/>
                  <a:gd name="connsiteY7" fmla="*/ 970256 h 987448"/>
                  <a:gd name="connsiteX8" fmla="*/ 500639 w 509809"/>
                  <a:gd name="connsiteY8" fmla="*/ 970256 h 987448"/>
                  <a:gd name="connsiteX9" fmla="*/ 509003 w 509809"/>
                  <a:gd name="connsiteY9" fmla="*/ 978619 h 987448"/>
                  <a:gd name="connsiteX10" fmla="*/ 500639 w 509809"/>
                  <a:gd name="connsiteY10" fmla="*/ 986982 h 98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809" h="987448">
                    <a:moveTo>
                      <a:pt x="500639" y="986982"/>
                    </a:moveTo>
                    <a:lnTo>
                      <a:pt x="113432" y="986982"/>
                    </a:lnTo>
                    <a:cubicBezTo>
                      <a:pt x="50364" y="986926"/>
                      <a:pt x="-745" y="935800"/>
                      <a:pt x="-807" y="872743"/>
                    </a:cubicBezTo>
                    <a:lnTo>
                      <a:pt x="-807" y="7896"/>
                    </a:lnTo>
                    <a:cubicBezTo>
                      <a:pt x="-807" y="3280"/>
                      <a:pt x="2940" y="-467"/>
                      <a:pt x="7556" y="-467"/>
                    </a:cubicBezTo>
                    <a:cubicBezTo>
                      <a:pt x="12173" y="-467"/>
                      <a:pt x="15919" y="3280"/>
                      <a:pt x="15919" y="7896"/>
                    </a:cubicBezTo>
                    <a:lnTo>
                      <a:pt x="15919" y="872743"/>
                    </a:lnTo>
                    <a:cubicBezTo>
                      <a:pt x="15981" y="926545"/>
                      <a:pt x="59602" y="970200"/>
                      <a:pt x="113432" y="970256"/>
                    </a:cubicBezTo>
                    <a:lnTo>
                      <a:pt x="500639" y="970256"/>
                    </a:lnTo>
                    <a:cubicBezTo>
                      <a:pt x="505267" y="970256"/>
                      <a:pt x="509003" y="973991"/>
                      <a:pt x="509003" y="978619"/>
                    </a:cubicBezTo>
                    <a:cubicBezTo>
                      <a:pt x="509003" y="983246"/>
                      <a:pt x="505267" y="986982"/>
                      <a:pt x="500639" y="986982"/>
                    </a:cubicBezTo>
                    <a:close/>
                  </a:path>
                </a:pathLst>
              </a:custGeom>
              <a:solidFill>
                <a:srgbClr val="30373B"/>
              </a:solidFill>
              <a:ln w="5573" cap="flat">
                <a:noFill/>
                <a:prstDash val="solid"/>
                <a:miter/>
              </a:ln>
            </p:spPr>
            <p:txBody>
              <a:bodyPr rtlCol="0" anchor="ctr"/>
              <a:lstStyle/>
              <a:p>
                <a:endParaRPr lang="en-GB"/>
              </a:p>
            </p:txBody>
          </p:sp>
          <p:sp>
            <p:nvSpPr>
              <p:cNvPr id="131" name="Graphic 6">
                <a:extLst>
                  <a:ext uri="{FF2B5EF4-FFF2-40B4-BE49-F238E27FC236}">
                    <a16:creationId xmlns:a16="http://schemas.microsoft.com/office/drawing/2014/main" id="{53FC2B8F-212D-171A-E592-A2CCBED2B2C1}"/>
                  </a:ext>
                </a:extLst>
              </p:cNvPr>
              <p:cNvSpPr/>
              <p:nvPr/>
            </p:nvSpPr>
            <p:spPr>
              <a:xfrm>
                <a:off x="5729158" y="2810833"/>
                <a:ext cx="1178961" cy="1849451"/>
              </a:xfrm>
              <a:custGeom>
                <a:avLst/>
                <a:gdLst>
                  <a:gd name="connsiteX0" fmla="*/ 7556 w 1178961"/>
                  <a:gd name="connsiteY0" fmla="*/ 1848985 h 1849451"/>
                  <a:gd name="connsiteX1" fmla="*/ -807 w 1178961"/>
                  <a:gd name="connsiteY1" fmla="*/ 1840622 h 1849451"/>
                  <a:gd name="connsiteX2" fmla="*/ -807 w 1178961"/>
                  <a:gd name="connsiteY2" fmla="*/ 168912 h 1849451"/>
                  <a:gd name="connsiteX3" fmla="*/ 168405 w 1178961"/>
                  <a:gd name="connsiteY3" fmla="*/ -467 h 1849451"/>
                  <a:gd name="connsiteX4" fmla="*/ 1169792 w 1178961"/>
                  <a:gd name="connsiteY4" fmla="*/ -467 h 1849451"/>
                  <a:gd name="connsiteX5" fmla="*/ 1178155 w 1178961"/>
                  <a:gd name="connsiteY5" fmla="*/ 7896 h 1849451"/>
                  <a:gd name="connsiteX6" fmla="*/ 1169792 w 1178961"/>
                  <a:gd name="connsiteY6" fmla="*/ 16259 h 1849451"/>
                  <a:gd name="connsiteX7" fmla="*/ 168405 w 1178961"/>
                  <a:gd name="connsiteY7" fmla="*/ 16259 h 1849451"/>
                  <a:gd name="connsiteX8" fmla="*/ 15752 w 1178961"/>
                  <a:gd name="connsiteY8" fmla="*/ 168856 h 1849451"/>
                  <a:gd name="connsiteX9" fmla="*/ 15752 w 1178961"/>
                  <a:gd name="connsiteY9" fmla="*/ 1840622 h 1849451"/>
                  <a:gd name="connsiteX10" fmla="*/ 7556 w 1178961"/>
                  <a:gd name="connsiteY10" fmla="*/ 1848985 h 184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8961" h="1849451">
                    <a:moveTo>
                      <a:pt x="7556" y="1848985"/>
                    </a:moveTo>
                    <a:cubicBezTo>
                      <a:pt x="2940" y="1848985"/>
                      <a:pt x="-807" y="1845238"/>
                      <a:pt x="-807" y="1840622"/>
                    </a:cubicBezTo>
                    <a:lnTo>
                      <a:pt x="-807" y="168912"/>
                    </a:lnTo>
                    <a:cubicBezTo>
                      <a:pt x="-712" y="75469"/>
                      <a:pt x="74962" y="-283"/>
                      <a:pt x="168405" y="-467"/>
                    </a:cubicBezTo>
                    <a:lnTo>
                      <a:pt x="1169792" y="-467"/>
                    </a:lnTo>
                    <a:cubicBezTo>
                      <a:pt x="1174419" y="-467"/>
                      <a:pt x="1178155" y="3280"/>
                      <a:pt x="1178155" y="7896"/>
                    </a:cubicBezTo>
                    <a:cubicBezTo>
                      <a:pt x="1178155" y="12513"/>
                      <a:pt x="1174419" y="16259"/>
                      <a:pt x="1169792" y="16259"/>
                    </a:cubicBezTo>
                    <a:lnTo>
                      <a:pt x="168405" y="16259"/>
                    </a:lnTo>
                    <a:cubicBezTo>
                      <a:pt x="84156" y="16354"/>
                      <a:pt x="15875" y="84607"/>
                      <a:pt x="15752" y="168856"/>
                    </a:cubicBezTo>
                    <a:lnTo>
                      <a:pt x="15752" y="1840622"/>
                    </a:lnTo>
                    <a:cubicBezTo>
                      <a:pt x="15752" y="1845177"/>
                      <a:pt x="12111" y="1848896"/>
                      <a:pt x="7556" y="1848985"/>
                    </a:cubicBezTo>
                    <a:close/>
                  </a:path>
                </a:pathLst>
              </a:custGeom>
              <a:solidFill>
                <a:srgbClr val="30373B"/>
              </a:solidFill>
              <a:ln w="5573" cap="flat">
                <a:noFill/>
                <a:prstDash val="solid"/>
                <a:miter/>
              </a:ln>
            </p:spPr>
            <p:txBody>
              <a:bodyPr rtlCol="0" anchor="ctr"/>
              <a:lstStyle/>
              <a:p>
                <a:endParaRPr lang="en-GB"/>
              </a:p>
            </p:txBody>
          </p:sp>
          <p:sp>
            <p:nvSpPr>
              <p:cNvPr id="132" name="Graphic 6">
                <a:extLst>
                  <a:ext uri="{FF2B5EF4-FFF2-40B4-BE49-F238E27FC236}">
                    <a16:creationId xmlns:a16="http://schemas.microsoft.com/office/drawing/2014/main" id="{4B43CDB7-D61F-36C8-5DAF-064BB718372B}"/>
                  </a:ext>
                </a:extLst>
              </p:cNvPr>
              <p:cNvSpPr/>
              <p:nvPr/>
            </p:nvSpPr>
            <p:spPr>
              <a:xfrm>
                <a:off x="7060214" y="2810833"/>
                <a:ext cx="237397" cy="16726"/>
              </a:xfrm>
              <a:custGeom>
                <a:avLst/>
                <a:gdLst>
                  <a:gd name="connsiteX0" fmla="*/ 228228 w 237397"/>
                  <a:gd name="connsiteY0" fmla="*/ 16259 h 16726"/>
                  <a:gd name="connsiteX1" fmla="*/ 7556 w 237397"/>
                  <a:gd name="connsiteY1" fmla="*/ 16259 h 16726"/>
                  <a:gd name="connsiteX2" fmla="*/ -807 w 237397"/>
                  <a:gd name="connsiteY2" fmla="*/ 7896 h 16726"/>
                  <a:gd name="connsiteX3" fmla="*/ 7556 w 237397"/>
                  <a:gd name="connsiteY3" fmla="*/ -467 h 16726"/>
                  <a:gd name="connsiteX4" fmla="*/ 228228 w 237397"/>
                  <a:gd name="connsiteY4" fmla="*/ -467 h 16726"/>
                  <a:gd name="connsiteX5" fmla="*/ 236591 w 237397"/>
                  <a:gd name="connsiteY5" fmla="*/ 7896 h 16726"/>
                  <a:gd name="connsiteX6" fmla="*/ 228228 w 237397"/>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397" h="16726">
                    <a:moveTo>
                      <a:pt x="228228" y="16259"/>
                    </a:moveTo>
                    <a:lnTo>
                      <a:pt x="7556" y="16259"/>
                    </a:lnTo>
                    <a:cubicBezTo>
                      <a:pt x="2929" y="16259"/>
                      <a:pt x="-807" y="12513"/>
                      <a:pt x="-807" y="7896"/>
                    </a:cubicBezTo>
                    <a:cubicBezTo>
                      <a:pt x="-807" y="3280"/>
                      <a:pt x="2929" y="-467"/>
                      <a:pt x="7556" y="-467"/>
                    </a:cubicBezTo>
                    <a:lnTo>
                      <a:pt x="228228" y="-467"/>
                    </a:lnTo>
                    <a:cubicBezTo>
                      <a:pt x="232856" y="-467"/>
                      <a:pt x="236591" y="3280"/>
                      <a:pt x="236591" y="7896"/>
                    </a:cubicBezTo>
                    <a:cubicBezTo>
                      <a:pt x="236591" y="12513"/>
                      <a:pt x="232856" y="16259"/>
                      <a:pt x="228228" y="16259"/>
                    </a:cubicBezTo>
                    <a:close/>
                  </a:path>
                </a:pathLst>
              </a:custGeom>
              <a:solidFill>
                <a:srgbClr val="30373B"/>
              </a:solidFill>
              <a:ln w="5573" cap="flat">
                <a:noFill/>
                <a:prstDash val="solid"/>
                <a:miter/>
              </a:ln>
            </p:spPr>
            <p:txBody>
              <a:bodyPr rtlCol="0" anchor="ctr"/>
              <a:lstStyle/>
              <a:p>
                <a:endParaRPr lang="en-GB"/>
              </a:p>
            </p:txBody>
          </p:sp>
          <p:sp>
            <p:nvSpPr>
              <p:cNvPr id="133" name="Graphic 6">
                <a:extLst>
                  <a:ext uri="{FF2B5EF4-FFF2-40B4-BE49-F238E27FC236}">
                    <a16:creationId xmlns:a16="http://schemas.microsoft.com/office/drawing/2014/main" id="{24A65A9D-16F7-CC3A-9DE5-0F3717A3189D}"/>
                  </a:ext>
                </a:extLst>
              </p:cNvPr>
              <p:cNvSpPr/>
              <p:nvPr/>
            </p:nvSpPr>
            <p:spPr>
              <a:xfrm>
                <a:off x="7431755" y="2810833"/>
                <a:ext cx="1523405" cy="1847054"/>
              </a:xfrm>
              <a:custGeom>
                <a:avLst/>
                <a:gdLst>
                  <a:gd name="connsiteX0" fmla="*/ 1514236 w 1523405"/>
                  <a:gd name="connsiteY0" fmla="*/ 1846588 h 1847054"/>
                  <a:gd name="connsiteX1" fmla="*/ 1505873 w 1523405"/>
                  <a:gd name="connsiteY1" fmla="*/ 1838225 h 1847054"/>
                  <a:gd name="connsiteX2" fmla="*/ 1505873 w 1523405"/>
                  <a:gd name="connsiteY2" fmla="*/ 168912 h 1847054"/>
                  <a:gd name="connsiteX3" fmla="*/ 1353220 w 1523405"/>
                  <a:gd name="connsiteY3" fmla="*/ 16259 h 1847054"/>
                  <a:gd name="connsiteX4" fmla="*/ 7556 w 1523405"/>
                  <a:gd name="connsiteY4" fmla="*/ 16259 h 1847054"/>
                  <a:gd name="connsiteX5" fmla="*/ -807 w 1523405"/>
                  <a:gd name="connsiteY5" fmla="*/ 7896 h 1847054"/>
                  <a:gd name="connsiteX6" fmla="*/ 7556 w 1523405"/>
                  <a:gd name="connsiteY6" fmla="*/ -467 h 1847054"/>
                  <a:gd name="connsiteX7" fmla="*/ 1353220 w 1523405"/>
                  <a:gd name="connsiteY7" fmla="*/ -467 h 1847054"/>
                  <a:gd name="connsiteX8" fmla="*/ 1522599 w 1523405"/>
                  <a:gd name="connsiteY8" fmla="*/ 168856 h 1847054"/>
                  <a:gd name="connsiteX9" fmla="*/ 1522599 w 1523405"/>
                  <a:gd name="connsiteY9" fmla="*/ 1838225 h 1847054"/>
                  <a:gd name="connsiteX10" fmla="*/ 1514236 w 1523405"/>
                  <a:gd name="connsiteY10" fmla="*/ 1846588 h 184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3405" h="1847054">
                    <a:moveTo>
                      <a:pt x="1514236" y="1846588"/>
                    </a:moveTo>
                    <a:cubicBezTo>
                      <a:pt x="1509608" y="1846588"/>
                      <a:pt x="1505873" y="1842841"/>
                      <a:pt x="1505873" y="1838225"/>
                    </a:cubicBezTo>
                    <a:lnTo>
                      <a:pt x="1505873" y="168912"/>
                    </a:lnTo>
                    <a:cubicBezTo>
                      <a:pt x="1505762" y="84641"/>
                      <a:pt x="1437464" y="16354"/>
                      <a:pt x="1353220" y="16259"/>
                    </a:cubicBezTo>
                    <a:lnTo>
                      <a:pt x="7556" y="16259"/>
                    </a:lnTo>
                    <a:cubicBezTo>
                      <a:pt x="2928" y="16259"/>
                      <a:pt x="-807" y="12513"/>
                      <a:pt x="-807" y="7896"/>
                    </a:cubicBezTo>
                    <a:cubicBezTo>
                      <a:pt x="-807" y="3280"/>
                      <a:pt x="2928" y="-467"/>
                      <a:pt x="7556" y="-467"/>
                    </a:cubicBezTo>
                    <a:lnTo>
                      <a:pt x="1353220" y="-467"/>
                    </a:lnTo>
                    <a:cubicBezTo>
                      <a:pt x="1446719" y="-372"/>
                      <a:pt x="1522488" y="75369"/>
                      <a:pt x="1522599" y="168856"/>
                    </a:cubicBezTo>
                    <a:lnTo>
                      <a:pt x="1522599" y="1838225"/>
                    </a:lnTo>
                    <a:cubicBezTo>
                      <a:pt x="1522599" y="1842841"/>
                      <a:pt x="1518864" y="1846588"/>
                      <a:pt x="1514236" y="1846588"/>
                    </a:cubicBezTo>
                    <a:close/>
                  </a:path>
                </a:pathLst>
              </a:custGeom>
              <a:solidFill>
                <a:srgbClr val="30373B"/>
              </a:solidFill>
              <a:ln w="5573" cap="flat">
                <a:noFill/>
                <a:prstDash val="solid"/>
                <a:miter/>
              </a:ln>
            </p:spPr>
            <p:txBody>
              <a:bodyPr rtlCol="0" anchor="ctr"/>
              <a:lstStyle/>
              <a:p>
                <a:endParaRPr lang="en-GB"/>
              </a:p>
            </p:txBody>
          </p:sp>
          <p:sp>
            <p:nvSpPr>
              <p:cNvPr id="134" name="Graphic 6">
                <a:extLst>
                  <a:ext uri="{FF2B5EF4-FFF2-40B4-BE49-F238E27FC236}">
                    <a16:creationId xmlns:a16="http://schemas.microsoft.com/office/drawing/2014/main" id="{50ACB1D3-7A71-A8CC-A19A-6DEE811E1A97}"/>
                  </a:ext>
                </a:extLst>
              </p:cNvPr>
              <p:cNvSpPr/>
              <p:nvPr/>
            </p:nvSpPr>
            <p:spPr>
              <a:xfrm>
                <a:off x="8730738" y="4140125"/>
                <a:ext cx="47182" cy="573515"/>
              </a:xfrm>
              <a:custGeom>
                <a:avLst/>
                <a:gdLst>
                  <a:gd name="connsiteX0" fmla="*/ 7572 w 47182"/>
                  <a:gd name="connsiteY0" fmla="*/ 573049 h 573515"/>
                  <a:gd name="connsiteX1" fmla="*/ 6959 w 47182"/>
                  <a:gd name="connsiteY1" fmla="*/ 573049 h 573515"/>
                  <a:gd name="connsiteX2" fmla="*/ -791 w 47182"/>
                  <a:gd name="connsiteY2" fmla="*/ 564128 h 573515"/>
                  <a:gd name="connsiteX3" fmla="*/ 29650 w 47182"/>
                  <a:gd name="connsiteY3" fmla="*/ 123119 h 573515"/>
                  <a:gd name="connsiteX4" fmla="*/ 24577 w 47182"/>
                  <a:gd name="connsiteY4" fmla="*/ 8267 h 573515"/>
                  <a:gd name="connsiteX5" fmla="*/ 32605 w 47182"/>
                  <a:gd name="connsiteY5" fmla="*/ -459 h 573515"/>
                  <a:gd name="connsiteX6" fmla="*/ 41303 w 47182"/>
                  <a:gd name="connsiteY6" fmla="*/ 7542 h 573515"/>
                  <a:gd name="connsiteX7" fmla="*/ 46376 w 47182"/>
                  <a:gd name="connsiteY7" fmla="*/ 122840 h 573515"/>
                  <a:gd name="connsiteX8" fmla="*/ 46376 w 47182"/>
                  <a:gd name="connsiteY8" fmla="*/ 123788 h 573515"/>
                  <a:gd name="connsiteX9" fmla="*/ 15824 w 47182"/>
                  <a:gd name="connsiteY9" fmla="*/ 565243 h 573515"/>
                  <a:gd name="connsiteX10" fmla="*/ 7572 w 47182"/>
                  <a:gd name="connsiteY10" fmla="*/ 573049 h 573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2" h="573515">
                    <a:moveTo>
                      <a:pt x="7572" y="573049"/>
                    </a:moveTo>
                    <a:lnTo>
                      <a:pt x="6959" y="573049"/>
                    </a:lnTo>
                    <a:cubicBezTo>
                      <a:pt x="2387" y="572692"/>
                      <a:pt x="-1070" y="568717"/>
                      <a:pt x="-791" y="564128"/>
                    </a:cubicBezTo>
                    <a:lnTo>
                      <a:pt x="29650" y="123119"/>
                    </a:lnTo>
                    <a:lnTo>
                      <a:pt x="24577" y="8267"/>
                    </a:lnTo>
                    <a:cubicBezTo>
                      <a:pt x="24354" y="3650"/>
                      <a:pt x="27978" y="-258"/>
                      <a:pt x="32605" y="-459"/>
                    </a:cubicBezTo>
                    <a:cubicBezTo>
                      <a:pt x="37177" y="-660"/>
                      <a:pt x="41080" y="2925"/>
                      <a:pt x="41303" y="7542"/>
                    </a:cubicBezTo>
                    <a:lnTo>
                      <a:pt x="46376" y="122840"/>
                    </a:lnTo>
                    <a:lnTo>
                      <a:pt x="46376" y="123788"/>
                    </a:lnTo>
                    <a:lnTo>
                      <a:pt x="15824" y="565243"/>
                    </a:lnTo>
                    <a:cubicBezTo>
                      <a:pt x="15544" y="569603"/>
                      <a:pt x="11921" y="572999"/>
                      <a:pt x="7572" y="573049"/>
                    </a:cubicBezTo>
                    <a:close/>
                  </a:path>
                </a:pathLst>
              </a:custGeom>
              <a:solidFill>
                <a:srgbClr val="30373B"/>
              </a:solidFill>
              <a:ln w="5573" cap="flat">
                <a:noFill/>
                <a:prstDash val="solid"/>
                <a:miter/>
              </a:ln>
            </p:spPr>
            <p:txBody>
              <a:bodyPr rtlCol="0" anchor="ctr"/>
              <a:lstStyle/>
              <a:p>
                <a:endParaRPr lang="en-GB"/>
              </a:p>
            </p:txBody>
          </p:sp>
          <p:sp>
            <p:nvSpPr>
              <p:cNvPr id="135" name="Graphic 6">
                <a:extLst>
                  <a:ext uri="{FF2B5EF4-FFF2-40B4-BE49-F238E27FC236}">
                    <a16:creationId xmlns:a16="http://schemas.microsoft.com/office/drawing/2014/main" id="{70490746-F00E-9B9D-81E5-CF638E30FE9F}"/>
                  </a:ext>
                </a:extLst>
              </p:cNvPr>
              <p:cNvSpPr/>
              <p:nvPr/>
            </p:nvSpPr>
            <p:spPr>
              <a:xfrm>
                <a:off x="8498660" y="4140014"/>
                <a:ext cx="102810" cy="575021"/>
              </a:xfrm>
              <a:custGeom>
                <a:avLst/>
                <a:gdLst>
                  <a:gd name="connsiteX0" fmla="*/ 7548 w 102810"/>
                  <a:gd name="connsiteY0" fmla="*/ 574554 h 575021"/>
                  <a:gd name="connsiteX1" fmla="*/ 5931 w 102810"/>
                  <a:gd name="connsiteY1" fmla="*/ 574554 h 575021"/>
                  <a:gd name="connsiteX2" fmla="*/ -648 w 102810"/>
                  <a:gd name="connsiteY2" fmla="*/ 564741 h 575021"/>
                  <a:gd name="connsiteX3" fmla="*/ 78410 w 102810"/>
                  <a:gd name="connsiteY3" fmla="*/ 163317 h 575021"/>
                  <a:gd name="connsiteX4" fmla="*/ 85268 w 102810"/>
                  <a:gd name="connsiteY4" fmla="*/ 7542 h 575021"/>
                  <a:gd name="connsiteX5" fmla="*/ 93966 w 102810"/>
                  <a:gd name="connsiteY5" fmla="*/ -459 h 575021"/>
                  <a:gd name="connsiteX6" fmla="*/ 101994 w 102810"/>
                  <a:gd name="connsiteY6" fmla="*/ 8266 h 575021"/>
                  <a:gd name="connsiteX7" fmla="*/ 95136 w 102810"/>
                  <a:gd name="connsiteY7" fmla="*/ 164376 h 575021"/>
                  <a:gd name="connsiteX8" fmla="*/ 95136 w 102810"/>
                  <a:gd name="connsiteY8" fmla="*/ 165658 h 575021"/>
                  <a:gd name="connsiteX9" fmla="*/ 15967 w 102810"/>
                  <a:gd name="connsiteY9" fmla="*/ 567417 h 575021"/>
                  <a:gd name="connsiteX10" fmla="*/ 7548 w 102810"/>
                  <a:gd name="connsiteY10" fmla="*/ 574554 h 57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810" h="575021">
                    <a:moveTo>
                      <a:pt x="7548" y="574554"/>
                    </a:moveTo>
                    <a:lnTo>
                      <a:pt x="5931" y="574554"/>
                    </a:lnTo>
                    <a:cubicBezTo>
                      <a:pt x="1415" y="573656"/>
                      <a:pt x="-1540" y="569268"/>
                      <a:pt x="-648" y="564741"/>
                    </a:cubicBezTo>
                    <a:lnTo>
                      <a:pt x="78410" y="163317"/>
                    </a:lnTo>
                    <a:lnTo>
                      <a:pt x="85268" y="7542"/>
                    </a:lnTo>
                    <a:cubicBezTo>
                      <a:pt x="85491" y="2925"/>
                      <a:pt x="89394" y="-660"/>
                      <a:pt x="93966" y="-459"/>
                    </a:cubicBezTo>
                    <a:cubicBezTo>
                      <a:pt x="98593" y="-258"/>
                      <a:pt x="102217" y="3650"/>
                      <a:pt x="101994" y="8266"/>
                    </a:cubicBezTo>
                    <a:lnTo>
                      <a:pt x="95136" y="164376"/>
                    </a:lnTo>
                    <a:cubicBezTo>
                      <a:pt x="95192" y="164800"/>
                      <a:pt x="95192" y="165235"/>
                      <a:pt x="95136" y="165658"/>
                    </a:cubicBezTo>
                    <a:lnTo>
                      <a:pt x="15967" y="567417"/>
                    </a:lnTo>
                    <a:cubicBezTo>
                      <a:pt x="15354" y="571560"/>
                      <a:pt x="11729" y="574604"/>
                      <a:pt x="7548" y="574554"/>
                    </a:cubicBezTo>
                    <a:close/>
                  </a:path>
                </a:pathLst>
              </a:custGeom>
              <a:solidFill>
                <a:srgbClr val="30373B"/>
              </a:solidFill>
              <a:ln w="5573" cap="flat">
                <a:noFill/>
                <a:prstDash val="solid"/>
                <a:miter/>
              </a:ln>
            </p:spPr>
            <p:txBody>
              <a:bodyPr rtlCol="0" anchor="ctr"/>
              <a:lstStyle/>
              <a:p>
                <a:endParaRPr lang="en-GB"/>
              </a:p>
            </p:txBody>
          </p:sp>
          <p:sp>
            <p:nvSpPr>
              <p:cNvPr id="136" name="Graphic 6">
                <a:extLst>
                  <a:ext uri="{FF2B5EF4-FFF2-40B4-BE49-F238E27FC236}">
                    <a16:creationId xmlns:a16="http://schemas.microsoft.com/office/drawing/2014/main" id="{A0D34FDE-724C-8B6C-2DDD-3B4D10BCAABB}"/>
                  </a:ext>
                </a:extLst>
              </p:cNvPr>
              <p:cNvSpPr/>
              <p:nvPr/>
            </p:nvSpPr>
            <p:spPr>
              <a:xfrm>
                <a:off x="8553234" y="4337429"/>
                <a:ext cx="126801" cy="377605"/>
              </a:xfrm>
              <a:custGeom>
                <a:avLst/>
                <a:gdLst>
                  <a:gd name="connsiteX0" fmla="*/ 7612 w 126801"/>
                  <a:gd name="connsiteY0" fmla="*/ 377139 h 377605"/>
                  <a:gd name="connsiteX1" fmla="*/ 5160 w 126801"/>
                  <a:gd name="connsiteY1" fmla="*/ 376748 h 377605"/>
                  <a:gd name="connsiteX2" fmla="*/ -472 w 126801"/>
                  <a:gd name="connsiteY2" fmla="*/ 366423 h 377605"/>
                  <a:gd name="connsiteX3" fmla="*/ -416 w 126801"/>
                  <a:gd name="connsiteY3" fmla="*/ 366322 h 377605"/>
                  <a:gd name="connsiteX4" fmla="*/ 109697 w 126801"/>
                  <a:gd name="connsiteY4" fmla="*/ 5264 h 377605"/>
                  <a:gd name="connsiteX5" fmla="*/ 120290 w 126801"/>
                  <a:gd name="connsiteY5" fmla="*/ -39 h 377605"/>
                  <a:gd name="connsiteX6" fmla="*/ 125698 w 126801"/>
                  <a:gd name="connsiteY6" fmla="*/ 10114 h 377605"/>
                  <a:gd name="connsiteX7" fmla="*/ 15474 w 126801"/>
                  <a:gd name="connsiteY7" fmla="*/ 371229 h 377605"/>
                  <a:gd name="connsiteX8" fmla="*/ 7612 w 126801"/>
                  <a:gd name="connsiteY8" fmla="*/ 377139 h 37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801" h="377605">
                    <a:moveTo>
                      <a:pt x="7612" y="377139"/>
                    </a:moveTo>
                    <a:cubicBezTo>
                      <a:pt x="6777" y="377139"/>
                      <a:pt x="5940" y="377011"/>
                      <a:pt x="5160" y="376748"/>
                    </a:cubicBezTo>
                    <a:cubicBezTo>
                      <a:pt x="755" y="375444"/>
                      <a:pt x="-1754" y="370822"/>
                      <a:pt x="-472" y="366423"/>
                    </a:cubicBezTo>
                    <a:cubicBezTo>
                      <a:pt x="-416" y="366389"/>
                      <a:pt x="-416" y="366356"/>
                      <a:pt x="-416" y="366322"/>
                    </a:cubicBezTo>
                    <a:lnTo>
                      <a:pt x="109697" y="5264"/>
                    </a:lnTo>
                    <a:cubicBezTo>
                      <a:pt x="111147" y="881"/>
                      <a:pt x="115886" y="-1494"/>
                      <a:pt x="120290" y="-39"/>
                    </a:cubicBezTo>
                    <a:cubicBezTo>
                      <a:pt x="124472" y="1366"/>
                      <a:pt x="126869" y="5826"/>
                      <a:pt x="125698" y="10114"/>
                    </a:cubicBezTo>
                    <a:lnTo>
                      <a:pt x="15474" y="371229"/>
                    </a:lnTo>
                    <a:cubicBezTo>
                      <a:pt x="14415" y="374697"/>
                      <a:pt x="11237" y="377083"/>
                      <a:pt x="7612" y="377139"/>
                    </a:cubicBezTo>
                    <a:close/>
                  </a:path>
                </a:pathLst>
              </a:custGeom>
              <a:solidFill>
                <a:srgbClr val="30373B"/>
              </a:solidFill>
              <a:ln w="5573" cap="flat">
                <a:noFill/>
                <a:prstDash val="solid"/>
                <a:miter/>
              </a:ln>
            </p:spPr>
            <p:txBody>
              <a:bodyPr rtlCol="0" anchor="ctr"/>
              <a:lstStyle/>
              <a:p>
                <a:endParaRPr lang="en-GB"/>
              </a:p>
            </p:txBody>
          </p:sp>
          <p:sp>
            <p:nvSpPr>
              <p:cNvPr id="137" name="Graphic 6">
                <a:extLst>
                  <a:ext uri="{FF2B5EF4-FFF2-40B4-BE49-F238E27FC236}">
                    <a16:creationId xmlns:a16="http://schemas.microsoft.com/office/drawing/2014/main" id="{1B525BE5-DD1E-7937-ABF5-57DA7A123578}"/>
                  </a:ext>
                </a:extLst>
              </p:cNvPr>
              <p:cNvSpPr/>
              <p:nvPr/>
            </p:nvSpPr>
            <p:spPr>
              <a:xfrm>
                <a:off x="8663735" y="4337249"/>
                <a:ext cx="23700" cy="376391"/>
              </a:xfrm>
              <a:custGeom>
                <a:avLst/>
                <a:gdLst>
                  <a:gd name="connsiteX0" fmla="*/ 14249 w 23700"/>
                  <a:gd name="connsiteY0" fmla="*/ 375924 h 376391"/>
                  <a:gd name="connsiteX1" fmla="*/ 5886 w 23700"/>
                  <a:gd name="connsiteY1" fmla="*/ 367729 h 376391"/>
                  <a:gd name="connsiteX2" fmla="*/ -804 w 23700"/>
                  <a:gd name="connsiteY2" fmla="*/ 8064 h 376391"/>
                  <a:gd name="connsiteX3" fmla="*/ 7391 w 23700"/>
                  <a:gd name="connsiteY3" fmla="*/ -467 h 376391"/>
                  <a:gd name="connsiteX4" fmla="*/ 7391 w 23700"/>
                  <a:gd name="connsiteY4" fmla="*/ -467 h 376391"/>
                  <a:gd name="connsiteX5" fmla="*/ 15922 w 23700"/>
                  <a:gd name="connsiteY5" fmla="*/ 7729 h 376391"/>
                  <a:gd name="connsiteX6" fmla="*/ 22891 w 23700"/>
                  <a:gd name="connsiteY6" fmla="*/ 367394 h 376391"/>
                  <a:gd name="connsiteX7" fmla="*/ 14695 w 23700"/>
                  <a:gd name="connsiteY7" fmla="*/ 375924 h 376391"/>
                  <a:gd name="connsiteX8" fmla="*/ 14695 w 23700"/>
                  <a:gd name="connsiteY8" fmla="*/ 375924 h 37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00" h="376391">
                    <a:moveTo>
                      <a:pt x="14249" y="375924"/>
                    </a:moveTo>
                    <a:cubicBezTo>
                      <a:pt x="9678" y="375924"/>
                      <a:pt x="5998" y="372284"/>
                      <a:pt x="5886" y="367729"/>
                    </a:cubicBezTo>
                    <a:lnTo>
                      <a:pt x="-804" y="8064"/>
                    </a:lnTo>
                    <a:cubicBezTo>
                      <a:pt x="-916" y="3447"/>
                      <a:pt x="2764" y="-372"/>
                      <a:pt x="7391" y="-467"/>
                    </a:cubicBezTo>
                    <a:cubicBezTo>
                      <a:pt x="7391" y="-467"/>
                      <a:pt x="7391" y="-467"/>
                      <a:pt x="7391" y="-467"/>
                    </a:cubicBezTo>
                    <a:cubicBezTo>
                      <a:pt x="11964" y="-500"/>
                      <a:pt x="15754" y="3135"/>
                      <a:pt x="15922" y="7729"/>
                    </a:cubicBezTo>
                    <a:lnTo>
                      <a:pt x="22891" y="367394"/>
                    </a:lnTo>
                    <a:cubicBezTo>
                      <a:pt x="23003" y="372011"/>
                      <a:pt x="19323" y="375830"/>
                      <a:pt x="14695" y="375924"/>
                    </a:cubicBezTo>
                    <a:cubicBezTo>
                      <a:pt x="14695" y="375924"/>
                      <a:pt x="14695" y="375924"/>
                      <a:pt x="14695" y="375924"/>
                    </a:cubicBezTo>
                    <a:close/>
                  </a:path>
                </a:pathLst>
              </a:custGeom>
              <a:solidFill>
                <a:srgbClr val="30373B"/>
              </a:solidFill>
              <a:ln w="5573" cap="flat">
                <a:noFill/>
                <a:prstDash val="solid"/>
                <a:miter/>
              </a:ln>
            </p:spPr>
            <p:txBody>
              <a:bodyPr rtlCol="0" anchor="ctr"/>
              <a:lstStyle/>
              <a:p>
                <a:endParaRPr lang="en-GB"/>
              </a:p>
            </p:txBody>
          </p:sp>
          <p:sp>
            <p:nvSpPr>
              <p:cNvPr id="138" name="Graphic 6">
                <a:extLst>
                  <a:ext uri="{FF2B5EF4-FFF2-40B4-BE49-F238E27FC236}">
                    <a16:creationId xmlns:a16="http://schemas.microsoft.com/office/drawing/2014/main" id="{8E4B648A-5460-A8C7-BC4B-C6D897E0834C}"/>
                  </a:ext>
                </a:extLst>
              </p:cNvPr>
              <p:cNvSpPr/>
              <p:nvPr/>
            </p:nvSpPr>
            <p:spPr>
              <a:xfrm>
                <a:off x="8366659" y="4005517"/>
                <a:ext cx="468743" cy="380853"/>
              </a:xfrm>
              <a:custGeom>
                <a:avLst/>
                <a:gdLst>
                  <a:gd name="connsiteX0" fmla="*/ 458793 w 468743"/>
                  <a:gd name="connsiteY0" fmla="*/ 380385 h 380853"/>
                  <a:gd name="connsiteX1" fmla="*/ 458793 w 468743"/>
                  <a:gd name="connsiteY1" fmla="*/ 380385 h 380853"/>
                  <a:gd name="connsiteX2" fmla="*/ 450486 w 468743"/>
                  <a:gd name="connsiteY2" fmla="*/ 371966 h 380853"/>
                  <a:gd name="connsiteX3" fmla="*/ 450486 w 468743"/>
                  <a:gd name="connsiteY3" fmla="*/ 371966 h 380853"/>
                  <a:gd name="connsiteX4" fmla="*/ 450486 w 468743"/>
                  <a:gd name="connsiteY4" fmla="*/ 109646 h 380853"/>
                  <a:gd name="connsiteX5" fmla="*/ 357545 w 468743"/>
                  <a:gd name="connsiteY5" fmla="*/ 16482 h 380853"/>
                  <a:gd name="connsiteX6" fmla="*/ 271629 w 468743"/>
                  <a:gd name="connsiteY6" fmla="*/ 16482 h 380853"/>
                  <a:gd name="connsiteX7" fmla="*/ 192627 w 468743"/>
                  <a:gd name="connsiteY7" fmla="*/ 111263 h 380853"/>
                  <a:gd name="connsiteX8" fmla="*/ 123882 w 468743"/>
                  <a:gd name="connsiteY8" fmla="*/ 198238 h 380853"/>
                  <a:gd name="connsiteX9" fmla="*/ 611 w 468743"/>
                  <a:gd name="connsiteY9" fmla="*/ 115444 h 380853"/>
                  <a:gd name="connsiteX10" fmla="*/ 2898 w 468743"/>
                  <a:gd name="connsiteY10" fmla="*/ 103836 h 380853"/>
                  <a:gd name="connsiteX11" fmla="*/ 14494 w 468743"/>
                  <a:gd name="connsiteY11" fmla="*/ 106111 h 380853"/>
                  <a:gd name="connsiteX12" fmla="*/ 15107 w 468743"/>
                  <a:gd name="connsiteY12" fmla="*/ 107193 h 380853"/>
                  <a:gd name="connsiteX13" fmla="*/ 123882 w 468743"/>
                  <a:gd name="connsiteY13" fmla="*/ 181512 h 380853"/>
                  <a:gd name="connsiteX14" fmla="*/ 176570 w 468743"/>
                  <a:gd name="connsiteY14" fmla="*/ 106524 h 380853"/>
                  <a:gd name="connsiteX15" fmla="*/ 271350 w 468743"/>
                  <a:gd name="connsiteY15" fmla="*/ -467 h 380853"/>
                  <a:gd name="connsiteX16" fmla="*/ 357601 w 468743"/>
                  <a:gd name="connsiteY16" fmla="*/ -467 h 380853"/>
                  <a:gd name="connsiteX17" fmla="*/ 467268 w 468743"/>
                  <a:gd name="connsiteY17" fmla="*/ 108921 h 380853"/>
                  <a:gd name="connsiteX18" fmla="*/ 467268 w 468743"/>
                  <a:gd name="connsiteY18" fmla="*/ 371854 h 380853"/>
                  <a:gd name="connsiteX19" fmla="*/ 459183 w 468743"/>
                  <a:gd name="connsiteY19" fmla="*/ 380385 h 380853"/>
                  <a:gd name="connsiteX20" fmla="*/ 458793 w 468743"/>
                  <a:gd name="connsiteY20" fmla="*/ 380385 h 38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8743" h="380853">
                    <a:moveTo>
                      <a:pt x="458793" y="380385"/>
                    </a:moveTo>
                    <a:lnTo>
                      <a:pt x="458793" y="380385"/>
                    </a:lnTo>
                    <a:cubicBezTo>
                      <a:pt x="454165" y="380357"/>
                      <a:pt x="450430" y="376588"/>
                      <a:pt x="450486" y="371966"/>
                    </a:cubicBezTo>
                    <a:cubicBezTo>
                      <a:pt x="450486" y="371966"/>
                      <a:pt x="450486" y="371966"/>
                      <a:pt x="450486" y="371966"/>
                    </a:cubicBezTo>
                    <a:cubicBezTo>
                      <a:pt x="450486" y="369847"/>
                      <a:pt x="451936" y="161329"/>
                      <a:pt x="450486" y="109646"/>
                    </a:cubicBezTo>
                    <a:cubicBezTo>
                      <a:pt x="449036" y="59133"/>
                      <a:pt x="406496" y="16482"/>
                      <a:pt x="357545" y="16482"/>
                    </a:cubicBezTo>
                    <a:lnTo>
                      <a:pt x="271629" y="16482"/>
                    </a:lnTo>
                    <a:cubicBezTo>
                      <a:pt x="220559" y="16482"/>
                      <a:pt x="206955" y="62646"/>
                      <a:pt x="192627" y="111263"/>
                    </a:cubicBezTo>
                    <a:cubicBezTo>
                      <a:pt x="180026" y="154026"/>
                      <a:pt x="167035" y="198238"/>
                      <a:pt x="123882" y="198238"/>
                    </a:cubicBezTo>
                    <a:cubicBezTo>
                      <a:pt x="48448" y="198238"/>
                      <a:pt x="2508" y="118845"/>
                      <a:pt x="611" y="115444"/>
                    </a:cubicBezTo>
                    <a:cubicBezTo>
                      <a:pt x="-1953" y="111609"/>
                      <a:pt x="-950" y="106412"/>
                      <a:pt x="2898" y="103836"/>
                    </a:cubicBezTo>
                    <a:cubicBezTo>
                      <a:pt x="6744" y="101261"/>
                      <a:pt x="11930" y="102281"/>
                      <a:pt x="14494" y="106111"/>
                    </a:cubicBezTo>
                    <a:cubicBezTo>
                      <a:pt x="14717" y="106457"/>
                      <a:pt x="14940" y="106819"/>
                      <a:pt x="15107" y="107193"/>
                    </a:cubicBezTo>
                    <a:cubicBezTo>
                      <a:pt x="15554" y="107917"/>
                      <a:pt x="58261" y="181512"/>
                      <a:pt x="123882" y="181512"/>
                    </a:cubicBezTo>
                    <a:cubicBezTo>
                      <a:pt x="152484" y="181512"/>
                      <a:pt x="162910" y="153190"/>
                      <a:pt x="176570" y="106524"/>
                    </a:cubicBezTo>
                    <a:cubicBezTo>
                      <a:pt x="191288" y="56346"/>
                      <a:pt x="208015" y="-467"/>
                      <a:pt x="271350" y="-467"/>
                    </a:cubicBezTo>
                    <a:lnTo>
                      <a:pt x="357601" y="-467"/>
                    </a:lnTo>
                    <a:cubicBezTo>
                      <a:pt x="415361" y="-467"/>
                      <a:pt x="465539" y="49711"/>
                      <a:pt x="467268" y="108921"/>
                    </a:cubicBezTo>
                    <a:cubicBezTo>
                      <a:pt x="468773" y="160883"/>
                      <a:pt x="467268" y="369736"/>
                      <a:pt x="467268" y="371854"/>
                    </a:cubicBezTo>
                    <a:cubicBezTo>
                      <a:pt x="467379" y="376443"/>
                      <a:pt x="463755" y="380262"/>
                      <a:pt x="459183" y="380385"/>
                    </a:cubicBezTo>
                    <a:cubicBezTo>
                      <a:pt x="459072" y="380385"/>
                      <a:pt x="458905" y="380390"/>
                      <a:pt x="458793" y="380385"/>
                    </a:cubicBezTo>
                    <a:close/>
                  </a:path>
                </a:pathLst>
              </a:custGeom>
              <a:solidFill>
                <a:srgbClr val="30373B"/>
              </a:solidFill>
              <a:ln w="5573" cap="flat">
                <a:noFill/>
                <a:prstDash val="solid"/>
                <a:miter/>
              </a:ln>
            </p:spPr>
            <p:txBody>
              <a:bodyPr rtlCol="0" anchor="ctr"/>
              <a:lstStyle/>
              <a:p>
                <a:endParaRPr lang="en-GB"/>
              </a:p>
            </p:txBody>
          </p:sp>
          <p:sp>
            <p:nvSpPr>
              <p:cNvPr id="139" name="Graphic 6">
                <a:extLst>
                  <a:ext uri="{FF2B5EF4-FFF2-40B4-BE49-F238E27FC236}">
                    <a16:creationId xmlns:a16="http://schemas.microsoft.com/office/drawing/2014/main" id="{FD1F8E36-A071-56BF-7EB2-545F8B342CA7}"/>
                  </a:ext>
                </a:extLst>
              </p:cNvPr>
              <p:cNvSpPr/>
              <p:nvPr/>
            </p:nvSpPr>
            <p:spPr>
              <a:xfrm>
                <a:off x="8605167" y="3835795"/>
                <a:ext cx="145574" cy="186615"/>
              </a:xfrm>
              <a:custGeom>
                <a:avLst/>
                <a:gdLst>
                  <a:gd name="connsiteX0" fmla="*/ 71814 w 145574"/>
                  <a:gd name="connsiteY0" fmla="*/ 186148 h 186615"/>
                  <a:gd name="connsiteX1" fmla="*/ 63451 w 145574"/>
                  <a:gd name="connsiteY1" fmla="*/ 177785 h 186615"/>
                  <a:gd name="connsiteX2" fmla="*/ 71814 w 145574"/>
                  <a:gd name="connsiteY2" fmla="*/ 169422 h 186615"/>
                  <a:gd name="connsiteX3" fmla="*/ 127567 w 145574"/>
                  <a:gd name="connsiteY3" fmla="*/ 91981 h 186615"/>
                  <a:gd name="connsiteX4" fmla="*/ 111733 w 145574"/>
                  <a:gd name="connsiteY4" fmla="*/ 31934 h 186615"/>
                  <a:gd name="connsiteX5" fmla="*/ 32173 w 145574"/>
                  <a:gd name="connsiteY5" fmla="*/ 31934 h 186615"/>
                  <a:gd name="connsiteX6" fmla="*/ 16394 w 145574"/>
                  <a:gd name="connsiteY6" fmla="*/ 91981 h 186615"/>
                  <a:gd name="connsiteX7" fmla="*/ 25761 w 145574"/>
                  <a:gd name="connsiteY7" fmla="*/ 129447 h 186615"/>
                  <a:gd name="connsiteX8" fmla="*/ 21580 w 145574"/>
                  <a:gd name="connsiteY8" fmla="*/ 140514 h 186615"/>
                  <a:gd name="connsiteX9" fmla="*/ 10485 w 145574"/>
                  <a:gd name="connsiteY9" fmla="*/ 136305 h 186615"/>
                  <a:gd name="connsiteX10" fmla="*/ -276 w 145574"/>
                  <a:gd name="connsiteY10" fmla="*/ 93430 h 186615"/>
                  <a:gd name="connsiteX11" fmla="*/ 19851 w 145574"/>
                  <a:gd name="connsiteY11" fmla="*/ 20951 h 186615"/>
                  <a:gd name="connsiteX12" fmla="*/ 124110 w 145574"/>
                  <a:gd name="connsiteY12" fmla="*/ 20951 h 186615"/>
                  <a:gd name="connsiteX13" fmla="*/ 144237 w 145574"/>
                  <a:gd name="connsiteY13" fmla="*/ 93430 h 186615"/>
                  <a:gd name="connsiteX14" fmla="*/ 71814 w 145574"/>
                  <a:gd name="connsiteY14" fmla="*/ 186148 h 18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74" h="186615">
                    <a:moveTo>
                      <a:pt x="71814" y="186148"/>
                    </a:moveTo>
                    <a:cubicBezTo>
                      <a:pt x="67186" y="186148"/>
                      <a:pt x="63451" y="182402"/>
                      <a:pt x="63451" y="177785"/>
                    </a:cubicBezTo>
                    <a:cubicBezTo>
                      <a:pt x="63451" y="173169"/>
                      <a:pt x="67186" y="169422"/>
                      <a:pt x="71814" y="169422"/>
                    </a:cubicBezTo>
                    <a:cubicBezTo>
                      <a:pt x="92220" y="169422"/>
                      <a:pt x="122939" y="142493"/>
                      <a:pt x="127567" y="91981"/>
                    </a:cubicBezTo>
                    <a:cubicBezTo>
                      <a:pt x="129797" y="66836"/>
                      <a:pt x="124166" y="45483"/>
                      <a:pt x="111733" y="31934"/>
                    </a:cubicBezTo>
                    <a:cubicBezTo>
                      <a:pt x="89487" y="10675"/>
                      <a:pt x="54419" y="10675"/>
                      <a:pt x="32173" y="31934"/>
                    </a:cubicBezTo>
                    <a:cubicBezTo>
                      <a:pt x="19795" y="45483"/>
                      <a:pt x="14165" y="66836"/>
                      <a:pt x="16394" y="91981"/>
                    </a:cubicBezTo>
                    <a:cubicBezTo>
                      <a:pt x="17398" y="104904"/>
                      <a:pt x="20576" y="117560"/>
                      <a:pt x="25761" y="129447"/>
                    </a:cubicBezTo>
                    <a:cubicBezTo>
                      <a:pt x="27657" y="133667"/>
                      <a:pt x="25761" y="138618"/>
                      <a:pt x="21580" y="140514"/>
                    </a:cubicBezTo>
                    <a:cubicBezTo>
                      <a:pt x="17343" y="142410"/>
                      <a:pt x="12380" y="140525"/>
                      <a:pt x="10485" y="136305"/>
                    </a:cubicBezTo>
                    <a:cubicBezTo>
                      <a:pt x="4519" y="122707"/>
                      <a:pt x="896" y="108222"/>
                      <a:pt x="-276" y="93430"/>
                    </a:cubicBezTo>
                    <a:cubicBezTo>
                      <a:pt x="-2896" y="63547"/>
                      <a:pt x="4241" y="37677"/>
                      <a:pt x="19851" y="20951"/>
                    </a:cubicBezTo>
                    <a:cubicBezTo>
                      <a:pt x="48732" y="-7606"/>
                      <a:pt x="95230" y="-7606"/>
                      <a:pt x="124110" y="20951"/>
                    </a:cubicBezTo>
                    <a:cubicBezTo>
                      <a:pt x="139721" y="37677"/>
                      <a:pt x="146858" y="63825"/>
                      <a:pt x="144237" y="93430"/>
                    </a:cubicBezTo>
                    <a:cubicBezTo>
                      <a:pt x="140112" y="138033"/>
                      <a:pt x="111399" y="186148"/>
                      <a:pt x="71814" y="186148"/>
                    </a:cubicBezTo>
                    <a:close/>
                  </a:path>
                </a:pathLst>
              </a:custGeom>
              <a:solidFill>
                <a:srgbClr val="30373B"/>
              </a:solidFill>
              <a:ln w="5573" cap="flat">
                <a:noFill/>
                <a:prstDash val="solid"/>
                <a:miter/>
              </a:ln>
            </p:spPr>
            <p:txBody>
              <a:bodyPr rtlCol="0" anchor="ctr"/>
              <a:lstStyle/>
              <a:p>
                <a:endParaRPr lang="en-GB"/>
              </a:p>
            </p:txBody>
          </p:sp>
          <p:sp>
            <p:nvSpPr>
              <p:cNvPr id="140" name="Graphic 6">
                <a:extLst>
                  <a:ext uri="{FF2B5EF4-FFF2-40B4-BE49-F238E27FC236}">
                    <a16:creationId xmlns:a16="http://schemas.microsoft.com/office/drawing/2014/main" id="{9DF74694-D977-6C32-ECBC-48DE77049F24}"/>
                  </a:ext>
                </a:extLst>
              </p:cNvPr>
              <p:cNvSpPr/>
              <p:nvPr/>
            </p:nvSpPr>
            <p:spPr>
              <a:xfrm>
                <a:off x="7898500" y="5644664"/>
                <a:ext cx="47189" cy="630128"/>
              </a:xfrm>
              <a:custGeom>
                <a:avLst/>
                <a:gdLst>
                  <a:gd name="connsiteX0" fmla="*/ 7523 w 47189"/>
                  <a:gd name="connsiteY0" fmla="*/ 629661 h 630128"/>
                  <a:gd name="connsiteX1" fmla="*/ 6966 w 47189"/>
                  <a:gd name="connsiteY1" fmla="*/ 629661 h 630128"/>
                  <a:gd name="connsiteX2" fmla="*/ -784 w 47189"/>
                  <a:gd name="connsiteY2" fmla="*/ 620740 h 630128"/>
                  <a:gd name="connsiteX3" fmla="*/ 29657 w 47189"/>
                  <a:gd name="connsiteY3" fmla="*/ 179675 h 630128"/>
                  <a:gd name="connsiteX4" fmla="*/ 24584 w 47189"/>
                  <a:gd name="connsiteY4" fmla="*/ 8177 h 630128"/>
                  <a:gd name="connsiteX5" fmla="*/ 32724 w 47189"/>
                  <a:gd name="connsiteY5" fmla="*/ -464 h 630128"/>
                  <a:gd name="connsiteX6" fmla="*/ 41310 w 47189"/>
                  <a:gd name="connsiteY6" fmla="*/ 7675 h 630128"/>
                  <a:gd name="connsiteX7" fmla="*/ 46383 w 47189"/>
                  <a:gd name="connsiteY7" fmla="*/ 179563 h 630128"/>
                  <a:gd name="connsiteX8" fmla="*/ 46383 w 47189"/>
                  <a:gd name="connsiteY8" fmla="*/ 180399 h 630128"/>
                  <a:gd name="connsiteX9" fmla="*/ 15886 w 47189"/>
                  <a:gd name="connsiteY9" fmla="*/ 621855 h 630128"/>
                  <a:gd name="connsiteX10" fmla="*/ 7523 w 47189"/>
                  <a:gd name="connsiteY10" fmla="*/ 629661 h 63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9" h="630128">
                    <a:moveTo>
                      <a:pt x="7523" y="629661"/>
                    </a:moveTo>
                    <a:lnTo>
                      <a:pt x="6966" y="629661"/>
                    </a:lnTo>
                    <a:cubicBezTo>
                      <a:pt x="2338" y="629326"/>
                      <a:pt x="-1119" y="625368"/>
                      <a:pt x="-784" y="620740"/>
                    </a:cubicBezTo>
                    <a:lnTo>
                      <a:pt x="29657" y="179675"/>
                    </a:lnTo>
                    <a:lnTo>
                      <a:pt x="24584" y="8177"/>
                    </a:lnTo>
                    <a:cubicBezTo>
                      <a:pt x="24472" y="3550"/>
                      <a:pt x="28096" y="-297"/>
                      <a:pt x="32724" y="-464"/>
                    </a:cubicBezTo>
                    <a:cubicBezTo>
                      <a:pt x="37295" y="-576"/>
                      <a:pt x="41198" y="3048"/>
                      <a:pt x="41310" y="7675"/>
                    </a:cubicBezTo>
                    <a:lnTo>
                      <a:pt x="46383" y="179563"/>
                    </a:lnTo>
                    <a:lnTo>
                      <a:pt x="46383" y="180399"/>
                    </a:lnTo>
                    <a:lnTo>
                      <a:pt x="15886" y="621855"/>
                    </a:lnTo>
                    <a:cubicBezTo>
                      <a:pt x="15607" y="626259"/>
                      <a:pt x="11928" y="629717"/>
                      <a:pt x="7523" y="629661"/>
                    </a:cubicBezTo>
                    <a:close/>
                  </a:path>
                </a:pathLst>
              </a:custGeom>
              <a:solidFill>
                <a:srgbClr val="30373B"/>
              </a:solidFill>
              <a:ln w="5573" cap="flat">
                <a:noFill/>
                <a:prstDash val="solid"/>
                <a:miter/>
              </a:ln>
            </p:spPr>
            <p:txBody>
              <a:bodyPr rtlCol="0" anchor="ctr"/>
              <a:lstStyle/>
              <a:p>
                <a:endParaRPr lang="en-GB"/>
              </a:p>
            </p:txBody>
          </p:sp>
          <p:sp>
            <p:nvSpPr>
              <p:cNvPr id="141" name="Graphic 6">
                <a:extLst>
                  <a:ext uri="{FF2B5EF4-FFF2-40B4-BE49-F238E27FC236}">
                    <a16:creationId xmlns:a16="http://schemas.microsoft.com/office/drawing/2014/main" id="{38981A45-28E8-16A8-68C2-9BEF1BCC945C}"/>
                  </a:ext>
                </a:extLst>
              </p:cNvPr>
              <p:cNvSpPr/>
              <p:nvPr/>
            </p:nvSpPr>
            <p:spPr>
              <a:xfrm>
                <a:off x="7666429" y="5644887"/>
                <a:ext cx="102747" cy="631340"/>
              </a:xfrm>
              <a:custGeom>
                <a:avLst/>
                <a:gdLst>
                  <a:gd name="connsiteX0" fmla="*/ 7548 w 102747"/>
                  <a:gd name="connsiteY0" fmla="*/ 630832 h 631340"/>
                  <a:gd name="connsiteX1" fmla="*/ 5931 w 102747"/>
                  <a:gd name="connsiteY1" fmla="*/ 630832 h 631340"/>
                  <a:gd name="connsiteX2" fmla="*/ -648 w 102747"/>
                  <a:gd name="connsiteY2" fmla="*/ 621019 h 631340"/>
                  <a:gd name="connsiteX3" fmla="*/ 78354 w 102747"/>
                  <a:gd name="connsiteY3" fmla="*/ 219929 h 631340"/>
                  <a:gd name="connsiteX4" fmla="*/ 85213 w 102747"/>
                  <a:gd name="connsiteY4" fmla="*/ 7620 h 631340"/>
                  <a:gd name="connsiteX5" fmla="*/ 93854 w 102747"/>
                  <a:gd name="connsiteY5" fmla="*/ -464 h 631340"/>
                  <a:gd name="connsiteX6" fmla="*/ 101939 w 102747"/>
                  <a:gd name="connsiteY6" fmla="*/ 8066 h 631340"/>
                  <a:gd name="connsiteX7" fmla="*/ 101939 w 102747"/>
                  <a:gd name="connsiteY7" fmla="*/ 8122 h 631340"/>
                  <a:gd name="connsiteX8" fmla="*/ 95080 w 102747"/>
                  <a:gd name="connsiteY8" fmla="*/ 221155 h 631340"/>
                  <a:gd name="connsiteX9" fmla="*/ 95080 w 102747"/>
                  <a:gd name="connsiteY9" fmla="*/ 222494 h 631340"/>
                  <a:gd name="connsiteX10" fmla="*/ 15911 w 102747"/>
                  <a:gd name="connsiteY10" fmla="*/ 624253 h 631340"/>
                  <a:gd name="connsiteX11" fmla="*/ 7548 w 102747"/>
                  <a:gd name="connsiteY11" fmla="*/ 630832 h 63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747" h="631340">
                    <a:moveTo>
                      <a:pt x="7548" y="630832"/>
                    </a:moveTo>
                    <a:cubicBezTo>
                      <a:pt x="6991" y="630888"/>
                      <a:pt x="6489" y="630888"/>
                      <a:pt x="5931" y="630832"/>
                    </a:cubicBezTo>
                    <a:cubicBezTo>
                      <a:pt x="1415" y="629940"/>
                      <a:pt x="-1540" y="625535"/>
                      <a:pt x="-648" y="621019"/>
                    </a:cubicBezTo>
                    <a:lnTo>
                      <a:pt x="78354" y="219929"/>
                    </a:lnTo>
                    <a:lnTo>
                      <a:pt x="85213" y="7620"/>
                    </a:lnTo>
                    <a:cubicBezTo>
                      <a:pt x="85379" y="2992"/>
                      <a:pt x="89227" y="-575"/>
                      <a:pt x="93854" y="-464"/>
                    </a:cubicBezTo>
                    <a:cubicBezTo>
                      <a:pt x="98426" y="-353"/>
                      <a:pt x="102050" y="3495"/>
                      <a:pt x="101939" y="8066"/>
                    </a:cubicBezTo>
                    <a:cubicBezTo>
                      <a:pt x="101939" y="8066"/>
                      <a:pt x="101939" y="8122"/>
                      <a:pt x="101939" y="8122"/>
                    </a:cubicBezTo>
                    <a:lnTo>
                      <a:pt x="95080" y="221155"/>
                    </a:lnTo>
                    <a:lnTo>
                      <a:pt x="95080" y="222494"/>
                    </a:lnTo>
                    <a:lnTo>
                      <a:pt x="15911" y="624253"/>
                    </a:lnTo>
                    <a:cubicBezTo>
                      <a:pt x="15074" y="628155"/>
                      <a:pt x="11562" y="630943"/>
                      <a:pt x="7548" y="630832"/>
                    </a:cubicBezTo>
                    <a:close/>
                  </a:path>
                </a:pathLst>
              </a:custGeom>
              <a:solidFill>
                <a:srgbClr val="30373B"/>
              </a:solidFill>
              <a:ln w="5573" cap="flat">
                <a:noFill/>
                <a:prstDash val="solid"/>
                <a:miter/>
              </a:ln>
            </p:spPr>
            <p:txBody>
              <a:bodyPr rtlCol="0" anchor="ctr"/>
              <a:lstStyle/>
              <a:p>
                <a:endParaRPr lang="en-GB"/>
              </a:p>
            </p:txBody>
          </p:sp>
          <p:sp>
            <p:nvSpPr>
              <p:cNvPr id="142" name="Graphic 6">
                <a:extLst>
                  <a:ext uri="{FF2B5EF4-FFF2-40B4-BE49-F238E27FC236}">
                    <a16:creationId xmlns:a16="http://schemas.microsoft.com/office/drawing/2014/main" id="{153E743C-FCFC-2A8A-C41A-C42669C50627}"/>
                  </a:ext>
                </a:extLst>
              </p:cNvPr>
              <p:cNvSpPr/>
              <p:nvPr/>
            </p:nvSpPr>
            <p:spPr>
              <a:xfrm>
                <a:off x="7721034" y="5898375"/>
                <a:ext cx="126894" cy="377810"/>
              </a:xfrm>
              <a:custGeom>
                <a:avLst/>
                <a:gdLst>
                  <a:gd name="connsiteX0" fmla="*/ 7582 w 126894"/>
                  <a:gd name="connsiteY0" fmla="*/ 377344 h 377810"/>
                  <a:gd name="connsiteX1" fmla="*/ 5129 w 126894"/>
                  <a:gd name="connsiteY1" fmla="*/ 377009 h 377810"/>
                  <a:gd name="connsiteX2" fmla="*/ -447 w 126894"/>
                  <a:gd name="connsiteY2" fmla="*/ 366528 h 377810"/>
                  <a:gd name="connsiteX3" fmla="*/ 109722 w 126894"/>
                  <a:gd name="connsiteY3" fmla="*/ 5469 h 377810"/>
                  <a:gd name="connsiteX4" fmla="*/ 120148 w 126894"/>
                  <a:gd name="connsiteY4" fmla="*/ -107 h 377810"/>
                  <a:gd name="connsiteX5" fmla="*/ 125723 w 126894"/>
                  <a:gd name="connsiteY5" fmla="*/ 10375 h 377810"/>
                  <a:gd name="connsiteX6" fmla="*/ 15555 w 126894"/>
                  <a:gd name="connsiteY6" fmla="*/ 371434 h 377810"/>
                  <a:gd name="connsiteX7" fmla="*/ 7582 w 126894"/>
                  <a:gd name="connsiteY7" fmla="*/ 377344 h 37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94" h="377810">
                    <a:moveTo>
                      <a:pt x="7582" y="377344"/>
                    </a:moveTo>
                    <a:cubicBezTo>
                      <a:pt x="6746" y="377344"/>
                      <a:pt x="5909" y="377233"/>
                      <a:pt x="5129" y="377009"/>
                    </a:cubicBezTo>
                    <a:cubicBezTo>
                      <a:pt x="724" y="375615"/>
                      <a:pt x="-1785" y="370988"/>
                      <a:pt x="-447" y="366528"/>
                    </a:cubicBezTo>
                    <a:lnTo>
                      <a:pt x="109722" y="5469"/>
                    </a:lnTo>
                    <a:cubicBezTo>
                      <a:pt x="111060" y="1064"/>
                      <a:pt x="115743" y="-1445"/>
                      <a:pt x="120148" y="-107"/>
                    </a:cubicBezTo>
                    <a:cubicBezTo>
                      <a:pt x="124609" y="1287"/>
                      <a:pt x="127061" y="5970"/>
                      <a:pt x="125723" y="10375"/>
                    </a:cubicBezTo>
                    <a:lnTo>
                      <a:pt x="15555" y="371434"/>
                    </a:lnTo>
                    <a:cubicBezTo>
                      <a:pt x="14496" y="374946"/>
                      <a:pt x="11262" y="377344"/>
                      <a:pt x="7582" y="377344"/>
                    </a:cubicBezTo>
                    <a:close/>
                  </a:path>
                </a:pathLst>
              </a:custGeom>
              <a:solidFill>
                <a:srgbClr val="30373B"/>
              </a:solidFill>
              <a:ln w="5573" cap="flat">
                <a:noFill/>
                <a:prstDash val="solid"/>
                <a:miter/>
              </a:ln>
            </p:spPr>
            <p:txBody>
              <a:bodyPr rtlCol="0" anchor="ctr"/>
              <a:lstStyle/>
              <a:p>
                <a:endParaRPr lang="en-GB"/>
              </a:p>
            </p:txBody>
          </p:sp>
          <p:sp>
            <p:nvSpPr>
              <p:cNvPr id="143" name="Graphic 6">
                <a:extLst>
                  <a:ext uri="{FF2B5EF4-FFF2-40B4-BE49-F238E27FC236}">
                    <a16:creationId xmlns:a16="http://schemas.microsoft.com/office/drawing/2014/main" id="{F5D58B6F-BE0C-22D4-D086-9FBBB397B808}"/>
                  </a:ext>
                </a:extLst>
              </p:cNvPr>
              <p:cNvSpPr/>
              <p:nvPr/>
            </p:nvSpPr>
            <p:spPr>
              <a:xfrm>
                <a:off x="7831226" y="5898400"/>
                <a:ext cx="23698" cy="376392"/>
              </a:xfrm>
              <a:custGeom>
                <a:avLst/>
                <a:gdLst>
                  <a:gd name="connsiteX0" fmla="*/ 14528 w 23698"/>
                  <a:gd name="connsiteY0" fmla="*/ 375925 h 376392"/>
                  <a:gd name="connsiteX1" fmla="*/ 6165 w 23698"/>
                  <a:gd name="connsiteY1" fmla="*/ 367729 h 376392"/>
                  <a:gd name="connsiteX2" fmla="*/ -804 w 23698"/>
                  <a:gd name="connsiteY2" fmla="*/ 8064 h 376392"/>
                  <a:gd name="connsiteX3" fmla="*/ 7391 w 23698"/>
                  <a:gd name="connsiteY3" fmla="*/ -466 h 376392"/>
                  <a:gd name="connsiteX4" fmla="*/ 7391 w 23698"/>
                  <a:gd name="connsiteY4" fmla="*/ -466 h 376392"/>
                  <a:gd name="connsiteX5" fmla="*/ 15922 w 23698"/>
                  <a:gd name="connsiteY5" fmla="*/ 7729 h 376392"/>
                  <a:gd name="connsiteX6" fmla="*/ 22891 w 23698"/>
                  <a:gd name="connsiteY6" fmla="*/ 367395 h 376392"/>
                  <a:gd name="connsiteX7" fmla="*/ 14639 w 23698"/>
                  <a:gd name="connsiteY7" fmla="*/ 375925 h 37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8" h="376392">
                    <a:moveTo>
                      <a:pt x="14528" y="375925"/>
                    </a:moveTo>
                    <a:cubicBezTo>
                      <a:pt x="9956" y="375981"/>
                      <a:pt x="6220" y="372301"/>
                      <a:pt x="6165" y="367729"/>
                    </a:cubicBezTo>
                    <a:lnTo>
                      <a:pt x="-804" y="8064"/>
                    </a:lnTo>
                    <a:cubicBezTo>
                      <a:pt x="-916" y="3436"/>
                      <a:pt x="2763" y="-355"/>
                      <a:pt x="7391" y="-466"/>
                    </a:cubicBezTo>
                    <a:cubicBezTo>
                      <a:pt x="7391" y="-466"/>
                      <a:pt x="7391" y="-466"/>
                      <a:pt x="7391" y="-466"/>
                    </a:cubicBezTo>
                    <a:cubicBezTo>
                      <a:pt x="11963" y="-522"/>
                      <a:pt x="15754" y="3157"/>
                      <a:pt x="15922" y="7729"/>
                    </a:cubicBezTo>
                    <a:lnTo>
                      <a:pt x="22891" y="367395"/>
                    </a:lnTo>
                    <a:cubicBezTo>
                      <a:pt x="22946" y="372022"/>
                      <a:pt x="19267" y="375813"/>
                      <a:pt x="14639" y="375925"/>
                    </a:cubicBezTo>
                    <a:close/>
                  </a:path>
                </a:pathLst>
              </a:custGeom>
              <a:solidFill>
                <a:srgbClr val="30373B"/>
              </a:solidFill>
              <a:ln w="5573" cap="flat">
                <a:noFill/>
                <a:prstDash val="solid"/>
                <a:miter/>
              </a:ln>
            </p:spPr>
            <p:txBody>
              <a:bodyPr rtlCol="0" anchor="ctr"/>
              <a:lstStyle/>
              <a:p>
                <a:endParaRPr lang="en-GB"/>
              </a:p>
            </p:txBody>
          </p:sp>
          <p:sp>
            <p:nvSpPr>
              <p:cNvPr id="144" name="Graphic 6">
                <a:extLst>
                  <a:ext uri="{FF2B5EF4-FFF2-40B4-BE49-F238E27FC236}">
                    <a16:creationId xmlns:a16="http://schemas.microsoft.com/office/drawing/2014/main" id="{416F12BD-2951-1CE6-DCFC-380B53097E9A}"/>
                  </a:ext>
                </a:extLst>
              </p:cNvPr>
              <p:cNvSpPr/>
              <p:nvPr/>
            </p:nvSpPr>
            <p:spPr>
              <a:xfrm>
                <a:off x="7566210" y="5240663"/>
                <a:ext cx="491907" cy="365674"/>
              </a:xfrm>
              <a:custGeom>
                <a:avLst/>
                <a:gdLst>
                  <a:gd name="connsiteX0" fmla="*/ 325094 w 491907"/>
                  <a:gd name="connsiteY0" fmla="*/ 365179 h 365674"/>
                  <a:gd name="connsiteX1" fmla="*/ 233101 w 491907"/>
                  <a:gd name="connsiteY1" fmla="*/ 365179 h 365674"/>
                  <a:gd name="connsiteX2" fmla="*/ -784 w 491907"/>
                  <a:gd name="connsiteY2" fmla="*/ 70243 h 365674"/>
                  <a:gd name="connsiteX3" fmla="*/ 6966 w 491907"/>
                  <a:gd name="connsiteY3" fmla="*/ 61267 h 365674"/>
                  <a:gd name="connsiteX4" fmla="*/ 15942 w 491907"/>
                  <a:gd name="connsiteY4" fmla="*/ 69017 h 365674"/>
                  <a:gd name="connsiteX5" fmla="*/ 233380 w 491907"/>
                  <a:gd name="connsiteY5" fmla="*/ 348453 h 365674"/>
                  <a:gd name="connsiteX6" fmla="*/ 325373 w 491907"/>
                  <a:gd name="connsiteY6" fmla="*/ 348453 h 365674"/>
                  <a:gd name="connsiteX7" fmla="*/ 443013 w 491907"/>
                  <a:gd name="connsiteY7" fmla="*/ 288685 h 365674"/>
                  <a:gd name="connsiteX8" fmla="*/ 439946 w 491907"/>
                  <a:gd name="connsiteY8" fmla="*/ 10921 h 365674"/>
                  <a:gd name="connsiteX9" fmla="*/ 444741 w 491907"/>
                  <a:gd name="connsiteY9" fmla="*/ 105 h 365674"/>
                  <a:gd name="connsiteX10" fmla="*/ 455557 w 491907"/>
                  <a:gd name="connsiteY10" fmla="*/ 4845 h 365674"/>
                  <a:gd name="connsiteX11" fmla="*/ 455613 w 491907"/>
                  <a:gd name="connsiteY11" fmla="*/ 5067 h 365674"/>
                  <a:gd name="connsiteX12" fmla="*/ 456728 w 491907"/>
                  <a:gd name="connsiteY12" fmla="*/ 298219 h 365674"/>
                  <a:gd name="connsiteX13" fmla="*/ 325094 w 491907"/>
                  <a:gd name="connsiteY13" fmla="*/ 365179 h 36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907" h="365674">
                    <a:moveTo>
                      <a:pt x="325094" y="365179"/>
                    </a:moveTo>
                    <a:lnTo>
                      <a:pt x="233101" y="365179"/>
                    </a:lnTo>
                    <a:cubicBezTo>
                      <a:pt x="90484" y="365179"/>
                      <a:pt x="13935" y="268725"/>
                      <a:pt x="-784" y="70243"/>
                    </a:cubicBezTo>
                    <a:cubicBezTo>
                      <a:pt x="-1119" y="65616"/>
                      <a:pt x="2338" y="61601"/>
                      <a:pt x="6966" y="61267"/>
                    </a:cubicBezTo>
                    <a:cubicBezTo>
                      <a:pt x="11593" y="60932"/>
                      <a:pt x="15607" y="64389"/>
                      <a:pt x="15942" y="69017"/>
                    </a:cubicBezTo>
                    <a:cubicBezTo>
                      <a:pt x="29936" y="257073"/>
                      <a:pt x="100966" y="348453"/>
                      <a:pt x="233380" y="348453"/>
                    </a:cubicBezTo>
                    <a:lnTo>
                      <a:pt x="325373" y="348453"/>
                    </a:lnTo>
                    <a:cubicBezTo>
                      <a:pt x="372095" y="349345"/>
                      <a:pt x="416195" y="326932"/>
                      <a:pt x="443013" y="288685"/>
                    </a:cubicBezTo>
                    <a:cubicBezTo>
                      <a:pt x="485274" y="227747"/>
                      <a:pt x="484159" y="129119"/>
                      <a:pt x="439946" y="10921"/>
                    </a:cubicBezTo>
                    <a:cubicBezTo>
                      <a:pt x="438274" y="6629"/>
                      <a:pt x="440392" y="1778"/>
                      <a:pt x="444741" y="105"/>
                    </a:cubicBezTo>
                    <a:cubicBezTo>
                      <a:pt x="449034" y="-1567"/>
                      <a:pt x="453884" y="551"/>
                      <a:pt x="455557" y="4845"/>
                    </a:cubicBezTo>
                    <a:cubicBezTo>
                      <a:pt x="455557" y="4956"/>
                      <a:pt x="455613" y="5012"/>
                      <a:pt x="455613" y="5067"/>
                    </a:cubicBezTo>
                    <a:cubicBezTo>
                      <a:pt x="514823" y="163295"/>
                      <a:pt x="489065" y="251832"/>
                      <a:pt x="456728" y="298219"/>
                    </a:cubicBezTo>
                    <a:cubicBezTo>
                      <a:pt x="426732" y="341093"/>
                      <a:pt x="377391" y="366182"/>
                      <a:pt x="325094" y="365179"/>
                    </a:cubicBezTo>
                    <a:close/>
                  </a:path>
                </a:pathLst>
              </a:custGeom>
              <a:solidFill>
                <a:srgbClr val="30373B"/>
              </a:solidFill>
              <a:ln w="5573" cap="flat">
                <a:noFill/>
                <a:prstDash val="solid"/>
                <a:miter/>
              </a:ln>
            </p:spPr>
            <p:txBody>
              <a:bodyPr rtlCol="0" anchor="ctr"/>
              <a:lstStyle/>
              <a:p>
                <a:endParaRPr lang="en-GB"/>
              </a:p>
            </p:txBody>
          </p:sp>
          <p:sp>
            <p:nvSpPr>
              <p:cNvPr id="145" name="Graphic 6">
                <a:extLst>
                  <a:ext uri="{FF2B5EF4-FFF2-40B4-BE49-F238E27FC236}">
                    <a16:creationId xmlns:a16="http://schemas.microsoft.com/office/drawing/2014/main" id="{0964D3E6-C939-4DAC-45BF-65928CCF393B}"/>
                  </a:ext>
                </a:extLst>
              </p:cNvPr>
              <p:cNvSpPr/>
              <p:nvPr/>
            </p:nvSpPr>
            <p:spPr>
              <a:xfrm>
                <a:off x="7772825" y="5419702"/>
                <a:ext cx="145591" cy="186606"/>
              </a:xfrm>
              <a:custGeom>
                <a:avLst/>
                <a:gdLst>
                  <a:gd name="connsiteX0" fmla="*/ 71869 w 145591"/>
                  <a:gd name="connsiteY0" fmla="*/ 186140 h 186606"/>
                  <a:gd name="connsiteX1" fmla="*/ 63506 w 145591"/>
                  <a:gd name="connsiteY1" fmla="*/ 177777 h 186606"/>
                  <a:gd name="connsiteX2" fmla="*/ 71869 w 145591"/>
                  <a:gd name="connsiteY2" fmla="*/ 169414 h 186606"/>
                  <a:gd name="connsiteX3" fmla="*/ 127622 w 145591"/>
                  <a:gd name="connsiteY3" fmla="*/ 91972 h 186606"/>
                  <a:gd name="connsiteX4" fmla="*/ 111789 w 145591"/>
                  <a:gd name="connsiteY4" fmla="*/ 31926 h 186606"/>
                  <a:gd name="connsiteX5" fmla="*/ 32228 w 145591"/>
                  <a:gd name="connsiteY5" fmla="*/ 31926 h 186606"/>
                  <a:gd name="connsiteX6" fmla="*/ 16395 w 145591"/>
                  <a:gd name="connsiteY6" fmla="*/ 91972 h 186606"/>
                  <a:gd name="connsiteX7" fmla="*/ 25817 w 145591"/>
                  <a:gd name="connsiteY7" fmla="*/ 129494 h 186606"/>
                  <a:gd name="connsiteX8" fmla="*/ 21357 w 145591"/>
                  <a:gd name="connsiteY8" fmla="*/ 140422 h 186606"/>
                  <a:gd name="connsiteX9" fmla="*/ 10540 w 145591"/>
                  <a:gd name="connsiteY9" fmla="*/ 136296 h 186606"/>
                  <a:gd name="connsiteX10" fmla="*/ -276 w 145591"/>
                  <a:gd name="connsiteY10" fmla="*/ 93422 h 186606"/>
                  <a:gd name="connsiteX11" fmla="*/ 19907 w 145591"/>
                  <a:gd name="connsiteY11" fmla="*/ 20942 h 186606"/>
                  <a:gd name="connsiteX12" fmla="*/ 124110 w 145591"/>
                  <a:gd name="connsiteY12" fmla="*/ 20942 h 186606"/>
                  <a:gd name="connsiteX13" fmla="*/ 144237 w 145591"/>
                  <a:gd name="connsiteY13" fmla="*/ 93422 h 186606"/>
                  <a:gd name="connsiteX14" fmla="*/ 71869 w 145591"/>
                  <a:gd name="connsiteY14" fmla="*/ 186140 h 18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91" h="186606">
                    <a:moveTo>
                      <a:pt x="71869" y="186140"/>
                    </a:moveTo>
                    <a:cubicBezTo>
                      <a:pt x="67242" y="186140"/>
                      <a:pt x="63506" y="182404"/>
                      <a:pt x="63506" y="177777"/>
                    </a:cubicBezTo>
                    <a:cubicBezTo>
                      <a:pt x="63506" y="173149"/>
                      <a:pt x="67242" y="169414"/>
                      <a:pt x="71869" y="169414"/>
                    </a:cubicBezTo>
                    <a:cubicBezTo>
                      <a:pt x="92331" y="169414"/>
                      <a:pt x="123051" y="142484"/>
                      <a:pt x="127622" y="91972"/>
                    </a:cubicBezTo>
                    <a:cubicBezTo>
                      <a:pt x="129797" y="66827"/>
                      <a:pt x="124221" y="45474"/>
                      <a:pt x="111789" y="31926"/>
                    </a:cubicBezTo>
                    <a:cubicBezTo>
                      <a:pt x="89543" y="10684"/>
                      <a:pt x="54474" y="10684"/>
                      <a:pt x="32228" y="31926"/>
                    </a:cubicBezTo>
                    <a:cubicBezTo>
                      <a:pt x="19795" y="45474"/>
                      <a:pt x="14220" y="66827"/>
                      <a:pt x="16395" y="91972"/>
                    </a:cubicBezTo>
                    <a:cubicBezTo>
                      <a:pt x="17454" y="104907"/>
                      <a:pt x="20632" y="117563"/>
                      <a:pt x="25817" y="129494"/>
                    </a:cubicBezTo>
                    <a:cubicBezTo>
                      <a:pt x="27601" y="133732"/>
                      <a:pt x="25593" y="138638"/>
                      <a:pt x="21357" y="140422"/>
                    </a:cubicBezTo>
                    <a:cubicBezTo>
                      <a:pt x="17230" y="142206"/>
                      <a:pt x="12436" y="140366"/>
                      <a:pt x="10540" y="136296"/>
                    </a:cubicBezTo>
                    <a:cubicBezTo>
                      <a:pt x="4631" y="122692"/>
                      <a:pt x="951" y="108197"/>
                      <a:pt x="-276" y="93422"/>
                    </a:cubicBezTo>
                    <a:cubicBezTo>
                      <a:pt x="-2897" y="63538"/>
                      <a:pt x="4240" y="37668"/>
                      <a:pt x="19907" y="20942"/>
                    </a:cubicBezTo>
                    <a:cubicBezTo>
                      <a:pt x="48787" y="-7603"/>
                      <a:pt x="95230" y="-7603"/>
                      <a:pt x="124110" y="20942"/>
                    </a:cubicBezTo>
                    <a:cubicBezTo>
                      <a:pt x="139721" y="38003"/>
                      <a:pt x="146913" y="63817"/>
                      <a:pt x="144237" y="93422"/>
                    </a:cubicBezTo>
                    <a:cubicBezTo>
                      <a:pt x="140223" y="138025"/>
                      <a:pt x="111454" y="186140"/>
                      <a:pt x="71869" y="186140"/>
                    </a:cubicBezTo>
                    <a:close/>
                  </a:path>
                </a:pathLst>
              </a:custGeom>
              <a:solidFill>
                <a:srgbClr val="30373B"/>
              </a:solidFill>
              <a:ln w="5573" cap="flat">
                <a:noFill/>
                <a:prstDash val="solid"/>
                <a:miter/>
              </a:ln>
            </p:spPr>
            <p:txBody>
              <a:bodyPr rtlCol="0" anchor="ctr"/>
              <a:lstStyle/>
              <a:p>
                <a:endParaRPr lang="en-GB"/>
              </a:p>
            </p:txBody>
          </p:sp>
          <p:sp>
            <p:nvSpPr>
              <p:cNvPr id="146" name="Graphic 6">
                <a:extLst>
                  <a:ext uri="{FF2B5EF4-FFF2-40B4-BE49-F238E27FC236}">
                    <a16:creationId xmlns:a16="http://schemas.microsoft.com/office/drawing/2014/main" id="{AFC62D7A-80DF-C129-7E1A-8968FB8E0F6B}"/>
                  </a:ext>
                </a:extLst>
              </p:cNvPr>
              <p:cNvSpPr/>
              <p:nvPr/>
            </p:nvSpPr>
            <p:spPr>
              <a:xfrm>
                <a:off x="5239414" y="5623084"/>
                <a:ext cx="64012" cy="416150"/>
              </a:xfrm>
              <a:custGeom>
                <a:avLst/>
                <a:gdLst>
                  <a:gd name="connsiteX0" fmla="*/ 7561 w 64012"/>
                  <a:gd name="connsiteY0" fmla="*/ 415683 h 416150"/>
                  <a:gd name="connsiteX1" fmla="*/ 6558 w 64012"/>
                  <a:gd name="connsiteY1" fmla="*/ 415683 h 416150"/>
                  <a:gd name="connsiteX2" fmla="*/ -752 w 64012"/>
                  <a:gd name="connsiteY2" fmla="*/ 406483 h 416150"/>
                  <a:gd name="connsiteX3" fmla="*/ -746 w 64012"/>
                  <a:gd name="connsiteY3" fmla="*/ 406427 h 416150"/>
                  <a:gd name="connsiteX4" fmla="*/ 46422 w 64012"/>
                  <a:gd name="connsiteY4" fmla="*/ 6954 h 416150"/>
                  <a:gd name="connsiteX5" fmla="*/ 55760 w 64012"/>
                  <a:gd name="connsiteY5" fmla="*/ -405 h 416150"/>
                  <a:gd name="connsiteX6" fmla="*/ 63148 w 64012"/>
                  <a:gd name="connsiteY6" fmla="*/ 8905 h 416150"/>
                  <a:gd name="connsiteX7" fmla="*/ 15980 w 64012"/>
                  <a:gd name="connsiteY7" fmla="*/ 408379 h 416150"/>
                  <a:gd name="connsiteX8" fmla="*/ 7561 w 64012"/>
                  <a:gd name="connsiteY8" fmla="*/ 415683 h 4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12" h="416150">
                    <a:moveTo>
                      <a:pt x="7561" y="415683"/>
                    </a:moveTo>
                    <a:lnTo>
                      <a:pt x="6558" y="415683"/>
                    </a:lnTo>
                    <a:cubicBezTo>
                      <a:pt x="1997" y="415180"/>
                      <a:pt x="-1276" y="411055"/>
                      <a:pt x="-752" y="406483"/>
                    </a:cubicBezTo>
                    <a:cubicBezTo>
                      <a:pt x="-752" y="406483"/>
                      <a:pt x="-746" y="406427"/>
                      <a:pt x="-746" y="406427"/>
                    </a:cubicBezTo>
                    <a:lnTo>
                      <a:pt x="46422" y="6954"/>
                    </a:lnTo>
                    <a:cubicBezTo>
                      <a:pt x="46962" y="2327"/>
                      <a:pt x="51144" y="-963"/>
                      <a:pt x="55760" y="-405"/>
                    </a:cubicBezTo>
                    <a:cubicBezTo>
                      <a:pt x="60377" y="96"/>
                      <a:pt x="63688" y="4278"/>
                      <a:pt x="63148" y="8905"/>
                    </a:cubicBezTo>
                    <a:lnTo>
                      <a:pt x="15980" y="408379"/>
                    </a:lnTo>
                    <a:cubicBezTo>
                      <a:pt x="15440" y="412616"/>
                      <a:pt x="11815" y="415738"/>
                      <a:pt x="7561" y="415683"/>
                    </a:cubicBezTo>
                    <a:close/>
                  </a:path>
                </a:pathLst>
              </a:custGeom>
              <a:solidFill>
                <a:srgbClr val="30373B"/>
              </a:solidFill>
              <a:ln w="5573" cap="flat">
                <a:noFill/>
                <a:prstDash val="solid"/>
                <a:miter/>
              </a:ln>
            </p:spPr>
            <p:txBody>
              <a:bodyPr rtlCol="0" anchor="ctr"/>
              <a:lstStyle/>
              <a:p>
                <a:endParaRPr lang="en-GB"/>
              </a:p>
            </p:txBody>
          </p:sp>
          <p:sp>
            <p:nvSpPr>
              <p:cNvPr id="147" name="Graphic 6">
                <a:extLst>
                  <a:ext uri="{FF2B5EF4-FFF2-40B4-BE49-F238E27FC236}">
                    <a16:creationId xmlns:a16="http://schemas.microsoft.com/office/drawing/2014/main" id="{A152EACF-9EAB-FAE0-D5E5-9B760435190C}"/>
                  </a:ext>
                </a:extLst>
              </p:cNvPr>
              <p:cNvSpPr/>
              <p:nvPr/>
            </p:nvSpPr>
            <p:spPr>
              <a:xfrm>
                <a:off x="5438052" y="5485927"/>
                <a:ext cx="46961" cy="551856"/>
              </a:xfrm>
              <a:custGeom>
                <a:avLst/>
                <a:gdLst>
                  <a:gd name="connsiteX0" fmla="*/ 7573 w 46961"/>
                  <a:gd name="connsiteY0" fmla="*/ 551390 h 551856"/>
                  <a:gd name="connsiteX1" fmla="*/ 6960 w 46961"/>
                  <a:gd name="connsiteY1" fmla="*/ 551390 h 551856"/>
                  <a:gd name="connsiteX2" fmla="*/ -790 w 46961"/>
                  <a:gd name="connsiteY2" fmla="*/ 542414 h 551856"/>
                  <a:gd name="connsiteX3" fmla="*/ 29429 w 46961"/>
                  <a:gd name="connsiteY3" fmla="*/ 122089 h 551856"/>
                  <a:gd name="connsiteX4" fmla="*/ 24411 w 46961"/>
                  <a:gd name="connsiteY4" fmla="*/ 8296 h 551856"/>
                  <a:gd name="connsiteX5" fmla="*/ 32384 w 46961"/>
                  <a:gd name="connsiteY5" fmla="*/ -457 h 551856"/>
                  <a:gd name="connsiteX6" fmla="*/ 41137 w 46961"/>
                  <a:gd name="connsiteY6" fmla="*/ 7515 h 551856"/>
                  <a:gd name="connsiteX7" fmla="*/ 46155 w 46961"/>
                  <a:gd name="connsiteY7" fmla="*/ 121810 h 551856"/>
                  <a:gd name="connsiteX8" fmla="*/ 46155 w 46961"/>
                  <a:gd name="connsiteY8" fmla="*/ 122758 h 551856"/>
                  <a:gd name="connsiteX9" fmla="*/ 15936 w 46961"/>
                  <a:gd name="connsiteY9" fmla="*/ 543640 h 551856"/>
                  <a:gd name="connsiteX10" fmla="*/ 7573 w 46961"/>
                  <a:gd name="connsiteY10" fmla="*/ 551390 h 55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961" h="551856">
                    <a:moveTo>
                      <a:pt x="7573" y="551390"/>
                    </a:moveTo>
                    <a:lnTo>
                      <a:pt x="6960" y="551390"/>
                    </a:lnTo>
                    <a:cubicBezTo>
                      <a:pt x="2366" y="551000"/>
                      <a:pt x="-1080" y="547041"/>
                      <a:pt x="-790" y="542414"/>
                    </a:cubicBezTo>
                    <a:lnTo>
                      <a:pt x="29429" y="122089"/>
                    </a:lnTo>
                    <a:lnTo>
                      <a:pt x="24411" y="8296"/>
                    </a:lnTo>
                    <a:cubicBezTo>
                      <a:pt x="24194" y="3669"/>
                      <a:pt x="27767" y="-234"/>
                      <a:pt x="32384" y="-457"/>
                    </a:cubicBezTo>
                    <a:cubicBezTo>
                      <a:pt x="37000" y="-680"/>
                      <a:pt x="40920" y="2888"/>
                      <a:pt x="41137" y="7515"/>
                    </a:cubicBezTo>
                    <a:lnTo>
                      <a:pt x="46155" y="121810"/>
                    </a:lnTo>
                    <a:lnTo>
                      <a:pt x="46155" y="122758"/>
                    </a:lnTo>
                    <a:lnTo>
                      <a:pt x="15936" y="543640"/>
                    </a:lnTo>
                    <a:cubicBezTo>
                      <a:pt x="15613" y="548044"/>
                      <a:pt x="11961" y="551390"/>
                      <a:pt x="7573" y="551390"/>
                    </a:cubicBezTo>
                    <a:close/>
                  </a:path>
                </a:pathLst>
              </a:custGeom>
              <a:solidFill>
                <a:srgbClr val="30373B"/>
              </a:solidFill>
              <a:ln w="5573" cap="flat">
                <a:noFill/>
                <a:prstDash val="solid"/>
                <a:miter/>
              </a:ln>
            </p:spPr>
            <p:txBody>
              <a:bodyPr rtlCol="0" anchor="ctr"/>
              <a:lstStyle/>
              <a:p>
                <a:endParaRPr lang="en-GB"/>
              </a:p>
            </p:txBody>
          </p:sp>
          <p:sp>
            <p:nvSpPr>
              <p:cNvPr id="148" name="Graphic 6">
                <a:extLst>
                  <a:ext uri="{FF2B5EF4-FFF2-40B4-BE49-F238E27FC236}">
                    <a16:creationId xmlns:a16="http://schemas.microsoft.com/office/drawing/2014/main" id="{ACEA9D10-A952-4615-9E48-43E3C94883C8}"/>
                  </a:ext>
                </a:extLst>
              </p:cNvPr>
              <p:cNvSpPr/>
              <p:nvPr/>
            </p:nvSpPr>
            <p:spPr>
              <a:xfrm>
                <a:off x="5292744" y="5682686"/>
                <a:ext cx="102283" cy="356589"/>
              </a:xfrm>
              <a:custGeom>
                <a:avLst/>
                <a:gdLst>
                  <a:gd name="connsiteX0" fmla="*/ 7532 w 102283"/>
                  <a:gd name="connsiteY0" fmla="*/ 356081 h 356589"/>
                  <a:gd name="connsiteX1" fmla="*/ 5525 w 102283"/>
                  <a:gd name="connsiteY1" fmla="*/ 356081 h 356589"/>
                  <a:gd name="connsiteX2" fmla="*/ -552 w 102283"/>
                  <a:gd name="connsiteY2" fmla="*/ 345934 h 356589"/>
                  <a:gd name="connsiteX3" fmla="*/ -552 w 102283"/>
                  <a:gd name="connsiteY3" fmla="*/ 345934 h 356589"/>
                  <a:gd name="connsiteX4" fmla="*/ 84973 w 102283"/>
                  <a:gd name="connsiteY4" fmla="*/ 5838 h 356589"/>
                  <a:gd name="connsiteX5" fmla="*/ 94117 w 102283"/>
                  <a:gd name="connsiteY5" fmla="*/ -407 h 356589"/>
                  <a:gd name="connsiteX6" fmla="*/ 101476 w 102283"/>
                  <a:gd name="connsiteY6" fmla="*/ 7901 h 356589"/>
                  <a:gd name="connsiteX7" fmla="*/ 101476 w 102283"/>
                  <a:gd name="connsiteY7" fmla="*/ 347662 h 356589"/>
                  <a:gd name="connsiteX8" fmla="*/ 93113 w 102283"/>
                  <a:gd name="connsiteY8" fmla="*/ 356025 h 356589"/>
                  <a:gd name="connsiteX9" fmla="*/ 84750 w 102283"/>
                  <a:gd name="connsiteY9" fmla="*/ 347662 h 356589"/>
                  <a:gd name="connsiteX10" fmla="*/ 84750 w 102283"/>
                  <a:gd name="connsiteY10" fmla="*/ 75362 h 356589"/>
                  <a:gd name="connsiteX11" fmla="*/ 15672 w 102283"/>
                  <a:gd name="connsiteY11" fmla="*/ 349725 h 356589"/>
                  <a:gd name="connsiteX12" fmla="*/ 7532 w 102283"/>
                  <a:gd name="connsiteY12" fmla="*/ 356081 h 35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83" h="356589">
                    <a:moveTo>
                      <a:pt x="7532" y="356081"/>
                    </a:moveTo>
                    <a:cubicBezTo>
                      <a:pt x="6863" y="356137"/>
                      <a:pt x="6194" y="356137"/>
                      <a:pt x="5525" y="356081"/>
                    </a:cubicBezTo>
                    <a:cubicBezTo>
                      <a:pt x="1042" y="354966"/>
                      <a:pt x="-1678" y="350394"/>
                      <a:pt x="-552" y="345934"/>
                    </a:cubicBezTo>
                    <a:cubicBezTo>
                      <a:pt x="-552" y="345934"/>
                      <a:pt x="-552" y="345934"/>
                      <a:pt x="-552" y="345934"/>
                    </a:cubicBezTo>
                    <a:lnTo>
                      <a:pt x="84973" y="5838"/>
                    </a:lnTo>
                    <a:cubicBezTo>
                      <a:pt x="86033" y="1768"/>
                      <a:pt x="89936" y="-908"/>
                      <a:pt x="94117" y="-407"/>
                    </a:cubicBezTo>
                    <a:cubicBezTo>
                      <a:pt x="98332" y="95"/>
                      <a:pt x="101504" y="3663"/>
                      <a:pt x="101476" y="7901"/>
                    </a:cubicBezTo>
                    <a:lnTo>
                      <a:pt x="101476" y="347662"/>
                    </a:lnTo>
                    <a:cubicBezTo>
                      <a:pt x="101476" y="352290"/>
                      <a:pt x="97730" y="356025"/>
                      <a:pt x="93113" y="356025"/>
                    </a:cubicBezTo>
                    <a:cubicBezTo>
                      <a:pt x="88497" y="356025"/>
                      <a:pt x="84750" y="352290"/>
                      <a:pt x="84750" y="347662"/>
                    </a:cubicBezTo>
                    <a:lnTo>
                      <a:pt x="84750" y="75362"/>
                    </a:lnTo>
                    <a:lnTo>
                      <a:pt x="15672" y="349725"/>
                    </a:lnTo>
                    <a:cubicBezTo>
                      <a:pt x="14746" y="353460"/>
                      <a:pt x="11384" y="356081"/>
                      <a:pt x="7532" y="356081"/>
                    </a:cubicBezTo>
                    <a:close/>
                  </a:path>
                </a:pathLst>
              </a:custGeom>
              <a:solidFill>
                <a:srgbClr val="30373B"/>
              </a:solidFill>
              <a:ln w="5573" cap="flat">
                <a:noFill/>
                <a:prstDash val="solid"/>
                <a:miter/>
              </a:ln>
            </p:spPr>
            <p:txBody>
              <a:bodyPr rtlCol="0" anchor="ctr"/>
              <a:lstStyle/>
              <a:p>
                <a:endParaRPr lang="en-GB"/>
              </a:p>
            </p:txBody>
          </p:sp>
          <p:sp>
            <p:nvSpPr>
              <p:cNvPr id="149" name="Graphic 6">
                <a:extLst>
                  <a:ext uri="{FF2B5EF4-FFF2-40B4-BE49-F238E27FC236}">
                    <a16:creationId xmlns:a16="http://schemas.microsoft.com/office/drawing/2014/main" id="{DD820316-7EB2-0F60-46A9-04D1C3160273}"/>
                  </a:ext>
                </a:extLst>
              </p:cNvPr>
              <p:cNvSpPr/>
              <p:nvPr/>
            </p:nvSpPr>
            <p:spPr>
              <a:xfrm>
                <a:off x="5342665" y="5197150"/>
                <a:ext cx="155283" cy="171258"/>
              </a:xfrm>
              <a:custGeom>
                <a:avLst/>
                <a:gdLst>
                  <a:gd name="connsiteX0" fmla="*/ 51110 w 155283"/>
                  <a:gd name="connsiteY0" fmla="*/ 170792 h 171258"/>
                  <a:gd name="connsiteX1" fmla="*/ 44754 w 155283"/>
                  <a:gd name="connsiteY1" fmla="*/ 170458 h 171258"/>
                  <a:gd name="connsiteX2" fmla="*/ 37255 w 155283"/>
                  <a:gd name="connsiteY2" fmla="*/ 161202 h 171258"/>
                  <a:gd name="connsiteX3" fmla="*/ 46482 w 155283"/>
                  <a:gd name="connsiteY3" fmla="*/ 153731 h 171258"/>
                  <a:gd name="connsiteX4" fmla="*/ 117791 w 155283"/>
                  <a:gd name="connsiteY4" fmla="*/ 116600 h 171258"/>
                  <a:gd name="connsiteX5" fmla="*/ 137528 w 155283"/>
                  <a:gd name="connsiteY5" fmla="*/ 59954 h 171258"/>
                  <a:gd name="connsiteX6" fmla="*/ 73857 w 155283"/>
                  <a:gd name="connsiteY6" fmla="*/ 17024 h 171258"/>
                  <a:gd name="connsiteX7" fmla="*/ 28809 w 155283"/>
                  <a:gd name="connsiteY7" fmla="*/ 56609 h 171258"/>
                  <a:gd name="connsiteX8" fmla="*/ 16041 w 155283"/>
                  <a:gd name="connsiteY8" fmla="*/ 91789 h 171258"/>
                  <a:gd name="connsiteX9" fmla="*/ 6256 w 155283"/>
                  <a:gd name="connsiteY9" fmla="*/ 98703 h 171258"/>
                  <a:gd name="connsiteX10" fmla="*/ -685 w 155283"/>
                  <a:gd name="connsiteY10" fmla="*/ 88946 h 171258"/>
                  <a:gd name="connsiteX11" fmla="*/ 13867 w 155283"/>
                  <a:gd name="connsiteY11" fmla="*/ 48525 h 171258"/>
                  <a:gd name="connsiteX12" fmla="*/ 69620 w 155283"/>
                  <a:gd name="connsiteY12" fmla="*/ 800 h 171258"/>
                  <a:gd name="connsiteX13" fmla="*/ 153752 w 155283"/>
                  <a:gd name="connsiteY13" fmla="*/ 57501 h 171258"/>
                  <a:gd name="connsiteX14" fmla="*/ 130447 w 155283"/>
                  <a:gd name="connsiteY14" fmla="*/ 127137 h 171258"/>
                  <a:gd name="connsiteX15" fmla="*/ 51110 w 155283"/>
                  <a:gd name="connsiteY15" fmla="*/ 170792 h 17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283" h="171258">
                    <a:moveTo>
                      <a:pt x="51110" y="170792"/>
                    </a:moveTo>
                    <a:cubicBezTo>
                      <a:pt x="48986" y="170792"/>
                      <a:pt x="46867" y="170680"/>
                      <a:pt x="44754" y="170458"/>
                    </a:cubicBezTo>
                    <a:cubicBezTo>
                      <a:pt x="40138" y="169955"/>
                      <a:pt x="36776" y="165830"/>
                      <a:pt x="37255" y="161202"/>
                    </a:cubicBezTo>
                    <a:cubicBezTo>
                      <a:pt x="37735" y="156631"/>
                      <a:pt x="41866" y="153230"/>
                      <a:pt x="46482" y="153731"/>
                    </a:cubicBezTo>
                    <a:cubicBezTo>
                      <a:pt x="64045" y="155515"/>
                      <a:pt x="93260" y="146874"/>
                      <a:pt x="117791" y="116600"/>
                    </a:cubicBezTo>
                    <a:cubicBezTo>
                      <a:pt x="133123" y="97643"/>
                      <a:pt x="140092" y="77572"/>
                      <a:pt x="137528" y="59954"/>
                    </a:cubicBezTo>
                    <a:cubicBezTo>
                      <a:pt x="131111" y="30963"/>
                      <a:pt x="103122" y="12107"/>
                      <a:pt x="73857" y="17024"/>
                    </a:cubicBezTo>
                    <a:cubicBezTo>
                      <a:pt x="56630" y="21206"/>
                      <a:pt x="40405" y="35255"/>
                      <a:pt x="28809" y="56609"/>
                    </a:cubicBezTo>
                    <a:cubicBezTo>
                      <a:pt x="22648" y="67537"/>
                      <a:pt x="18332" y="79468"/>
                      <a:pt x="16041" y="91789"/>
                    </a:cubicBezTo>
                    <a:cubicBezTo>
                      <a:pt x="15255" y="96417"/>
                      <a:pt x="10873" y="99539"/>
                      <a:pt x="6256" y="98703"/>
                    </a:cubicBezTo>
                    <a:cubicBezTo>
                      <a:pt x="1640" y="97922"/>
                      <a:pt x="-1471" y="93573"/>
                      <a:pt x="-685" y="88946"/>
                    </a:cubicBezTo>
                    <a:cubicBezTo>
                      <a:pt x="1908" y="74785"/>
                      <a:pt x="6819" y="61125"/>
                      <a:pt x="13867" y="48525"/>
                    </a:cubicBezTo>
                    <a:cubicBezTo>
                      <a:pt x="27972" y="22989"/>
                      <a:pt x="47765" y="6041"/>
                      <a:pt x="69620" y="800"/>
                    </a:cubicBezTo>
                    <a:cubicBezTo>
                      <a:pt x="108463" y="-6537"/>
                      <a:pt x="145980" y="18741"/>
                      <a:pt x="153752" y="57501"/>
                    </a:cubicBezTo>
                    <a:cubicBezTo>
                      <a:pt x="157097" y="79802"/>
                      <a:pt x="148790" y="104445"/>
                      <a:pt x="130447" y="127137"/>
                    </a:cubicBezTo>
                    <a:cubicBezTo>
                      <a:pt x="104633" y="159474"/>
                      <a:pt x="73634" y="170792"/>
                      <a:pt x="51110" y="170792"/>
                    </a:cubicBezTo>
                    <a:close/>
                  </a:path>
                </a:pathLst>
              </a:custGeom>
              <a:solidFill>
                <a:srgbClr val="30373B"/>
              </a:solidFill>
              <a:ln w="5573" cap="flat">
                <a:noFill/>
                <a:prstDash val="solid"/>
                <a:miter/>
              </a:ln>
            </p:spPr>
            <p:txBody>
              <a:bodyPr rtlCol="0" anchor="ctr"/>
              <a:lstStyle/>
              <a:p>
                <a:endParaRPr lang="en-GB"/>
              </a:p>
            </p:txBody>
          </p:sp>
          <p:sp>
            <p:nvSpPr>
              <p:cNvPr id="150" name="Graphic 6">
                <a:extLst>
                  <a:ext uri="{FF2B5EF4-FFF2-40B4-BE49-F238E27FC236}">
                    <a16:creationId xmlns:a16="http://schemas.microsoft.com/office/drawing/2014/main" id="{A98354E0-1BCA-1AA0-18A8-7D509B8A2B50}"/>
                  </a:ext>
                </a:extLst>
              </p:cNvPr>
              <p:cNvSpPr/>
              <p:nvPr/>
            </p:nvSpPr>
            <p:spPr>
              <a:xfrm>
                <a:off x="5254811" y="5227363"/>
                <a:ext cx="332633" cy="392326"/>
              </a:xfrm>
              <a:custGeom>
                <a:avLst/>
                <a:gdLst>
                  <a:gd name="connsiteX0" fmla="*/ 134670 w 332633"/>
                  <a:gd name="connsiteY0" fmla="*/ 391860 h 392326"/>
                  <a:gd name="connsiteX1" fmla="*/ 47806 w 332633"/>
                  <a:gd name="connsiteY1" fmla="*/ 365153 h 392326"/>
                  <a:gd name="connsiteX2" fmla="*/ -532 w 332633"/>
                  <a:gd name="connsiteY2" fmla="*/ 214619 h 392326"/>
                  <a:gd name="connsiteX3" fmla="*/ 19930 w 332633"/>
                  <a:gd name="connsiteY3" fmla="*/ 144760 h 392326"/>
                  <a:gd name="connsiteX4" fmla="*/ 100717 w 332633"/>
                  <a:gd name="connsiteY4" fmla="*/ 120954 h 392326"/>
                  <a:gd name="connsiteX5" fmla="*/ 179384 w 332633"/>
                  <a:gd name="connsiteY5" fmla="*/ 127532 h 392326"/>
                  <a:gd name="connsiteX6" fmla="*/ 239486 w 332633"/>
                  <a:gd name="connsiteY6" fmla="*/ 169347 h 392326"/>
                  <a:gd name="connsiteX7" fmla="*/ 297024 w 332633"/>
                  <a:gd name="connsiteY7" fmla="*/ 189530 h 392326"/>
                  <a:gd name="connsiteX8" fmla="*/ 315032 w 332633"/>
                  <a:gd name="connsiteY8" fmla="*/ 157081 h 392326"/>
                  <a:gd name="connsiteX9" fmla="*/ 262234 w 332633"/>
                  <a:gd name="connsiteY9" fmla="*/ 71166 h 392326"/>
                  <a:gd name="connsiteX10" fmla="*/ 218300 w 332633"/>
                  <a:gd name="connsiteY10" fmla="*/ 10673 h 392326"/>
                  <a:gd name="connsiteX11" fmla="*/ 223413 w 332633"/>
                  <a:gd name="connsiteY11" fmla="*/ 24 h 392326"/>
                  <a:gd name="connsiteX12" fmla="*/ 234079 w 332633"/>
                  <a:gd name="connsiteY12" fmla="*/ 5098 h 392326"/>
                  <a:gd name="connsiteX13" fmla="*/ 234357 w 332633"/>
                  <a:gd name="connsiteY13" fmla="*/ 6101 h 392326"/>
                  <a:gd name="connsiteX14" fmla="*/ 274500 w 332633"/>
                  <a:gd name="connsiteY14" fmla="*/ 59792 h 392326"/>
                  <a:gd name="connsiteX15" fmla="*/ 331758 w 332633"/>
                  <a:gd name="connsiteY15" fmla="*/ 157974 h 392326"/>
                  <a:gd name="connsiteX16" fmla="*/ 308063 w 332633"/>
                  <a:gd name="connsiteY16" fmla="*/ 202075 h 392326"/>
                  <a:gd name="connsiteX17" fmla="*/ 227054 w 332633"/>
                  <a:gd name="connsiteY17" fmla="*/ 180610 h 392326"/>
                  <a:gd name="connsiteX18" fmla="*/ 177489 w 332633"/>
                  <a:gd name="connsiteY18" fmla="*/ 144147 h 392326"/>
                  <a:gd name="connsiteX19" fmla="*/ 99713 w 332633"/>
                  <a:gd name="connsiteY19" fmla="*/ 137679 h 392326"/>
                  <a:gd name="connsiteX20" fmla="*/ 31917 w 332633"/>
                  <a:gd name="connsiteY20" fmla="*/ 156468 h 392326"/>
                  <a:gd name="connsiteX21" fmla="*/ 16194 w 332633"/>
                  <a:gd name="connsiteY21" fmla="*/ 213671 h 392326"/>
                  <a:gd name="connsiteX22" fmla="*/ 58846 w 332633"/>
                  <a:gd name="connsiteY22" fmla="*/ 352441 h 392326"/>
                  <a:gd name="connsiteX23" fmla="*/ 153626 w 332633"/>
                  <a:gd name="connsiteY23" fmla="*/ 374353 h 392326"/>
                  <a:gd name="connsiteX24" fmla="*/ 162575 w 332633"/>
                  <a:gd name="connsiteY24" fmla="*/ 382158 h 392326"/>
                  <a:gd name="connsiteX25" fmla="*/ 154797 w 332633"/>
                  <a:gd name="connsiteY25" fmla="*/ 391079 h 392326"/>
                  <a:gd name="connsiteX26" fmla="*/ 134670 w 332633"/>
                  <a:gd name="connsiteY26" fmla="*/ 391860 h 39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2633" h="392326">
                    <a:moveTo>
                      <a:pt x="134670" y="391860"/>
                    </a:moveTo>
                    <a:cubicBezTo>
                      <a:pt x="96200" y="391860"/>
                      <a:pt x="68323" y="383217"/>
                      <a:pt x="47806" y="365153"/>
                    </a:cubicBezTo>
                    <a:cubicBezTo>
                      <a:pt x="18647" y="339451"/>
                      <a:pt x="4152" y="294458"/>
                      <a:pt x="-532" y="214619"/>
                    </a:cubicBezTo>
                    <a:cubicBezTo>
                      <a:pt x="-2316" y="183955"/>
                      <a:pt x="4597" y="160427"/>
                      <a:pt x="19930" y="144760"/>
                    </a:cubicBezTo>
                    <a:cubicBezTo>
                      <a:pt x="36656" y="127588"/>
                      <a:pt x="63975" y="119560"/>
                      <a:pt x="100717" y="120954"/>
                    </a:cubicBezTo>
                    <a:lnTo>
                      <a:pt x="179384" y="127532"/>
                    </a:lnTo>
                    <a:cubicBezTo>
                      <a:pt x="204864" y="131212"/>
                      <a:pt x="223262" y="151451"/>
                      <a:pt x="239486" y="169347"/>
                    </a:cubicBezTo>
                    <a:cubicBezTo>
                      <a:pt x="265412" y="197949"/>
                      <a:pt x="277064" y="207093"/>
                      <a:pt x="297024" y="189530"/>
                    </a:cubicBezTo>
                    <a:cubicBezTo>
                      <a:pt x="308565" y="179328"/>
                      <a:pt x="314475" y="168734"/>
                      <a:pt x="315032" y="157081"/>
                    </a:cubicBezTo>
                    <a:cubicBezTo>
                      <a:pt x="316426" y="129651"/>
                      <a:pt x="287658" y="98596"/>
                      <a:pt x="262234" y="71166"/>
                    </a:cubicBezTo>
                    <a:cubicBezTo>
                      <a:pt x="242386" y="49701"/>
                      <a:pt x="223653" y="29462"/>
                      <a:pt x="218300" y="10673"/>
                    </a:cubicBezTo>
                    <a:cubicBezTo>
                      <a:pt x="216767" y="6325"/>
                      <a:pt x="219058" y="1530"/>
                      <a:pt x="223413" y="24"/>
                    </a:cubicBezTo>
                    <a:cubicBezTo>
                      <a:pt x="227773" y="-1537"/>
                      <a:pt x="232545" y="749"/>
                      <a:pt x="234079" y="5098"/>
                    </a:cubicBezTo>
                    <a:cubicBezTo>
                      <a:pt x="234190" y="5432"/>
                      <a:pt x="234285" y="5767"/>
                      <a:pt x="234357" y="6101"/>
                    </a:cubicBezTo>
                    <a:cubicBezTo>
                      <a:pt x="238650" y="21043"/>
                      <a:pt x="256045" y="39888"/>
                      <a:pt x="274500" y="59792"/>
                    </a:cubicBezTo>
                    <a:cubicBezTo>
                      <a:pt x="302377" y="89620"/>
                      <a:pt x="333487" y="123462"/>
                      <a:pt x="331758" y="157974"/>
                    </a:cubicBezTo>
                    <a:cubicBezTo>
                      <a:pt x="330922" y="174086"/>
                      <a:pt x="322950" y="188917"/>
                      <a:pt x="308063" y="202075"/>
                    </a:cubicBezTo>
                    <a:cubicBezTo>
                      <a:pt x="273887" y="232237"/>
                      <a:pt x="247905" y="203580"/>
                      <a:pt x="227054" y="180610"/>
                    </a:cubicBezTo>
                    <a:cubicBezTo>
                      <a:pt x="212056" y="163884"/>
                      <a:pt x="196501" y="147158"/>
                      <a:pt x="177489" y="144147"/>
                    </a:cubicBezTo>
                    <a:lnTo>
                      <a:pt x="99713" y="137679"/>
                    </a:lnTo>
                    <a:cubicBezTo>
                      <a:pt x="68156" y="136453"/>
                      <a:pt x="45298" y="142809"/>
                      <a:pt x="31917" y="156468"/>
                    </a:cubicBezTo>
                    <a:cubicBezTo>
                      <a:pt x="19762" y="168790"/>
                      <a:pt x="14633" y="187523"/>
                      <a:pt x="16194" y="213671"/>
                    </a:cubicBezTo>
                    <a:cubicBezTo>
                      <a:pt x="20599" y="288492"/>
                      <a:pt x="33366" y="330029"/>
                      <a:pt x="58846" y="352441"/>
                    </a:cubicBezTo>
                    <a:cubicBezTo>
                      <a:pt x="79251" y="370394"/>
                      <a:pt x="109414" y="377363"/>
                      <a:pt x="153626" y="374353"/>
                    </a:cubicBezTo>
                    <a:cubicBezTo>
                      <a:pt x="158243" y="374018"/>
                      <a:pt x="162251" y="377531"/>
                      <a:pt x="162575" y="382158"/>
                    </a:cubicBezTo>
                    <a:cubicBezTo>
                      <a:pt x="162898" y="386730"/>
                      <a:pt x="159413" y="390744"/>
                      <a:pt x="154797" y="391079"/>
                    </a:cubicBezTo>
                    <a:cubicBezTo>
                      <a:pt x="147884" y="391636"/>
                      <a:pt x="140970" y="391860"/>
                      <a:pt x="134670" y="391860"/>
                    </a:cubicBezTo>
                    <a:close/>
                  </a:path>
                </a:pathLst>
              </a:custGeom>
              <a:solidFill>
                <a:srgbClr val="30373B"/>
              </a:solidFill>
              <a:ln w="5573" cap="flat">
                <a:noFill/>
                <a:prstDash val="solid"/>
                <a:miter/>
              </a:ln>
            </p:spPr>
            <p:txBody>
              <a:bodyPr rtlCol="0" anchor="ctr"/>
              <a:lstStyle/>
              <a:p>
                <a:endParaRPr lang="en-GB"/>
              </a:p>
            </p:txBody>
          </p:sp>
          <p:sp>
            <p:nvSpPr>
              <p:cNvPr id="151" name="Graphic 6">
                <a:extLst>
                  <a:ext uri="{FF2B5EF4-FFF2-40B4-BE49-F238E27FC236}">
                    <a16:creationId xmlns:a16="http://schemas.microsoft.com/office/drawing/2014/main" id="{D42D43AE-3699-3F60-646C-91A9B4E39A6B}"/>
                  </a:ext>
                </a:extLst>
              </p:cNvPr>
              <p:cNvSpPr/>
              <p:nvPr/>
            </p:nvSpPr>
            <p:spPr>
              <a:xfrm>
                <a:off x="7553074" y="3241807"/>
                <a:ext cx="1224846" cy="352027"/>
              </a:xfrm>
              <a:custGeom>
                <a:avLst/>
                <a:gdLst>
                  <a:gd name="connsiteX0" fmla="*/ 1153066 w 1224846"/>
                  <a:gd name="connsiteY0" fmla="*/ 351560 h 352027"/>
                  <a:gd name="connsiteX1" fmla="*/ 7556 w 1224846"/>
                  <a:gd name="connsiteY1" fmla="*/ 351560 h 352027"/>
                  <a:gd name="connsiteX2" fmla="*/ -807 w 1224846"/>
                  <a:gd name="connsiteY2" fmla="*/ 343197 h 352027"/>
                  <a:gd name="connsiteX3" fmla="*/ 7556 w 1224846"/>
                  <a:gd name="connsiteY3" fmla="*/ 334834 h 352027"/>
                  <a:gd name="connsiteX4" fmla="*/ 1153066 w 1224846"/>
                  <a:gd name="connsiteY4" fmla="*/ 334834 h 352027"/>
                  <a:gd name="connsiteX5" fmla="*/ 1207314 w 1224846"/>
                  <a:gd name="connsiteY5" fmla="*/ 280586 h 352027"/>
                  <a:gd name="connsiteX6" fmla="*/ 1207314 w 1224846"/>
                  <a:gd name="connsiteY6" fmla="*/ 7896 h 352027"/>
                  <a:gd name="connsiteX7" fmla="*/ 1215677 w 1224846"/>
                  <a:gd name="connsiteY7" fmla="*/ -467 h 352027"/>
                  <a:gd name="connsiteX8" fmla="*/ 1224040 w 1224846"/>
                  <a:gd name="connsiteY8" fmla="*/ 7896 h 352027"/>
                  <a:gd name="connsiteX9" fmla="*/ 1224040 w 1224846"/>
                  <a:gd name="connsiteY9" fmla="*/ 280586 h 352027"/>
                  <a:gd name="connsiteX10" fmla="*/ 1153066 w 1224846"/>
                  <a:gd name="connsiteY10" fmla="*/ 351560 h 35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846" h="352027">
                    <a:moveTo>
                      <a:pt x="1153066" y="351560"/>
                    </a:moveTo>
                    <a:lnTo>
                      <a:pt x="7556" y="351560"/>
                    </a:lnTo>
                    <a:cubicBezTo>
                      <a:pt x="2928" y="351560"/>
                      <a:pt x="-807" y="347814"/>
                      <a:pt x="-807" y="343197"/>
                    </a:cubicBezTo>
                    <a:cubicBezTo>
                      <a:pt x="-807" y="338581"/>
                      <a:pt x="2928" y="334834"/>
                      <a:pt x="7556" y="334834"/>
                    </a:cubicBezTo>
                    <a:lnTo>
                      <a:pt x="1153066" y="334834"/>
                    </a:lnTo>
                    <a:cubicBezTo>
                      <a:pt x="1183005" y="334834"/>
                      <a:pt x="1207314" y="310548"/>
                      <a:pt x="1207314" y="280586"/>
                    </a:cubicBezTo>
                    <a:lnTo>
                      <a:pt x="1207314" y="7896"/>
                    </a:lnTo>
                    <a:cubicBezTo>
                      <a:pt x="1207314" y="3280"/>
                      <a:pt x="1211049" y="-467"/>
                      <a:pt x="1215677" y="-467"/>
                    </a:cubicBezTo>
                    <a:cubicBezTo>
                      <a:pt x="1220305" y="-467"/>
                      <a:pt x="1224040" y="3280"/>
                      <a:pt x="1224040" y="7896"/>
                    </a:cubicBezTo>
                    <a:lnTo>
                      <a:pt x="1224040" y="280586"/>
                    </a:lnTo>
                    <a:cubicBezTo>
                      <a:pt x="1223984" y="319770"/>
                      <a:pt x="1192260" y="351532"/>
                      <a:pt x="1153066" y="351560"/>
                    </a:cubicBezTo>
                    <a:close/>
                  </a:path>
                </a:pathLst>
              </a:custGeom>
              <a:solidFill>
                <a:srgbClr val="30373B"/>
              </a:solidFill>
              <a:ln w="5573" cap="flat">
                <a:noFill/>
                <a:prstDash val="solid"/>
                <a:miter/>
              </a:ln>
            </p:spPr>
            <p:txBody>
              <a:bodyPr rtlCol="0" anchor="ctr"/>
              <a:lstStyle/>
              <a:p>
                <a:endParaRPr lang="en-GB"/>
              </a:p>
            </p:txBody>
          </p:sp>
          <p:sp>
            <p:nvSpPr>
              <p:cNvPr id="152" name="Graphic 6">
                <a:extLst>
                  <a:ext uri="{FF2B5EF4-FFF2-40B4-BE49-F238E27FC236}">
                    <a16:creationId xmlns:a16="http://schemas.microsoft.com/office/drawing/2014/main" id="{4A892AE8-7CA1-758E-2ACB-783A93AE8B2B}"/>
                  </a:ext>
                </a:extLst>
              </p:cNvPr>
              <p:cNvSpPr/>
              <p:nvPr/>
            </p:nvSpPr>
            <p:spPr>
              <a:xfrm>
                <a:off x="7553074" y="3106326"/>
                <a:ext cx="1224567" cy="329614"/>
              </a:xfrm>
              <a:custGeom>
                <a:avLst/>
                <a:gdLst>
                  <a:gd name="connsiteX0" fmla="*/ 7556 w 1224567"/>
                  <a:gd name="connsiteY0" fmla="*/ 329147 h 329614"/>
                  <a:gd name="connsiteX1" fmla="*/ -807 w 1224567"/>
                  <a:gd name="connsiteY1" fmla="*/ 320784 h 329614"/>
                  <a:gd name="connsiteX2" fmla="*/ -807 w 1224567"/>
                  <a:gd name="connsiteY2" fmla="*/ 61419 h 329614"/>
                  <a:gd name="connsiteX3" fmla="*/ 61303 w 1224567"/>
                  <a:gd name="connsiteY3" fmla="*/ -467 h 329614"/>
                  <a:gd name="connsiteX4" fmla="*/ 1215398 w 1224567"/>
                  <a:gd name="connsiteY4" fmla="*/ -467 h 329614"/>
                  <a:gd name="connsiteX5" fmla="*/ 1223761 w 1224567"/>
                  <a:gd name="connsiteY5" fmla="*/ 7896 h 329614"/>
                  <a:gd name="connsiteX6" fmla="*/ 1215398 w 1224567"/>
                  <a:gd name="connsiteY6" fmla="*/ 16259 h 329614"/>
                  <a:gd name="connsiteX7" fmla="*/ 61303 w 1224567"/>
                  <a:gd name="connsiteY7" fmla="*/ 16259 h 329614"/>
                  <a:gd name="connsiteX8" fmla="*/ 15919 w 1224567"/>
                  <a:gd name="connsiteY8" fmla="*/ 61643 h 329614"/>
                  <a:gd name="connsiteX9" fmla="*/ 15919 w 1224567"/>
                  <a:gd name="connsiteY9" fmla="*/ 321007 h 329614"/>
                  <a:gd name="connsiteX10" fmla="*/ 7556 w 1224567"/>
                  <a:gd name="connsiteY10" fmla="*/ 329147 h 32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67" h="329614">
                    <a:moveTo>
                      <a:pt x="7556" y="329147"/>
                    </a:moveTo>
                    <a:cubicBezTo>
                      <a:pt x="2928" y="329147"/>
                      <a:pt x="-807" y="325401"/>
                      <a:pt x="-807" y="320784"/>
                    </a:cubicBezTo>
                    <a:lnTo>
                      <a:pt x="-807" y="61419"/>
                    </a:lnTo>
                    <a:cubicBezTo>
                      <a:pt x="-640" y="27232"/>
                      <a:pt x="27126" y="-406"/>
                      <a:pt x="61303" y="-467"/>
                    </a:cubicBezTo>
                    <a:lnTo>
                      <a:pt x="1215398" y="-467"/>
                    </a:lnTo>
                    <a:cubicBezTo>
                      <a:pt x="1220026" y="-467"/>
                      <a:pt x="1223761" y="3280"/>
                      <a:pt x="1223761" y="7896"/>
                    </a:cubicBezTo>
                    <a:cubicBezTo>
                      <a:pt x="1223761" y="12513"/>
                      <a:pt x="1220026" y="16259"/>
                      <a:pt x="1215398" y="16259"/>
                    </a:cubicBezTo>
                    <a:lnTo>
                      <a:pt x="61303" y="16259"/>
                    </a:lnTo>
                    <a:cubicBezTo>
                      <a:pt x="36269" y="16287"/>
                      <a:pt x="15975" y="36592"/>
                      <a:pt x="15919" y="61643"/>
                    </a:cubicBezTo>
                    <a:lnTo>
                      <a:pt x="15919" y="321007"/>
                    </a:lnTo>
                    <a:cubicBezTo>
                      <a:pt x="15808" y="325540"/>
                      <a:pt x="12072" y="329147"/>
                      <a:pt x="7556" y="329147"/>
                    </a:cubicBezTo>
                    <a:close/>
                  </a:path>
                </a:pathLst>
              </a:custGeom>
              <a:solidFill>
                <a:srgbClr val="30373B"/>
              </a:solidFill>
              <a:ln w="5573" cap="flat">
                <a:noFill/>
                <a:prstDash val="solid"/>
                <a:miter/>
              </a:ln>
            </p:spPr>
            <p:txBody>
              <a:bodyPr rtlCol="0" anchor="ctr"/>
              <a:lstStyle/>
              <a:p>
                <a:endParaRPr lang="en-GB"/>
              </a:p>
            </p:txBody>
          </p:sp>
          <p:sp>
            <p:nvSpPr>
              <p:cNvPr id="153" name="Graphic 6">
                <a:extLst>
                  <a:ext uri="{FF2B5EF4-FFF2-40B4-BE49-F238E27FC236}">
                    <a16:creationId xmlns:a16="http://schemas.microsoft.com/office/drawing/2014/main" id="{D38896DC-77E6-A640-6783-3D0940578809}"/>
                  </a:ext>
                </a:extLst>
              </p:cNvPr>
              <p:cNvSpPr/>
              <p:nvPr/>
            </p:nvSpPr>
            <p:spPr>
              <a:xfrm>
                <a:off x="5950275" y="3095175"/>
                <a:ext cx="1224846" cy="487730"/>
              </a:xfrm>
              <a:custGeom>
                <a:avLst/>
                <a:gdLst>
                  <a:gd name="connsiteX0" fmla="*/ 1138068 w 1224846"/>
                  <a:gd name="connsiteY0" fmla="*/ 487264 h 487730"/>
                  <a:gd name="connsiteX1" fmla="*/ 85221 w 1224846"/>
                  <a:gd name="connsiteY1" fmla="*/ 487264 h 487730"/>
                  <a:gd name="connsiteX2" fmla="*/ -807 w 1224846"/>
                  <a:gd name="connsiteY2" fmla="*/ 401236 h 487730"/>
                  <a:gd name="connsiteX3" fmla="*/ -807 w 1224846"/>
                  <a:gd name="connsiteY3" fmla="*/ 85505 h 487730"/>
                  <a:gd name="connsiteX4" fmla="*/ 85221 w 1224846"/>
                  <a:gd name="connsiteY4" fmla="*/ -467 h 487730"/>
                  <a:gd name="connsiteX5" fmla="*/ 1138068 w 1224846"/>
                  <a:gd name="connsiteY5" fmla="*/ -467 h 487730"/>
                  <a:gd name="connsiteX6" fmla="*/ 1224040 w 1224846"/>
                  <a:gd name="connsiteY6" fmla="*/ 85505 h 487730"/>
                  <a:gd name="connsiteX7" fmla="*/ 1224040 w 1224846"/>
                  <a:gd name="connsiteY7" fmla="*/ 401236 h 487730"/>
                  <a:gd name="connsiteX8" fmla="*/ 1138068 w 1224846"/>
                  <a:gd name="connsiteY8" fmla="*/ 487264 h 487730"/>
                  <a:gd name="connsiteX9" fmla="*/ 85221 w 1224846"/>
                  <a:gd name="connsiteY9" fmla="*/ 16259 h 487730"/>
                  <a:gd name="connsiteX10" fmla="*/ 15919 w 1224846"/>
                  <a:gd name="connsiteY10" fmla="*/ 85561 h 487730"/>
                  <a:gd name="connsiteX11" fmla="*/ 15919 w 1224846"/>
                  <a:gd name="connsiteY11" fmla="*/ 401292 h 487730"/>
                  <a:gd name="connsiteX12" fmla="*/ 85221 w 1224846"/>
                  <a:gd name="connsiteY12" fmla="*/ 470594 h 487730"/>
                  <a:gd name="connsiteX13" fmla="*/ 1138068 w 1224846"/>
                  <a:gd name="connsiteY13" fmla="*/ 470594 h 487730"/>
                  <a:gd name="connsiteX14" fmla="*/ 1207314 w 1224846"/>
                  <a:gd name="connsiteY14" fmla="*/ 401236 h 487730"/>
                  <a:gd name="connsiteX15" fmla="*/ 1207314 w 1224846"/>
                  <a:gd name="connsiteY15" fmla="*/ 85505 h 487730"/>
                  <a:gd name="connsiteX16" fmla="*/ 1138068 w 1224846"/>
                  <a:gd name="connsiteY16" fmla="*/ 16259 h 48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4846" h="487730">
                    <a:moveTo>
                      <a:pt x="1138068" y="487264"/>
                    </a:moveTo>
                    <a:lnTo>
                      <a:pt x="85221" y="487264"/>
                    </a:lnTo>
                    <a:cubicBezTo>
                      <a:pt x="37736" y="487203"/>
                      <a:pt x="-745" y="448722"/>
                      <a:pt x="-807" y="401236"/>
                    </a:cubicBezTo>
                    <a:lnTo>
                      <a:pt x="-807" y="85505"/>
                    </a:lnTo>
                    <a:cubicBezTo>
                      <a:pt x="-712" y="38042"/>
                      <a:pt x="37758" y="-406"/>
                      <a:pt x="85221" y="-467"/>
                    </a:cubicBezTo>
                    <a:lnTo>
                      <a:pt x="1138068" y="-467"/>
                    </a:lnTo>
                    <a:cubicBezTo>
                      <a:pt x="1185514" y="-378"/>
                      <a:pt x="1223928" y="38064"/>
                      <a:pt x="1224040" y="85505"/>
                    </a:cubicBezTo>
                    <a:lnTo>
                      <a:pt x="1224040" y="401236"/>
                    </a:lnTo>
                    <a:cubicBezTo>
                      <a:pt x="1223984" y="448699"/>
                      <a:pt x="1185514" y="487169"/>
                      <a:pt x="1138068" y="487264"/>
                    </a:cubicBezTo>
                    <a:close/>
                    <a:moveTo>
                      <a:pt x="85221" y="16259"/>
                    </a:moveTo>
                    <a:cubicBezTo>
                      <a:pt x="46957" y="16287"/>
                      <a:pt x="15947" y="47297"/>
                      <a:pt x="15919" y="85561"/>
                    </a:cubicBezTo>
                    <a:lnTo>
                      <a:pt x="15919" y="401292"/>
                    </a:lnTo>
                    <a:cubicBezTo>
                      <a:pt x="15947" y="439556"/>
                      <a:pt x="46957" y="470560"/>
                      <a:pt x="85221" y="470594"/>
                    </a:cubicBezTo>
                    <a:lnTo>
                      <a:pt x="1138068" y="470594"/>
                    </a:lnTo>
                    <a:cubicBezTo>
                      <a:pt x="1176315" y="470499"/>
                      <a:pt x="1207258" y="439483"/>
                      <a:pt x="1207314" y="401236"/>
                    </a:cubicBezTo>
                    <a:lnTo>
                      <a:pt x="1207314" y="85505"/>
                    </a:lnTo>
                    <a:cubicBezTo>
                      <a:pt x="1207202" y="47297"/>
                      <a:pt x="1176260" y="16348"/>
                      <a:pt x="1138068" y="16259"/>
                    </a:cubicBezTo>
                    <a:close/>
                  </a:path>
                </a:pathLst>
              </a:custGeom>
              <a:solidFill>
                <a:srgbClr val="30373B"/>
              </a:solidFill>
              <a:ln w="5573" cap="flat">
                <a:noFill/>
                <a:prstDash val="solid"/>
                <a:miter/>
              </a:ln>
            </p:spPr>
            <p:txBody>
              <a:bodyPr rtlCol="0" anchor="ctr"/>
              <a:lstStyle/>
              <a:p>
                <a:endParaRPr lang="en-GB"/>
              </a:p>
            </p:txBody>
          </p:sp>
          <p:sp>
            <p:nvSpPr>
              <p:cNvPr id="154" name="Graphic 6">
                <a:extLst>
                  <a:ext uri="{FF2B5EF4-FFF2-40B4-BE49-F238E27FC236}">
                    <a16:creationId xmlns:a16="http://schemas.microsoft.com/office/drawing/2014/main" id="{327604BF-299B-BC4A-12CD-25E5A0DF0996}"/>
                  </a:ext>
                </a:extLst>
              </p:cNvPr>
              <p:cNvSpPr/>
              <p:nvPr/>
            </p:nvSpPr>
            <p:spPr>
              <a:xfrm>
                <a:off x="5934887" y="4965479"/>
                <a:ext cx="397521" cy="397521"/>
              </a:xfrm>
              <a:custGeom>
                <a:avLst/>
                <a:gdLst>
                  <a:gd name="connsiteX0" fmla="*/ 197954 w 397521"/>
                  <a:gd name="connsiteY0" fmla="*/ 397055 h 397521"/>
                  <a:gd name="connsiteX1" fmla="*/ -807 w 397521"/>
                  <a:gd name="connsiteY1" fmla="*/ 198294 h 397521"/>
                  <a:gd name="connsiteX2" fmla="*/ 197954 w 397521"/>
                  <a:gd name="connsiteY2" fmla="*/ -467 h 397521"/>
                  <a:gd name="connsiteX3" fmla="*/ 396715 w 397521"/>
                  <a:gd name="connsiteY3" fmla="*/ 198294 h 397521"/>
                  <a:gd name="connsiteX4" fmla="*/ 197954 w 397521"/>
                  <a:gd name="connsiteY4" fmla="*/ 397055 h 397521"/>
                  <a:gd name="connsiteX5" fmla="*/ 197954 w 397521"/>
                  <a:gd name="connsiteY5" fmla="*/ 16259 h 397521"/>
                  <a:gd name="connsiteX6" fmla="*/ 15919 w 397521"/>
                  <a:gd name="connsiteY6" fmla="*/ 198294 h 397521"/>
                  <a:gd name="connsiteX7" fmla="*/ 197954 w 397521"/>
                  <a:gd name="connsiteY7" fmla="*/ 380329 h 397521"/>
                  <a:gd name="connsiteX8" fmla="*/ 379989 w 397521"/>
                  <a:gd name="connsiteY8" fmla="*/ 198294 h 397521"/>
                  <a:gd name="connsiteX9" fmla="*/ 197954 w 397521"/>
                  <a:gd name="connsiteY9" fmla="*/ 16259 h 397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521" h="397521">
                    <a:moveTo>
                      <a:pt x="197954" y="397055"/>
                    </a:moveTo>
                    <a:cubicBezTo>
                      <a:pt x="88181" y="397055"/>
                      <a:pt x="-807" y="308072"/>
                      <a:pt x="-807" y="198294"/>
                    </a:cubicBezTo>
                    <a:cubicBezTo>
                      <a:pt x="-807" y="88521"/>
                      <a:pt x="88181" y="-467"/>
                      <a:pt x="197954" y="-467"/>
                    </a:cubicBezTo>
                    <a:cubicBezTo>
                      <a:pt x="307733" y="-467"/>
                      <a:pt x="396715" y="88521"/>
                      <a:pt x="396715" y="198294"/>
                    </a:cubicBezTo>
                    <a:cubicBezTo>
                      <a:pt x="396603" y="308017"/>
                      <a:pt x="307677" y="396943"/>
                      <a:pt x="197954" y="397055"/>
                    </a:cubicBezTo>
                    <a:close/>
                    <a:moveTo>
                      <a:pt x="197954" y="16259"/>
                    </a:moveTo>
                    <a:cubicBezTo>
                      <a:pt x="97420" y="16259"/>
                      <a:pt x="15919" y="97759"/>
                      <a:pt x="15919" y="198294"/>
                    </a:cubicBezTo>
                    <a:cubicBezTo>
                      <a:pt x="15919" y="298817"/>
                      <a:pt x="97420" y="380329"/>
                      <a:pt x="197954" y="380329"/>
                    </a:cubicBezTo>
                    <a:cubicBezTo>
                      <a:pt x="298478" y="380329"/>
                      <a:pt x="379989" y="298817"/>
                      <a:pt x="379989" y="198294"/>
                    </a:cubicBezTo>
                    <a:cubicBezTo>
                      <a:pt x="379877" y="97799"/>
                      <a:pt x="298478" y="16354"/>
                      <a:pt x="197954" y="16259"/>
                    </a:cubicBezTo>
                    <a:close/>
                  </a:path>
                </a:pathLst>
              </a:custGeom>
              <a:solidFill>
                <a:srgbClr val="30373B"/>
              </a:solidFill>
              <a:ln w="5573" cap="flat">
                <a:noFill/>
                <a:prstDash val="solid"/>
                <a:miter/>
              </a:ln>
            </p:spPr>
            <p:txBody>
              <a:bodyPr rtlCol="0" anchor="ctr"/>
              <a:lstStyle/>
              <a:p>
                <a:endParaRPr lang="en-GB"/>
              </a:p>
            </p:txBody>
          </p:sp>
          <p:sp>
            <p:nvSpPr>
              <p:cNvPr id="155" name="Graphic 6">
                <a:extLst>
                  <a:ext uri="{FF2B5EF4-FFF2-40B4-BE49-F238E27FC236}">
                    <a16:creationId xmlns:a16="http://schemas.microsoft.com/office/drawing/2014/main" id="{38ED5D2D-96E6-E658-41A4-32C2A341EB69}"/>
                  </a:ext>
                </a:extLst>
              </p:cNvPr>
              <p:cNvSpPr/>
              <p:nvPr/>
            </p:nvSpPr>
            <p:spPr>
              <a:xfrm>
                <a:off x="6125285" y="4965702"/>
                <a:ext cx="16726" cy="222901"/>
              </a:xfrm>
              <a:custGeom>
                <a:avLst/>
                <a:gdLst>
                  <a:gd name="connsiteX0" fmla="*/ 7556 w 16726"/>
                  <a:gd name="connsiteY0" fmla="*/ 222435 h 222901"/>
                  <a:gd name="connsiteX1" fmla="*/ -807 w 16726"/>
                  <a:gd name="connsiteY1" fmla="*/ 214072 h 222901"/>
                  <a:gd name="connsiteX2" fmla="*/ -807 w 16726"/>
                  <a:gd name="connsiteY2" fmla="*/ 7896 h 222901"/>
                  <a:gd name="connsiteX3" fmla="*/ 7556 w 16726"/>
                  <a:gd name="connsiteY3" fmla="*/ -467 h 222901"/>
                  <a:gd name="connsiteX4" fmla="*/ 15919 w 16726"/>
                  <a:gd name="connsiteY4" fmla="*/ 7896 h 222901"/>
                  <a:gd name="connsiteX5" fmla="*/ 15919 w 16726"/>
                  <a:gd name="connsiteY5" fmla="*/ 214184 h 222901"/>
                  <a:gd name="connsiteX6" fmla="*/ 7556 w 16726"/>
                  <a:gd name="connsiteY6" fmla="*/ 222435 h 22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222901">
                    <a:moveTo>
                      <a:pt x="7556" y="222435"/>
                    </a:moveTo>
                    <a:cubicBezTo>
                      <a:pt x="2940" y="222435"/>
                      <a:pt x="-807" y="218689"/>
                      <a:pt x="-807" y="214072"/>
                    </a:cubicBezTo>
                    <a:lnTo>
                      <a:pt x="-807" y="7896"/>
                    </a:lnTo>
                    <a:cubicBezTo>
                      <a:pt x="-807" y="3280"/>
                      <a:pt x="2940" y="-467"/>
                      <a:pt x="7556" y="-467"/>
                    </a:cubicBezTo>
                    <a:cubicBezTo>
                      <a:pt x="12173" y="-467"/>
                      <a:pt x="15919" y="3280"/>
                      <a:pt x="15919" y="7896"/>
                    </a:cubicBezTo>
                    <a:lnTo>
                      <a:pt x="15919" y="214184"/>
                    </a:lnTo>
                    <a:cubicBezTo>
                      <a:pt x="15858" y="218761"/>
                      <a:pt x="12134" y="222435"/>
                      <a:pt x="7556" y="222435"/>
                    </a:cubicBezTo>
                    <a:close/>
                  </a:path>
                </a:pathLst>
              </a:custGeom>
              <a:solidFill>
                <a:srgbClr val="30373B"/>
              </a:solidFill>
              <a:ln w="5573" cap="flat">
                <a:noFill/>
                <a:prstDash val="solid"/>
                <a:miter/>
              </a:ln>
            </p:spPr>
            <p:txBody>
              <a:bodyPr rtlCol="0" anchor="ctr"/>
              <a:lstStyle/>
              <a:p>
                <a:endParaRPr lang="en-GB"/>
              </a:p>
            </p:txBody>
          </p:sp>
          <p:sp>
            <p:nvSpPr>
              <p:cNvPr id="156" name="Graphic 6">
                <a:extLst>
                  <a:ext uri="{FF2B5EF4-FFF2-40B4-BE49-F238E27FC236}">
                    <a16:creationId xmlns:a16="http://schemas.microsoft.com/office/drawing/2014/main" id="{96C732E8-263A-9048-05B4-B4901D9C3161}"/>
                  </a:ext>
                </a:extLst>
              </p:cNvPr>
              <p:cNvSpPr/>
              <p:nvPr/>
            </p:nvSpPr>
            <p:spPr>
              <a:xfrm>
                <a:off x="7561716" y="4965367"/>
                <a:ext cx="397633" cy="397633"/>
              </a:xfrm>
              <a:custGeom>
                <a:avLst/>
                <a:gdLst>
                  <a:gd name="connsiteX0" fmla="*/ 198010 w 397633"/>
                  <a:gd name="connsiteY0" fmla="*/ 397167 h 397633"/>
                  <a:gd name="connsiteX1" fmla="*/ -807 w 397633"/>
                  <a:gd name="connsiteY1" fmla="*/ 198350 h 397633"/>
                  <a:gd name="connsiteX2" fmla="*/ 198010 w 397633"/>
                  <a:gd name="connsiteY2" fmla="*/ -467 h 397633"/>
                  <a:gd name="connsiteX3" fmla="*/ 396827 w 397633"/>
                  <a:gd name="connsiteY3" fmla="*/ 198350 h 397633"/>
                  <a:gd name="connsiteX4" fmla="*/ 237762 w 397633"/>
                  <a:gd name="connsiteY4" fmla="*/ 393152 h 397633"/>
                  <a:gd name="connsiteX5" fmla="*/ 237762 w 397633"/>
                  <a:gd name="connsiteY5" fmla="*/ 393152 h 397633"/>
                  <a:gd name="connsiteX6" fmla="*/ 198010 w 397633"/>
                  <a:gd name="connsiteY6" fmla="*/ 397167 h 397633"/>
                  <a:gd name="connsiteX7" fmla="*/ 236090 w 397633"/>
                  <a:gd name="connsiteY7" fmla="*/ 384957 h 397633"/>
                  <a:gd name="connsiteX8" fmla="*/ 236090 w 397633"/>
                  <a:gd name="connsiteY8" fmla="*/ 384957 h 397633"/>
                  <a:gd name="connsiteX9" fmla="*/ 198456 w 397633"/>
                  <a:gd name="connsiteY9" fmla="*/ 16315 h 397633"/>
                  <a:gd name="connsiteX10" fmla="*/ 16254 w 397633"/>
                  <a:gd name="connsiteY10" fmla="*/ 198171 h 397633"/>
                  <a:gd name="connsiteX11" fmla="*/ 198122 w 397633"/>
                  <a:gd name="connsiteY11" fmla="*/ 380385 h 397633"/>
                  <a:gd name="connsiteX12" fmla="*/ 234417 w 397633"/>
                  <a:gd name="connsiteY12" fmla="*/ 376761 h 397633"/>
                  <a:gd name="connsiteX13" fmla="*/ 234417 w 397633"/>
                  <a:gd name="connsiteY13" fmla="*/ 376761 h 397633"/>
                  <a:gd name="connsiteX14" fmla="*/ 376086 w 397633"/>
                  <a:gd name="connsiteY14" fmla="*/ 161720 h 397633"/>
                  <a:gd name="connsiteX15" fmla="*/ 198456 w 397633"/>
                  <a:gd name="connsiteY15" fmla="*/ 16315 h 39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7633" h="397633">
                    <a:moveTo>
                      <a:pt x="198010" y="397167"/>
                    </a:moveTo>
                    <a:cubicBezTo>
                      <a:pt x="88232" y="397167"/>
                      <a:pt x="-807" y="308128"/>
                      <a:pt x="-807" y="198350"/>
                    </a:cubicBezTo>
                    <a:cubicBezTo>
                      <a:pt x="-807" y="88544"/>
                      <a:pt x="88232" y="-467"/>
                      <a:pt x="198010" y="-467"/>
                    </a:cubicBezTo>
                    <a:cubicBezTo>
                      <a:pt x="307844" y="-467"/>
                      <a:pt x="396827" y="88549"/>
                      <a:pt x="396827" y="198350"/>
                    </a:cubicBezTo>
                    <a:cubicBezTo>
                      <a:pt x="396827" y="292852"/>
                      <a:pt x="330313" y="374252"/>
                      <a:pt x="237762" y="393152"/>
                    </a:cubicBezTo>
                    <a:lnTo>
                      <a:pt x="237762" y="393152"/>
                    </a:lnTo>
                    <a:cubicBezTo>
                      <a:pt x="224660" y="395828"/>
                      <a:pt x="211335" y="397167"/>
                      <a:pt x="198010" y="397167"/>
                    </a:cubicBezTo>
                    <a:close/>
                    <a:moveTo>
                      <a:pt x="236090" y="384957"/>
                    </a:moveTo>
                    <a:lnTo>
                      <a:pt x="236090" y="384957"/>
                    </a:lnTo>
                    <a:close/>
                    <a:moveTo>
                      <a:pt x="198456" y="16315"/>
                    </a:moveTo>
                    <a:cubicBezTo>
                      <a:pt x="97933" y="16215"/>
                      <a:pt x="16366" y="97637"/>
                      <a:pt x="16254" y="198171"/>
                    </a:cubicBezTo>
                    <a:cubicBezTo>
                      <a:pt x="16143" y="298706"/>
                      <a:pt x="97542" y="380273"/>
                      <a:pt x="198122" y="380385"/>
                    </a:cubicBezTo>
                    <a:cubicBezTo>
                      <a:pt x="210276" y="380385"/>
                      <a:pt x="222486" y="379158"/>
                      <a:pt x="234417" y="376761"/>
                    </a:cubicBezTo>
                    <a:lnTo>
                      <a:pt x="234417" y="376761"/>
                    </a:lnTo>
                    <a:cubicBezTo>
                      <a:pt x="332933" y="356522"/>
                      <a:pt x="396325" y="260236"/>
                      <a:pt x="376086" y="161720"/>
                    </a:cubicBezTo>
                    <a:cubicBezTo>
                      <a:pt x="358747" y="77331"/>
                      <a:pt x="284595" y="16661"/>
                      <a:pt x="198456" y="16315"/>
                    </a:cubicBezTo>
                    <a:close/>
                  </a:path>
                </a:pathLst>
              </a:custGeom>
              <a:solidFill>
                <a:srgbClr val="30373B"/>
              </a:solidFill>
              <a:ln w="5573" cap="flat">
                <a:noFill/>
                <a:prstDash val="solid"/>
                <a:miter/>
              </a:ln>
            </p:spPr>
            <p:txBody>
              <a:bodyPr rtlCol="0" anchor="ctr"/>
              <a:lstStyle/>
              <a:p>
                <a:endParaRPr lang="en-GB"/>
              </a:p>
            </p:txBody>
          </p:sp>
          <p:sp>
            <p:nvSpPr>
              <p:cNvPr id="157" name="Graphic 6">
                <a:extLst>
                  <a:ext uri="{FF2B5EF4-FFF2-40B4-BE49-F238E27FC236}">
                    <a16:creationId xmlns:a16="http://schemas.microsoft.com/office/drawing/2014/main" id="{514BBECC-ECB9-22DA-1E25-C99C5F388BC3}"/>
                  </a:ext>
                </a:extLst>
              </p:cNvPr>
              <p:cNvSpPr/>
              <p:nvPr/>
            </p:nvSpPr>
            <p:spPr>
              <a:xfrm>
                <a:off x="7737233" y="5098055"/>
                <a:ext cx="213475" cy="79445"/>
              </a:xfrm>
              <a:custGeom>
                <a:avLst/>
                <a:gdLst>
                  <a:gd name="connsiteX0" fmla="*/ 7551 w 213475"/>
                  <a:gd name="connsiteY0" fmla="*/ 78931 h 79445"/>
                  <a:gd name="connsiteX1" fmla="*/ -421 w 213475"/>
                  <a:gd name="connsiteY1" fmla="*/ 73356 h 79445"/>
                  <a:gd name="connsiteX2" fmla="*/ 5154 w 213475"/>
                  <a:gd name="connsiteY2" fmla="*/ 62824 h 79445"/>
                  <a:gd name="connsiteX3" fmla="*/ 5154 w 213475"/>
                  <a:gd name="connsiteY3" fmla="*/ 62819 h 79445"/>
                  <a:gd name="connsiteX4" fmla="*/ 201741 w 213475"/>
                  <a:gd name="connsiteY4" fmla="*/ -71 h 79445"/>
                  <a:gd name="connsiteX5" fmla="*/ 212278 w 213475"/>
                  <a:gd name="connsiteY5" fmla="*/ 5365 h 79445"/>
                  <a:gd name="connsiteX6" fmla="*/ 206814 w 213475"/>
                  <a:gd name="connsiteY6" fmla="*/ 15874 h 79445"/>
                  <a:gd name="connsiteX7" fmla="*/ 10228 w 213475"/>
                  <a:gd name="connsiteY7" fmla="*/ 78764 h 79445"/>
                  <a:gd name="connsiteX8" fmla="*/ 7551 w 213475"/>
                  <a:gd name="connsiteY8" fmla="*/ 78931 h 7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475" h="79445">
                    <a:moveTo>
                      <a:pt x="7551" y="78931"/>
                    </a:moveTo>
                    <a:cubicBezTo>
                      <a:pt x="3983" y="78987"/>
                      <a:pt x="749" y="76740"/>
                      <a:pt x="-421" y="73356"/>
                    </a:cubicBezTo>
                    <a:cubicBezTo>
                      <a:pt x="-1815" y="68912"/>
                      <a:pt x="693" y="64201"/>
                      <a:pt x="5154" y="62824"/>
                    </a:cubicBezTo>
                    <a:cubicBezTo>
                      <a:pt x="5154" y="62824"/>
                      <a:pt x="5154" y="62819"/>
                      <a:pt x="5154" y="62819"/>
                    </a:cubicBezTo>
                    <a:lnTo>
                      <a:pt x="201741" y="-71"/>
                    </a:lnTo>
                    <a:cubicBezTo>
                      <a:pt x="206145" y="-1471"/>
                      <a:pt x="210828" y="960"/>
                      <a:pt x="212278" y="5365"/>
                    </a:cubicBezTo>
                    <a:cubicBezTo>
                      <a:pt x="213672" y="9769"/>
                      <a:pt x="211218" y="14475"/>
                      <a:pt x="206814" y="15874"/>
                    </a:cubicBezTo>
                    <a:lnTo>
                      <a:pt x="10228" y="78764"/>
                    </a:lnTo>
                    <a:cubicBezTo>
                      <a:pt x="9336" y="78970"/>
                      <a:pt x="8443" y="79032"/>
                      <a:pt x="7551" y="78931"/>
                    </a:cubicBezTo>
                    <a:close/>
                  </a:path>
                </a:pathLst>
              </a:custGeom>
              <a:solidFill>
                <a:srgbClr val="30373B"/>
              </a:solidFill>
              <a:ln w="5573" cap="flat">
                <a:noFill/>
                <a:prstDash val="solid"/>
                <a:miter/>
              </a:ln>
            </p:spPr>
            <p:txBody>
              <a:bodyPr rtlCol="0" anchor="ctr"/>
              <a:lstStyle/>
              <a:p>
                <a:endParaRPr lang="en-GB"/>
              </a:p>
            </p:txBody>
          </p:sp>
          <p:sp>
            <p:nvSpPr>
              <p:cNvPr id="158" name="Graphic 6">
                <a:extLst>
                  <a:ext uri="{FF2B5EF4-FFF2-40B4-BE49-F238E27FC236}">
                    <a16:creationId xmlns:a16="http://schemas.microsoft.com/office/drawing/2014/main" id="{B0B9BA0C-CDE9-7906-84BB-84585F73E294}"/>
                  </a:ext>
                </a:extLst>
              </p:cNvPr>
              <p:cNvSpPr/>
              <p:nvPr/>
            </p:nvSpPr>
            <p:spPr>
              <a:xfrm>
                <a:off x="758373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59" name="Graphic 6">
                <a:extLst>
                  <a:ext uri="{FF2B5EF4-FFF2-40B4-BE49-F238E27FC236}">
                    <a16:creationId xmlns:a16="http://schemas.microsoft.com/office/drawing/2014/main" id="{D901E415-F37C-2EDA-4C4A-212DD7FBEA76}"/>
                  </a:ext>
                </a:extLst>
              </p:cNvPr>
              <p:cNvSpPr/>
              <p:nvPr/>
            </p:nvSpPr>
            <p:spPr>
              <a:xfrm>
                <a:off x="773159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0" name="Graphic 6">
                <a:extLst>
                  <a:ext uri="{FF2B5EF4-FFF2-40B4-BE49-F238E27FC236}">
                    <a16:creationId xmlns:a16="http://schemas.microsoft.com/office/drawing/2014/main" id="{B77A4349-31F1-D390-C644-1CC31A900EAA}"/>
                  </a:ext>
                </a:extLst>
              </p:cNvPr>
              <p:cNvSpPr/>
              <p:nvPr/>
            </p:nvSpPr>
            <p:spPr>
              <a:xfrm>
                <a:off x="758373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61" name="Graphic 6">
                <a:extLst>
                  <a:ext uri="{FF2B5EF4-FFF2-40B4-BE49-F238E27FC236}">
                    <a16:creationId xmlns:a16="http://schemas.microsoft.com/office/drawing/2014/main" id="{4BB3F4DA-2704-61B1-8C94-3416983CE5BB}"/>
                  </a:ext>
                </a:extLst>
              </p:cNvPr>
              <p:cNvSpPr/>
              <p:nvPr/>
            </p:nvSpPr>
            <p:spPr>
              <a:xfrm>
                <a:off x="773159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2" name="Graphic 6">
                <a:extLst>
                  <a:ext uri="{FF2B5EF4-FFF2-40B4-BE49-F238E27FC236}">
                    <a16:creationId xmlns:a16="http://schemas.microsoft.com/office/drawing/2014/main" id="{6B0320F4-0748-F058-FE07-8D1071106BDB}"/>
                  </a:ext>
                </a:extLst>
              </p:cNvPr>
              <p:cNvSpPr/>
              <p:nvPr/>
            </p:nvSpPr>
            <p:spPr>
              <a:xfrm>
                <a:off x="787482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3" name="Graphic 6">
                <a:extLst>
                  <a:ext uri="{FF2B5EF4-FFF2-40B4-BE49-F238E27FC236}">
                    <a16:creationId xmlns:a16="http://schemas.microsoft.com/office/drawing/2014/main" id="{7E2894DE-14AC-31AA-1372-505E1208265E}"/>
                  </a:ext>
                </a:extLst>
              </p:cNvPr>
              <p:cNvSpPr/>
              <p:nvPr/>
            </p:nvSpPr>
            <p:spPr>
              <a:xfrm>
                <a:off x="787482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4" name="Graphic 6">
                <a:extLst>
                  <a:ext uri="{FF2B5EF4-FFF2-40B4-BE49-F238E27FC236}">
                    <a16:creationId xmlns:a16="http://schemas.microsoft.com/office/drawing/2014/main" id="{20A940E3-5BD6-43F9-7879-3313BC58B189}"/>
                  </a:ext>
                </a:extLst>
              </p:cNvPr>
              <p:cNvSpPr/>
              <p:nvPr/>
            </p:nvSpPr>
            <p:spPr>
              <a:xfrm>
                <a:off x="8363171"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75"/>
                      <a:pt x="81374" y="105431"/>
                      <a:pt x="52159" y="105465"/>
                    </a:cubicBezTo>
                    <a:close/>
                    <a:moveTo>
                      <a:pt x="52159" y="16259"/>
                    </a:moveTo>
                    <a:cubicBezTo>
                      <a:pt x="32144" y="16259"/>
                      <a:pt x="15919" y="32484"/>
                      <a:pt x="15919" y="52499"/>
                    </a:cubicBezTo>
                    <a:cubicBezTo>
                      <a:pt x="15919" y="72515"/>
                      <a:pt x="32144" y="88739"/>
                      <a:pt x="52159" y="88739"/>
                    </a:cubicBezTo>
                    <a:cubicBezTo>
                      <a:pt x="72175" y="88739"/>
                      <a:pt x="88399" y="72515"/>
                      <a:pt x="88399" y="52499"/>
                    </a:cubicBezTo>
                    <a:cubicBezTo>
                      <a:pt x="88343" y="32517"/>
                      <a:pt x="72119" y="16343"/>
                      <a:pt x="52159" y="16315"/>
                    </a:cubicBezTo>
                    <a:close/>
                  </a:path>
                </a:pathLst>
              </a:custGeom>
              <a:solidFill>
                <a:srgbClr val="30373B"/>
              </a:solidFill>
              <a:ln w="5573" cap="flat">
                <a:noFill/>
                <a:prstDash val="solid"/>
                <a:miter/>
              </a:ln>
            </p:spPr>
            <p:txBody>
              <a:bodyPr rtlCol="0" anchor="ctr"/>
              <a:lstStyle/>
              <a:p>
                <a:endParaRPr lang="en-GB"/>
              </a:p>
            </p:txBody>
          </p:sp>
          <p:sp>
            <p:nvSpPr>
              <p:cNvPr id="165" name="Graphic 6">
                <a:extLst>
                  <a:ext uri="{FF2B5EF4-FFF2-40B4-BE49-F238E27FC236}">
                    <a16:creationId xmlns:a16="http://schemas.microsoft.com/office/drawing/2014/main" id="{1F6CF991-43F2-9CA2-3F73-CFCCB80553F8}"/>
                  </a:ext>
                </a:extLst>
              </p:cNvPr>
              <p:cNvSpPr/>
              <p:nvPr/>
            </p:nvSpPr>
            <p:spPr>
              <a:xfrm>
                <a:off x="8510973"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6" name="Graphic 6">
                <a:extLst>
                  <a:ext uri="{FF2B5EF4-FFF2-40B4-BE49-F238E27FC236}">
                    <a16:creationId xmlns:a16="http://schemas.microsoft.com/office/drawing/2014/main" id="{2EAD32A4-8568-4DCF-7911-571E1EA9FBE0}"/>
                  </a:ext>
                </a:extLst>
              </p:cNvPr>
              <p:cNvSpPr/>
              <p:nvPr/>
            </p:nvSpPr>
            <p:spPr>
              <a:xfrm>
                <a:off x="8363171"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09"/>
                      <a:pt x="52159" y="105465"/>
                    </a:cubicBezTo>
                    <a:close/>
                    <a:moveTo>
                      <a:pt x="52159" y="16259"/>
                    </a:moveTo>
                    <a:cubicBezTo>
                      <a:pt x="32144" y="16259"/>
                      <a:pt x="15919" y="32483"/>
                      <a:pt x="15919" y="52499"/>
                    </a:cubicBezTo>
                    <a:cubicBezTo>
                      <a:pt x="15919" y="72514"/>
                      <a:pt x="32144" y="88739"/>
                      <a:pt x="52159" y="88739"/>
                    </a:cubicBezTo>
                    <a:cubicBezTo>
                      <a:pt x="72175" y="88739"/>
                      <a:pt x="88399" y="72514"/>
                      <a:pt x="88399" y="52499"/>
                    </a:cubicBezTo>
                    <a:cubicBezTo>
                      <a:pt x="88343" y="32517"/>
                      <a:pt x="72119" y="16348"/>
                      <a:pt x="52159" y="16315"/>
                    </a:cubicBezTo>
                    <a:close/>
                  </a:path>
                </a:pathLst>
              </a:custGeom>
              <a:solidFill>
                <a:srgbClr val="30373B"/>
              </a:solidFill>
              <a:ln w="5573" cap="flat">
                <a:noFill/>
                <a:prstDash val="solid"/>
                <a:miter/>
              </a:ln>
            </p:spPr>
            <p:txBody>
              <a:bodyPr rtlCol="0" anchor="ctr"/>
              <a:lstStyle/>
              <a:p>
                <a:endParaRPr lang="en-GB"/>
              </a:p>
            </p:txBody>
          </p:sp>
          <p:sp>
            <p:nvSpPr>
              <p:cNvPr id="167" name="Graphic 6">
                <a:extLst>
                  <a:ext uri="{FF2B5EF4-FFF2-40B4-BE49-F238E27FC236}">
                    <a16:creationId xmlns:a16="http://schemas.microsoft.com/office/drawing/2014/main" id="{2EA44193-9527-289E-7573-C12BEEF3D096}"/>
                  </a:ext>
                </a:extLst>
              </p:cNvPr>
              <p:cNvSpPr/>
              <p:nvPr/>
            </p:nvSpPr>
            <p:spPr>
              <a:xfrm>
                <a:off x="8510973"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8" name="Graphic 6">
                <a:extLst>
                  <a:ext uri="{FF2B5EF4-FFF2-40B4-BE49-F238E27FC236}">
                    <a16:creationId xmlns:a16="http://schemas.microsoft.com/office/drawing/2014/main" id="{3B6774C7-3B06-7240-6471-00E417768866}"/>
                  </a:ext>
                </a:extLst>
              </p:cNvPr>
              <p:cNvSpPr/>
              <p:nvPr/>
            </p:nvSpPr>
            <p:spPr>
              <a:xfrm>
                <a:off x="8654204"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9" name="Graphic 6">
                <a:extLst>
                  <a:ext uri="{FF2B5EF4-FFF2-40B4-BE49-F238E27FC236}">
                    <a16:creationId xmlns:a16="http://schemas.microsoft.com/office/drawing/2014/main" id="{F1D66DC7-AD83-028A-679D-949673EE65F1}"/>
                  </a:ext>
                </a:extLst>
              </p:cNvPr>
              <p:cNvSpPr/>
              <p:nvPr/>
            </p:nvSpPr>
            <p:spPr>
              <a:xfrm>
                <a:off x="6727032"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0" name="Graphic 6">
                <a:extLst>
                  <a:ext uri="{FF2B5EF4-FFF2-40B4-BE49-F238E27FC236}">
                    <a16:creationId xmlns:a16="http://schemas.microsoft.com/office/drawing/2014/main" id="{8D4A0829-DDB2-21FA-D79F-CE20C8B39411}"/>
                  </a:ext>
                </a:extLst>
              </p:cNvPr>
              <p:cNvSpPr/>
              <p:nvPr/>
            </p:nvSpPr>
            <p:spPr>
              <a:xfrm>
                <a:off x="687483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1" name="Graphic 6">
                <a:extLst>
                  <a:ext uri="{FF2B5EF4-FFF2-40B4-BE49-F238E27FC236}">
                    <a16:creationId xmlns:a16="http://schemas.microsoft.com/office/drawing/2014/main" id="{A0309058-70F9-F61B-63F8-C55DF2A0DF97}"/>
                  </a:ext>
                </a:extLst>
              </p:cNvPr>
              <p:cNvSpPr/>
              <p:nvPr/>
            </p:nvSpPr>
            <p:spPr>
              <a:xfrm>
                <a:off x="6727032"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2" name="Graphic 6">
                <a:extLst>
                  <a:ext uri="{FF2B5EF4-FFF2-40B4-BE49-F238E27FC236}">
                    <a16:creationId xmlns:a16="http://schemas.microsoft.com/office/drawing/2014/main" id="{2AAA7506-410A-EDB2-0CF6-FAB72BD77FD0}"/>
                  </a:ext>
                </a:extLst>
              </p:cNvPr>
              <p:cNvSpPr/>
              <p:nvPr/>
            </p:nvSpPr>
            <p:spPr>
              <a:xfrm>
                <a:off x="6874834" y="5160895"/>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520"/>
                      <a:pt x="-751" y="81825"/>
                      <a:pt x="-807" y="52555"/>
                    </a:cubicBezTo>
                    <a:cubicBezTo>
                      <a:pt x="-862" y="23301"/>
                      <a:pt x="22833" y="-433"/>
                      <a:pt x="52103" y="-467"/>
                    </a:cubicBezTo>
                    <a:cubicBezTo>
                      <a:pt x="81374" y="-495"/>
                      <a:pt x="105069" y="23189"/>
                      <a:pt x="105125" y="52443"/>
                    </a:cubicBezTo>
                    <a:cubicBezTo>
                      <a:pt x="105125" y="52482"/>
                      <a:pt x="105125" y="52516"/>
                      <a:pt x="105125" y="52555"/>
                    </a:cubicBezTo>
                    <a:cubicBezTo>
                      <a:pt x="105069" y="81769"/>
                      <a:pt x="81430" y="105409"/>
                      <a:pt x="52215" y="105465"/>
                    </a:cubicBezTo>
                    <a:close/>
                    <a:moveTo>
                      <a:pt x="52215" y="16259"/>
                    </a:moveTo>
                    <a:cubicBezTo>
                      <a:pt x="32200" y="16231"/>
                      <a:pt x="15975" y="32428"/>
                      <a:pt x="15919" y="52443"/>
                    </a:cubicBezTo>
                    <a:cubicBezTo>
                      <a:pt x="15864" y="72459"/>
                      <a:pt x="32088" y="88683"/>
                      <a:pt x="52103" y="88739"/>
                    </a:cubicBezTo>
                    <a:cubicBezTo>
                      <a:pt x="72119" y="88794"/>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3" name="Graphic 6">
                <a:extLst>
                  <a:ext uri="{FF2B5EF4-FFF2-40B4-BE49-F238E27FC236}">
                    <a16:creationId xmlns:a16="http://schemas.microsoft.com/office/drawing/2014/main" id="{2DF20DD4-5308-5D52-54DB-44970B30CCBB}"/>
                  </a:ext>
                </a:extLst>
              </p:cNvPr>
              <p:cNvSpPr/>
              <p:nvPr/>
            </p:nvSpPr>
            <p:spPr>
              <a:xfrm>
                <a:off x="701806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28"/>
                      <a:pt x="72175" y="16343"/>
                      <a:pt x="52215" y="16315"/>
                    </a:cubicBezTo>
                    <a:close/>
                  </a:path>
                </a:pathLst>
              </a:custGeom>
              <a:solidFill>
                <a:srgbClr val="30373B"/>
              </a:solidFill>
              <a:ln w="5573" cap="flat">
                <a:noFill/>
                <a:prstDash val="solid"/>
                <a:miter/>
              </a:ln>
            </p:spPr>
            <p:txBody>
              <a:bodyPr rtlCol="0" anchor="ctr"/>
              <a:lstStyle/>
              <a:p>
                <a:endParaRPr lang="en-GB"/>
              </a:p>
            </p:txBody>
          </p:sp>
          <p:sp>
            <p:nvSpPr>
              <p:cNvPr id="174" name="Graphic 6">
                <a:extLst>
                  <a:ext uri="{FF2B5EF4-FFF2-40B4-BE49-F238E27FC236}">
                    <a16:creationId xmlns:a16="http://schemas.microsoft.com/office/drawing/2014/main" id="{0E5F12BF-DCDA-E6BA-C046-264B0D2105B0}"/>
                  </a:ext>
                </a:extLst>
              </p:cNvPr>
              <p:cNvSpPr/>
              <p:nvPr/>
            </p:nvSpPr>
            <p:spPr>
              <a:xfrm>
                <a:off x="817901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5" name="Graphic 6">
                <a:extLst>
                  <a:ext uri="{FF2B5EF4-FFF2-40B4-BE49-F238E27FC236}">
                    <a16:creationId xmlns:a16="http://schemas.microsoft.com/office/drawing/2014/main" id="{DCC2EC4D-EAF5-AC44-C051-5D1166AFEE36}"/>
                  </a:ext>
                </a:extLst>
              </p:cNvPr>
              <p:cNvSpPr/>
              <p:nvPr/>
            </p:nvSpPr>
            <p:spPr>
              <a:xfrm>
                <a:off x="817901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6" name="Graphic 6">
                <a:extLst>
                  <a:ext uri="{FF2B5EF4-FFF2-40B4-BE49-F238E27FC236}">
                    <a16:creationId xmlns:a16="http://schemas.microsoft.com/office/drawing/2014/main" id="{516B5E94-D967-5DAC-46A1-7F313F3F3A2C}"/>
                  </a:ext>
                </a:extLst>
              </p:cNvPr>
              <p:cNvSpPr/>
              <p:nvPr/>
            </p:nvSpPr>
            <p:spPr>
              <a:xfrm>
                <a:off x="832224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7" name="Graphic 6">
                <a:extLst>
                  <a:ext uri="{FF2B5EF4-FFF2-40B4-BE49-F238E27FC236}">
                    <a16:creationId xmlns:a16="http://schemas.microsoft.com/office/drawing/2014/main" id="{637730E0-296A-2067-6057-0C6C09D1ED73}"/>
                  </a:ext>
                </a:extLst>
              </p:cNvPr>
              <p:cNvSpPr/>
              <p:nvPr/>
            </p:nvSpPr>
            <p:spPr>
              <a:xfrm>
                <a:off x="832224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8" name="Graphic 6">
                <a:extLst>
                  <a:ext uri="{FF2B5EF4-FFF2-40B4-BE49-F238E27FC236}">
                    <a16:creationId xmlns:a16="http://schemas.microsoft.com/office/drawing/2014/main" id="{34A4D711-BAC7-7178-97D9-683EBB1EDC77}"/>
                  </a:ext>
                </a:extLst>
              </p:cNvPr>
              <p:cNvSpPr/>
              <p:nvPr/>
            </p:nvSpPr>
            <p:spPr>
              <a:xfrm>
                <a:off x="5931486"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1"/>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79" name="Graphic 6">
                <a:extLst>
                  <a:ext uri="{FF2B5EF4-FFF2-40B4-BE49-F238E27FC236}">
                    <a16:creationId xmlns:a16="http://schemas.microsoft.com/office/drawing/2014/main" id="{7BEBB9F2-F109-2F89-3463-7243292515C7}"/>
                  </a:ext>
                </a:extLst>
              </p:cNvPr>
              <p:cNvSpPr/>
              <p:nvPr/>
            </p:nvSpPr>
            <p:spPr>
              <a:xfrm>
                <a:off x="6079512"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0" name="Graphic 6">
                <a:extLst>
                  <a:ext uri="{FF2B5EF4-FFF2-40B4-BE49-F238E27FC236}">
                    <a16:creationId xmlns:a16="http://schemas.microsoft.com/office/drawing/2014/main" id="{8EC8DF68-2875-2832-4BC0-4D3C631A7F65}"/>
                  </a:ext>
                </a:extLst>
              </p:cNvPr>
              <p:cNvSpPr/>
              <p:nvPr/>
            </p:nvSpPr>
            <p:spPr>
              <a:xfrm>
                <a:off x="5931486"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7"/>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81" name="Graphic 6">
                <a:extLst>
                  <a:ext uri="{FF2B5EF4-FFF2-40B4-BE49-F238E27FC236}">
                    <a16:creationId xmlns:a16="http://schemas.microsoft.com/office/drawing/2014/main" id="{1E00A7C8-0116-B87A-DBDA-87588A4B83F7}"/>
                  </a:ext>
                </a:extLst>
              </p:cNvPr>
              <p:cNvSpPr/>
              <p:nvPr/>
            </p:nvSpPr>
            <p:spPr>
              <a:xfrm>
                <a:off x="6079512"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2" name="Graphic 6">
                <a:extLst>
                  <a:ext uri="{FF2B5EF4-FFF2-40B4-BE49-F238E27FC236}">
                    <a16:creationId xmlns:a16="http://schemas.microsoft.com/office/drawing/2014/main" id="{3B4F1DA2-371B-CB11-5D75-83720FF59D7B}"/>
                  </a:ext>
                </a:extLst>
              </p:cNvPr>
              <p:cNvSpPr/>
              <p:nvPr/>
            </p:nvSpPr>
            <p:spPr>
              <a:xfrm>
                <a:off x="6222519"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3" name="Graphic 6">
                <a:extLst>
                  <a:ext uri="{FF2B5EF4-FFF2-40B4-BE49-F238E27FC236}">
                    <a16:creationId xmlns:a16="http://schemas.microsoft.com/office/drawing/2014/main" id="{5F6DD8A4-F025-D67C-2414-27F0DF3AD35C}"/>
                  </a:ext>
                </a:extLst>
              </p:cNvPr>
              <p:cNvSpPr/>
              <p:nvPr/>
            </p:nvSpPr>
            <p:spPr>
              <a:xfrm>
                <a:off x="6222519"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4" name="Graphic 6">
                <a:extLst>
                  <a:ext uri="{FF2B5EF4-FFF2-40B4-BE49-F238E27FC236}">
                    <a16:creationId xmlns:a16="http://schemas.microsoft.com/office/drawing/2014/main" id="{8E1000D6-40AB-34B9-02F6-D8DD68900C88}"/>
                  </a:ext>
                </a:extLst>
              </p:cNvPr>
              <p:cNvSpPr/>
              <p:nvPr/>
            </p:nvSpPr>
            <p:spPr>
              <a:xfrm>
                <a:off x="657175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5" name="Graphic 6">
                <a:extLst>
                  <a:ext uri="{FF2B5EF4-FFF2-40B4-BE49-F238E27FC236}">
                    <a16:creationId xmlns:a16="http://schemas.microsoft.com/office/drawing/2014/main" id="{D3A1441C-C34F-81C2-38AF-5DFD37200CBA}"/>
                  </a:ext>
                </a:extLst>
              </p:cNvPr>
              <p:cNvSpPr/>
              <p:nvPr/>
            </p:nvSpPr>
            <p:spPr>
              <a:xfrm>
                <a:off x="657175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6" name="Graphic 6">
                <a:extLst>
                  <a:ext uri="{FF2B5EF4-FFF2-40B4-BE49-F238E27FC236}">
                    <a16:creationId xmlns:a16="http://schemas.microsoft.com/office/drawing/2014/main" id="{F847CD6B-5181-82E9-A3E8-D7255FCE6134}"/>
                  </a:ext>
                </a:extLst>
              </p:cNvPr>
              <p:cNvSpPr/>
              <p:nvPr/>
            </p:nvSpPr>
            <p:spPr>
              <a:xfrm>
                <a:off x="6715100"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7" name="Graphic 6">
                <a:extLst>
                  <a:ext uri="{FF2B5EF4-FFF2-40B4-BE49-F238E27FC236}">
                    <a16:creationId xmlns:a16="http://schemas.microsoft.com/office/drawing/2014/main" id="{8DA57CD1-ECC3-BA0C-DABE-86AB486A698B}"/>
                  </a:ext>
                </a:extLst>
              </p:cNvPr>
              <p:cNvSpPr/>
              <p:nvPr/>
            </p:nvSpPr>
            <p:spPr>
              <a:xfrm>
                <a:off x="6715100"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200"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8" name="Graphic 6">
                <a:extLst>
                  <a:ext uri="{FF2B5EF4-FFF2-40B4-BE49-F238E27FC236}">
                    <a16:creationId xmlns:a16="http://schemas.microsoft.com/office/drawing/2014/main" id="{471182A4-818C-76EF-35A4-D853F474A767}"/>
                  </a:ext>
                </a:extLst>
              </p:cNvPr>
              <p:cNvSpPr/>
              <p:nvPr/>
            </p:nvSpPr>
            <p:spPr>
              <a:xfrm>
                <a:off x="7449596" y="4796267"/>
                <a:ext cx="1684143" cy="16726"/>
              </a:xfrm>
              <a:custGeom>
                <a:avLst/>
                <a:gdLst>
                  <a:gd name="connsiteX0" fmla="*/ 1674974 w 1684143"/>
                  <a:gd name="connsiteY0" fmla="*/ 16259 h 16726"/>
                  <a:gd name="connsiteX1" fmla="*/ 7556 w 1684143"/>
                  <a:gd name="connsiteY1" fmla="*/ 16259 h 16726"/>
                  <a:gd name="connsiteX2" fmla="*/ -807 w 1684143"/>
                  <a:gd name="connsiteY2" fmla="*/ 7896 h 16726"/>
                  <a:gd name="connsiteX3" fmla="*/ 7556 w 1684143"/>
                  <a:gd name="connsiteY3" fmla="*/ -467 h 16726"/>
                  <a:gd name="connsiteX4" fmla="*/ 1674974 w 1684143"/>
                  <a:gd name="connsiteY4" fmla="*/ -467 h 16726"/>
                  <a:gd name="connsiteX5" fmla="*/ 1683337 w 1684143"/>
                  <a:gd name="connsiteY5" fmla="*/ 7896 h 16726"/>
                  <a:gd name="connsiteX6" fmla="*/ 1674974 w 1684143"/>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4143" h="16726">
                    <a:moveTo>
                      <a:pt x="1674974" y="16259"/>
                    </a:moveTo>
                    <a:lnTo>
                      <a:pt x="7556" y="16259"/>
                    </a:lnTo>
                    <a:cubicBezTo>
                      <a:pt x="2929" y="16259"/>
                      <a:pt x="-807" y="12513"/>
                      <a:pt x="-807" y="7896"/>
                    </a:cubicBezTo>
                    <a:cubicBezTo>
                      <a:pt x="-807" y="3280"/>
                      <a:pt x="2929" y="-467"/>
                      <a:pt x="7556" y="-467"/>
                    </a:cubicBezTo>
                    <a:lnTo>
                      <a:pt x="1674974" y="-467"/>
                    </a:lnTo>
                    <a:cubicBezTo>
                      <a:pt x="1679601" y="-467"/>
                      <a:pt x="1683337" y="3280"/>
                      <a:pt x="1683337" y="7896"/>
                    </a:cubicBezTo>
                    <a:cubicBezTo>
                      <a:pt x="1683337" y="12513"/>
                      <a:pt x="1679601" y="16259"/>
                      <a:pt x="1674974" y="16259"/>
                    </a:cubicBezTo>
                    <a:close/>
                  </a:path>
                </a:pathLst>
              </a:custGeom>
              <a:solidFill>
                <a:srgbClr val="30373B"/>
              </a:solidFill>
              <a:ln w="5573" cap="flat">
                <a:noFill/>
                <a:prstDash val="solid"/>
                <a:miter/>
              </a:ln>
            </p:spPr>
            <p:txBody>
              <a:bodyPr rtlCol="0" anchor="ctr"/>
              <a:lstStyle/>
              <a:p>
                <a:endParaRPr lang="en-GB"/>
              </a:p>
            </p:txBody>
          </p:sp>
          <p:sp>
            <p:nvSpPr>
              <p:cNvPr id="189" name="Graphic 6">
                <a:extLst>
                  <a:ext uri="{FF2B5EF4-FFF2-40B4-BE49-F238E27FC236}">
                    <a16:creationId xmlns:a16="http://schemas.microsoft.com/office/drawing/2014/main" id="{26DBA74E-D12B-A00E-59EC-05316BCE8B78}"/>
                  </a:ext>
                </a:extLst>
              </p:cNvPr>
              <p:cNvSpPr/>
              <p:nvPr/>
            </p:nvSpPr>
            <p:spPr>
              <a:xfrm>
                <a:off x="7454948" y="4699312"/>
                <a:ext cx="1678791" cy="16726"/>
              </a:xfrm>
              <a:custGeom>
                <a:avLst/>
                <a:gdLst>
                  <a:gd name="connsiteX0" fmla="*/ 1669622 w 1678791"/>
                  <a:gd name="connsiteY0" fmla="*/ 16259 h 16726"/>
                  <a:gd name="connsiteX1" fmla="*/ 7556 w 1678791"/>
                  <a:gd name="connsiteY1" fmla="*/ 16259 h 16726"/>
                  <a:gd name="connsiteX2" fmla="*/ -807 w 1678791"/>
                  <a:gd name="connsiteY2" fmla="*/ 7896 h 16726"/>
                  <a:gd name="connsiteX3" fmla="*/ 7556 w 1678791"/>
                  <a:gd name="connsiteY3" fmla="*/ -467 h 16726"/>
                  <a:gd name="connsiteX4" fmla="*/ 1669622 w 1678791"/>
                  <a:gd name="connsiteY4" fmla="*/ -467 h 16726"/>
                  <a:gd name="connsiteX5" fmla="*/ 1677985 w 1678791"/>
                  <a:gd name="connsiteY5" fmla="*/ 7896 h 16726"/>
                  <a:gd name="connsiteX6" fmla="*/ 1669622 w 1678791"/>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8791" h="16726">
                    <a:moveTo>
                      <a:pt x="1669622" y="16259"/>
                    </a:moveTo>
                    <a:lnTo>
                      <a:pt x="7556" y="16259"/>
                    </a:lnTo>
                    <a:cubicBezTo>
                      <a:pt x="2929" y="16259"/>
                      <a:pt x="-807" y="12513"/>
                      <a:pt x="-807" y="7896"/>
                    </a:cubicBezTo>
                    <a:cubicBezTo>
                      <a:pt x="-807" y="3280"/>
                      <a:pt x="2929" y="-467"/>
                      <a:pt x="7556" y="-467"/>
                    </a:cubicBezTo>
                    <a:lnTo>
                      <a:pt x="1669622" y="-467"/>
                    </a:lnTo>
                    <a:cubicBezTo>
                      <a:pt x="1674249" y="-467"/>
                      <a:pt x="1677985" y="3280"/>
                      <a:pt x="1677985" y="7896"/>
                    </a:cubicBezTo>
                    <a:cubicBezTo>
                      <a:pt x="1677985" y="12513"/>
                      <a:pt x="1674249" y="16259"/>
                      <a:pt x="1669622" y="16259"/>
                    </a:cubicBezTo>
                    <a:close/>
                  </a:path>
                </a:pathLst>
              </a:custGeom>
              <a:solidFill>
                <a:srgbClr val="30373B"/>
              </a:solidFill>
              <a:ln w="5573" cap="flat">
                <a:noFill/>
                <a:prstDash val="solid"/>
                <a:miter/>
              </a:ln>
            </p:spPr>
            <p:txBody>
              <a:bodyPr rtlCol="0" anchor="ctr"/>
              <a:lstStyle/>
              <a:p>
                <a:endParaRPr lang="en-GB"/>
              </a:p>
            </p:txBody>
          </p:sp>
          <p:sp>
            <p:nvSpPr>
              <p:cNvPr id="190" name="Graphic 6">
                <a:extLst>
                  <a:ext uri="{FF2B5EF4-FFF2-40B4-BE49-F238E27FC236}">
                    <a16:creationId xmlns:a16="http://schemas.microsoft.com/office/drawing/2014/main" id="{F1A2F235-E754-2681-0188-6E0E9E9E2FDB}"/>
                  </a:ext>
                </a:extLst>
              </p:cNvPr>
              <p:cNvSpPr/>
              <p:nvPr/>
            </p:nvSpPr>
            <p:spPr>
              <a:xfrm>
                <a:off x="5517016" y="4699312"/>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1" name="Graphic 6">
                <a:extLst>
                  <a:ext uri="{FF2B5EF4-FFF2-40B4-BE49-F238E27FC236}">
                    <a16:creationId xmlns:a16="http://schemas.microsoft.com/office/drawing/2014/main" id="{3431755F-8576-4A81-F2A0-063B58E5E759}"/>
                  </a:ext>
                </a:extLst>
              </p:cNvPr>
              <p:cNvSpPr/>
              <p:nvPr/>
            </p:nvSpPr>
            <p:spPr>
              <a:xfrm>
                <a:off x="5517016" y="4796267"/>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2" name="Graphic 6">
                <a:extLst>
                  <a:ext uri="{FF2B5EF4-FFF2-40B4-BE49-F238E27FC236}">
                    <a16:creationId xmlns:a16="http://schemas.microsoft.com/office/drawing/2014/main" id="{C43A4D56-54CE-3716-AE25-8601AFF40F36}"/>
                  </a:ext>
                </a:extLst>
              </p:cNvPr>
              <p:cNvSpPr/>
              <p:nvPr/>
            </p:nvSpPr>
            <p:spPr>
              <a:xfrm>
                <a:off x="8423106" y="5388940"/>
                <a:ext cx="263937" cy="299381"/>
              </a:xfrm>
              <a:custGeom>
                <a:avLst/>
                <a:gdLst>
                  <a:gd name="connsiteX0" fmla="*/ 131162 w 263937"/>
                  <a:gd name="connsiteY0" fmla="*/ 298915 h 299381"/>
                  <a:gd name="connsiteX1" fmla="*/ 116722 w 263937"/>
                  <a:gd name="connsiteY1" fmla="*/ 294510 h 299381"/>
                  <a:gd name="connsiteX2" fmla="*/ 10791 w 263937"/>
                  <a:gd name="connsiteY2" fmla="*/ 223815 h 299381"/>
                  <a:gd name="connsiteX3" fmla="*/ -807 w 263937"/>
                  <a:gd name="connsiteY3" fmla="*/ 202183 h 299381"/>
                  <a:gd name="connsiteX4" fmla="*/ -807 w 263937"/>
                  <a:gd name="connsiteY4" fmla="*/ 96251 h 299381"/>
                  <a:gd name="connsiteX5" fmla="*/ 10791 w 263937"/>
                  <a:gd name="connsiteY5" fmla="*/ 74619 h 299381"/>
                  <a:gd name="connsiteX6" fmla="*/ 116722 w 263937"/>
                  <a:gd name="connsiteY6" fmla="*/ 3923 h 299381"/>
                  <a:gd name="connsiteX7" fmla="*/ 145602 w 263937"/>
                  <a:gd name="connsiteY7" fmla="*/ 3923 h 299381"/>
                  <a:gd name="connsiteX8" fmla="*/ 251533 w 263937"/>
                  <a:gd name="connsiteY8" fmla="*/ 74619 h 299381"/>
                  <a:gd name="connsiteX9" fmla="*/ 263130 w 263937"/>
                  <a:gd name="connsiteY9" fmla="*/ 96251 h 299381"/>
                  <a:gd name="connsiteX10" fmla="*/ 263130 w 263937"/>
                  <a:gd name="connsiteY10" fmla="*/ 110357 h 299381"/>
                  <a:gd name="connsiteX11" fmla="*/ 254767 w 263937"/>
                  <a:gd name="connsiteY11" fmla="*/ 118720 h 299381"/>
                  <a:gd name="connsiteX12" fmla="*/ 246404 w 263937"/>
                  <a:gd name="connsiteY12" fmla="*/ 110357 h 299381"/>
                  <a:gd name="connsiteX13" fmla="*/ 246404 w 263937"/>
                  <a:gd name="connsiteY13" fmla="*/ 96251 h 299381"/>
                  <a:gd name="connsiteX14" fmla="*/ 242278 w 263937"/>
                  <a:gd name="connsiteY14" fmla="*/ 88502 h 299381"/>
                  <a:gd name="connsiteX15" fmla="*/ 136347 w 263937"/>
                  <a:gd name="connsiteY15" fmla="*/ 17806 h 299381"/>
                  <a:gd name="connsiteX16" fmla="*/ 125977 w 263937"/>
                  <a:gd name="connsiteY16" fmla="*/ 17806 h 299381"/>
                  <a:gd name="connsiteX17" fmla="*/ 20045 w 263937"/>
                  <a:gd name="connsiteY17" fmla="*/ 88502 h 299381"/>
                  <a:gd name="connsiteX18" fmla="*/ 15919 w 263937"/>
                  <a:gd name="connsiteY18" fmla="*/ 96251 h 299381"/>
                  <a:gd name="connsiteX19" fmla="*/ 15919 w 263937"/>
                  <a:gd name="connsiteY19" fmla="*/ 202183 h 299381"/>
                  <a:gd name="connsiteX20" fmla="*/ 20045 w 263937"/>
                  <a:gd name="connsiteY20" fmla="*/ 209933 h 299381"/>
                  <a:gd name="connsiteX21" fmla="*/ 125977 w 263937"/>
                  <a:gd name="connsiteY21" fmla="*/ 280628 h 299381"/>
                  <a:gd name="connsiteX22" fmla="*/ 136291 w 263937"/>
                  <a:gd name="connsiteY22" fmla="*/ 280628 h 299381"/>
                  <a:gd name="connsiteX23" fmla="*/ 188421 w 263937"/>
                  <a:gd name="connsiteY23" fmla="*/ 245893 h 299381"/>
                  <a:gd name="connsiteX24" fmla="*/ 199961 w 263937"/>
                  <a:gd name="connsiteY24" fmla="*/ 248569 h 299381"/>
                  <a:gd name="connsiteX25" fmla="*/ 197731 w 263937"/>
                  <a:gd name="connsiteY25" fmla="*/ 259776 h 299381"/>
                  <a:gd name="connsiteX26" fmla="*/ 145602 w 263937"/>
                  <a:gd name="connsiteY26" fmla="*/ 294510 h 299381"/>
                  <a:gd name="connsiteX27" fmla="*/ 131162 w 263937"/>
                  <a:gd name="connsiteY27" fmla="*/ 298915 h 299381"/>
                  <a:gd name="connsiteX28" fmla="*/ 131162 w 263937"/>
                  <a:gd name="connsiteY28" fmla="*/ 228220 h 299381"/>
                  <a:gd name="connsiteX29" fmla="*/ 52103 w 263937"/>
                  <a:gd name="connsiteY29" fmla="*/ 149161 h 299381"/>
                  <a:gd name="connsiteX30" fmla="*/ 131162 w 263937"/>
                  <a:gd name="connsiteY30" fmla="*/ 70103 h 299381"/>
                  <a:gd name="connsiteX31" fmla="*/ 193550 w 263937"/>
                  <a:gd name="connsiteY31" fmla="*/ 100600 h 299381"/>
                  <a:gd name="connsiteX32" fmla="*/ 192491 w 263937"/>
                  <a:gd name="connsiteY32" fmla="*/ 112364 h 299381"/>
                  <a:gd name="connsiteX33" fmla="*/ 180671 w 263937"/>
                  <a:gd name="connsiteY33" fmla="*/ 111305 h 299381"/>
                  <a:gd name="connsiteX34" fmla="*/ 180392 w 263937"/>
                  <a:gd name="connsiteY34" fmla="*/ 110915 h 299381"/>
                  <a:gd name="connsiteX35" fmla="*/ 92971 w 263937"/>
                  <a:gd name="connsiteY35" fmla="*/ 99541 h 299381"/>
                  <a:gd name="connsiteX36" fmla="*/ 81597 w 263937"/>
                  <a:gd name="connsiteY36" fmla="*/ 186962 h 299381"/>
                  <a:gd name="connsiteX37" fmla="*/ 131162 w 263937"/>
                  <a:gd name="connsiteY37" fmla="*/ 211271 h 299381"/>
                  <a:gd name="connsiteX38" fmla="*/ 139525 w 263937"/>
                  <a:gd name="connsiteY38" fmla="*/ 219634 h 299381"/>
                  <a:gd name="connsiteX39" fmla="*/ 131162 w 263937"/>
                  <a:gd name="connsiteY39" fmla="*/ 227997 h 29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3937" h="299381">
                    <a:moveTo>
                      <a:pt x="131162" y="298915"/>
                    </a:moveTo>
                    <a:cubicBezTo>
                      <a:pt x="126032" y="298915"/>
                      <a:pt x="121014" y="297409"/>
                      <a:pt x="116722" y="294510"/>
                    </a:cubicBezTo>
                    <a:lnTo>
                      <a:pt x="10791" y="223815"/>
                    </a:lnTo>
                    <a:cubicBezTo>
                      <a:pt x="3542" y="219021"/>
                      <a:pt x="-807" y="210880"/>
                      <a:pt x="-807" y="202183"/>
                    </a:cubicBezTo>
                    <a:lnTo>
                      <a:pt x="-807" y="96251"/>
                    </a:lnTo>
                    <a:cubicBezTo>
                      <a:pt x="-807" y="87554"/>
                      <a:pt x="3542" y="79414"/>
                      <a:pt x="10791" y="74619"/>
                    </a:cubicBezTo>
                    <a:lnTo>
                      <a:pt x="116722" y="3923"/>
                    </a:lnTo>
                    <a:cubicBezTo>
                      <a:pt x="125475" y="-1930"/>
                      <a:pt x="136849" y="-1930"/>
                      <a:pt x="145602" y="3923"/>
                    </a:cubicBezTo>
                    <a:lnTo>
                      <a:pt x="251533" y="74619"/>
                    </a:lnTo>
                    <a:cubicBezTo>
                      <a:pt x="258782" y="79414"/>
                      <a:pt x="263130" y="87554"/>
                      <a:pt x="263130" y="96251"/>
                    </a:cubicBezTo>
                    <a:lnTo>
                      <a:pt x="263130" y="110357"/>
                    </a:lnTo>
                    <a:cubicBezTo>
                      <a:pt x="263130" y="114984"/>
                      <a:pt x="259395" y="118720"/>
                      <a:pt x="254767" y="118720"/>
                    </a:cubicBezTo>
                    <a:cubicBezTo>
                      <a:pt x="250139" y="118720"/>
                      <a:pt x="246404" y="114984"/>
                      <a:pt x="246404" y="110357"/>
                    </a:cubicBezTo>
                    <a:lnTo>
                      <a:pt x="246404" y="96251"/>
                    </a:lnTo>
                    <a:cubicBezTo>
                      <a:pt x="246404" y="93129"/>
                      <a:pt x="244843" y="90230"/>
                      <a:pt x="242278" y="88502"/>
                    </a:cubicBezTo>
                    <a:lnTo>
                      <a:pt x="136347" y="17806"/>
                    </a:lnTo>
                    <a:cubicBezTo>
                      <a:pt x="133169" y="15743"/>
                      <a:pt x="129155" y="15743"/>
                      <a:pt x="125977" y="17806"/>
                    </a:cubicBezTo>
                    <a:lnTo>
                      <a:pt x="20045" y="88502"/>
                    </a:lnTo>
                    <a:cubicBezTo>
                      <a:pt x="17481" y="90230"/>
                      <a:pt x="15919" y="93129"/>
                      <a:pt x="15919" y="96251"/>
                    </a:cubicBezTo>
                    <a:lnTo>
                      <a:pt x="15919" y="202183"/>
                    </a:lnTo>
                    <a:cubicBezTo>
                      <a:pt x="15919" y="205305"/>
                      <a:pt x="17481" y="208204"/>
                      <a:pt x="20045" y="209933"/>
                    </a:cubicBezTo>
                    <a:lnTo>
                      <a:pt x="125977" y="280628"/>
                    </a:lnTo>
                    <a:cubicBezTo>
                      <a:pt x="129099" y="282635"/>
                      <a:pt x="133169" y="282635"/>
                      <a:pt x="136291" y="280628"/>
                    </a:cubicBezTo>
                    <a:lnTo>
                      <a:pt x="188421" y="245893"/>
                    </a:lnTo>
                    <a:cubicBezTo>
                      <a:pt x="192323" y="243441"/>
                      <a:pt x="197509" y="244667"/>
                      <a:pt x="199961" y="248569"/>
                    </a:cubicBezTo>
                    <a:cubicBezTo>
                      <a:pt x="202248" y="252305"/>
                      <a:pt x="201299" y="257211"/>
                      <a:pt x="197731" y="259776"/>
                    </a:cubicBezTo>
                    <a:lnTo>
                      <a:pt x="145602" y="294510"/>
                    </a:lnTo>
                    <a:cubicBezTo>
                      <a:pt x="141309" y="297409"/>
                      <a:pt x="136291" y="298915"/>
                      <a:pt x="131162" y="298915"/>
                    </a:cubicBezTo>
                    <a:close/>
                    <a:moveTo>
                      <a:pt x="131162" y="228220"/>
                    </a:moveTo>
                    <a:cubicBezTo>
                      <a:pt x="87507" y="228220"/>
                      <a:pt x="52103" y="192816"/>
                      <a:pt x="52103" y="149161"/>
                    </a:cubicBezTo>
                    <a:cubicBezTo>
                      <a:pt x="52103" y="105507"/>
                      <a:pt x="87507" y="70103"/>
                      <a:pt x="131162" y="70103"/>
                    </a:cubicBezTo>
                    <a:cubicBezTo>
                      <a:pt x="155526" y="70103"/>
                      <a:pt x="178552" y="81365"/>
                      <a:pt x="193550" y="100600"/>
                    </a:cubicBezTo>
                    <a:cubicBezTo>
                      <a:pt x="196505" y="104169"/>
                      <a:pt x="196003" y="109409"/>
                      <a:pt x="192491" y="112364"/>
                    </a:cubicBezTo>
                    <a:cubicBezTo>
                      <a:pt x="188922" y="115319"/>
                      <a:pt x="183626" y="114873"/>
                      <a:pt x="180671" y="111305"/>
                    </a:cubicBezTo>
                    <a:cubicBezTo>
                      <a:pt x="180615" y="111193"/>
                      <a:pt x="180504" y="111026"/>
                      <a:pt x="180392" y="110915"/>
                    </a:cubicBezTo>
                    <a:cubicBezTo>
                      <a:pt x="159373" y="83651"/>
                      <a:pt x="120234" y="78522"/>
                      <a:pt x="92971" y="99541"/>
                    </a:cubicBezTo>
                    <a:cubicBezTo>
                      <a:pt x="65707" y="120560"/>
                      <a:pt x="60634" y="159699"/>
                      <a:pt x="81597" y="186962"/>
                    </a:cubicBezTo>
                    <a:cubicBezTo>
                      <a:pt x="93417" y="202350"/>
                      <a:pt x="111760" y="211327"/>
                      <a:pt x="131162" y="211271"/>
                    </a:cubicBezTo>
                    <a:cubicBezTo>
                      <a:pt x="135789" y="211271"/>
                      <a:pt x="139525" y="215006"/>
                      <a:pt x="139525" y="219634"/>
                    </a:cubicBezTo>
                    <a:cubicBezTo>
                      <a:pt x="139525" y="224261"/>
                      <a:pt x="135789" y="227997"/>
                      <a:pt x="131162" y="227997"/>
                    </a:cubicBezTo>
                    <a:close/>
                  </a:path>
                </a:pathLst>
              </a:custGeom>
              <a:solidFill>
                <a:srgbClr val="30373B"/>
              </a:solidFill>
              <a:ln w="5573" cap="flat">
                <a:noFill/>
                <a:prstDash val="solid"/>
                <a:miter/>
              </a:ln>
            </p:spPr>
            <p:txBody>
              <a:bodyPr rtlCol="0" anchor="ctr"/>
              <a:lstStyle/>
              <a:p>
                <a:endParaRPr lang="en-GB"/>
              </a:p>
            </p:txBody>
          </p:sp>
          <p:sp>
            <p:nvSpPr>
              <p:cNvPr id="193" name="Graphic 6">
                <a:extLst>
                  <a:ext uri="{FF2B5EF4-FFF2-40B4-BE49-F238E27FC236}">
                    <a16:creationId xmlns:a16="http://schemas.microsoft.com/office/drawing/2014/main" id="{2733E233-A2C1-48A4-E495-C03DDFC73288}"/>
                  </a:ext>
                </a:extLst>
              </p:cNvPr>
              <p:cNvSpPr/>
              <p:nvPr/>
            </p:nvSpPr>
            <p:spPr>
              <a:xfrm>
                <a:off x="6751284" y="5426504"/>
                <a:ext cx="263881" cy="299395"/>
              </a:xfrm>
              <a:custGeom>
                <a:avLst/>
                <a:gdLst>
                  <a:gd name="connsiteX0" fmla="*/ 131162 w 263881"/>
                  <a:gd name="connsiteY0" fmla="*/ 298929 h 299395"/>
                  <a:gd name="connsiteX1" fmla="*/ 116722 w 263881"/>
                  <a:gd name="connsiteY1" fmla="*/ 294580 h 299395"/>
                  <a:gd name="connsiteX2" fmla="*/ 10791 w 263881"/>
                  <a:gd name="connsiteY2" fmla="*/ 223885 h 299395"/>
                  <a:gd name="connsiteX3" fmla="*/ -807 w 263881"/>
                  <a:gd name="connsiteY3" fmla="*/ 202197 h 299395"/>
                  <a:gd name="connsiteX4" fmla="*/ -807 w 263881"/>
                  <a:gd name="connsiteY4" fmla="*/ 96265 h 299395"/>
                  <a:gd name="connsiteX5" fmla="*/ 10791 w 263881"/>
                  <a:gd name="connsiteY5" fmla="*/ 74577 h 299395"/>
                  <a:gd name="connsiteX6" fmla="*/ 116722 w 263881"/>
                  <a:gd name="connsiteY6" fmla="*/ 3882 h 299395"/>
                  <a:gd name="connsiteX7" fmla="*/ 145602 w 263881"/>
                  <a:gd name="connsiteY7" fmla="*/ 3882 h 299395"/>
                  <a:gd name="connsiteX8" fmla="*/ 251533 w 263881"/>
                  <a:gd name="connsiteY8" fmla="*/ 74577 h 299395"/>
                  <a:gd name="connsiteX9" fmla="*/ 263075 w 263881"/>
                  <a:gd name="connsiteY9" fmla="*/ 96265 h 299395"/>
                  <a:gd name="connsiteX10" fmla="*/ 263075 w 263881"/>
                  <a:gd name="connsiteY10" fmla="*/ 202197 h 299395"/>
                  <a:gd name="connsiteX11" fmla="*/ 251533 w 263881"/>
                  <a:gd name="connsiteY11" fmla="*/ 223885 h 299395"/>
                  <a:gd name="connsiteX12" fmla="*/ 145602 w 263881"/>
                  <a:gd name="connsiteY12" fmla="*/ 294580 h 299395"/>
                  <a:gd name="connsiteX13" fmla="*/ 131162 w 263881"/>
                  <a:gd name="connsiteY13" fmla="*/ 298929 h 299395"/>
                  <a:gd name="connsiteX14" fmla="*/ 131162 w 263881"/>
                  <a:gd name="connsiteY14" fmla="*/ 16148 h 299395"/>
                  <a:gd name="connsiteX15" fmla="*/ 125977 w 263881"/>
                  <a:gd name="connsiteY15" fmla="*/ 17709 h 299395"/>
                  <a:gd name="connsiteX16" fmla="*/ 20045 w 263881"/>
                  <a:gd name="connsiteY16" fmla="*/ 88404 h 299395"/>
                  <a:gd name="connsiteX17" fmla="*/ 15864 w 263881"/>
                  <a:gd name="connsiteY17" fmla="*/ 96154 h 299395"/>
                  <a:gd name="connsiteX18" fmla="*/ 15864 w 263881"/>
                  <a:gd name="connsiteY18" fmla="*/ 202085 h 299395"/>
                  <a:gd name="connsiteX19" fmla="*/ 20045 w 263881"/>
                  <a:gd name="connsiteY19" fmla="*/ 209835 h 299395"/>
                  <a:gd name="connsiteX20" fmla="*/ 125977 w 263881"/>
                  <a:gd name="connsiteY20" fmla="*/ 280530 h 299395"/>
                  <a:gd name="connsiteX21" fmla="*/ 136347 w 263881"/>
                  <a:gd name="connsiteY21" fmla="*/ 280530 h 299395"/>
                  <a:gd name="connsiteX22" fmla="*/ 242278 w 263881"/>
                  <a:gd name="connsiteY22" fmla="*/ 209835 h 299395"/>
                  <a:gd name="connsiteX23" fmla="*/ 246404 w 263881"/>
                  <a:gd name="connsiteY23" fmla="*/ 202085 h 299395"/>
                  <a:gd name="connsiteX24" fmla="*/ 246404 w 263881"/>
                  <a:gd name="connsiteY24" fmla="*/ 96154 h 299395"/>
                  <a:gd name="connsiteX25" fmla="*/ 242278 w 263881"/>
                  <a:gd name="connsiteY25" fmla="*/ 88404 h 299395"/>
                  <a:gd name="connsiteX26" fmla="*/ 136347 w 263881"/>
                  <a:gd name="connsiteY26" fmla="*/ 17709 h 299395"/>
                  <a:gd name="connsiteX27" fmla="*/ 131162 w 263881"/>
                  <a:gd name="connsiteY27" fmla="*/ 16148 h 299395"/>
                  <a:gd name="connsiteX28" fmla="*/ 131162 w 263881"/>
                  <a:gd name="connsiteY28" fmla="*/ 228011 h 299395"/>
                  <a:gd name="connsiteX29" fmla="*/ 52103 w 263881"/>
                  <a:gd name="connsiteY29" fmla="*/ 148952 h 299395"/>
                  <a:gd name="connsiteX30" fmla="*/ 131162 w 263881"/>
                  <a:gd name="connsiteY30" fmla="*/ 69894 h 299395"/>
                  <a:gd name="connsiteX31" fmla="*/ 210220 w 263881"/>
                  <a:gd name="connsiteY31" fmla="*/ 148952 h 299395"/>
                  <a:gd name="connsiteX32" fmla="*/ 201857 w 263881"/>
                  <a:gd name="connsiteY32" fmla="*/ 157315 h 299395"/>
                  <a:gd name="connsiteX33" fmla="*/ 193494 w 263881"/>
                  <a:gd name="connsiteY33" fmla="*/ 148952 h 299395"/>
                  <a:gd name="connsiteX34" fmla="*/ 131162 w 263881"/>
                  <a:gd name="connsiteY34" fmla="*/ 86620 h 299395"/>
                  <a:gd name="connsiteX35" fmla="*/ 68829 w 263881"/>
                  <a:gd name="connsiteY35" fmla="*/ 148952 h 299395"/>
                  <a:gd name="connsiteX36" fmla="*/ 131162 w 263881"/>
                  <a:gd name="connsiteY36" fmla="*/ 211285 h 299395"/>
                  <a:gd name="connsiteX37" fmla="*/ 139525 w 263881"/>
                  <a:gd name="connsiteY37" fmla="*/ 219648 h 299395"/>
                  <a:gd name="connsiteX38" fmla="*/ 131162 w 263881"/>
                  <a:gd name="connsiteY38" fmla="*/ 228011 h 29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3881" h="299395">
                    <a:moveTo>
                      <a:pt x="131162" y="298929"/>
                    </a:moveTo>
                    <a:cubicBezTo>
                      <a:pt x="126032" y="298929"/>
                      <a:pt x="121014" y="297423"/>
                      <a:pt x="116722" y="294580"/>
                    </a:cubicBezTo>
                    <a:lnTo>
                      <a:pt x="10791" y="223885"/>
                    </a:lnTo>
                    <a:cubicBezTo>
                      <a:pt x="3542" y="219034"/>
                      <a:pt x="-807" y="210895"/>
                      <a:pt x="-807" y="202197"/>
                    </a:cubicBezTo>
                    <a:lnTo>
                      <a:pt x="-807" y="96265"/>
                    </a:lnTo>
                    <a:cubicBezTo>
                      <a:pt x="-807" y="87567"/>
                      <a:pt x="3542" y="79428"/>
                      <a:pt x="10791" y="74577"/>
                    </a:cubicBezTo>
                    <a:lnTo>
                      <a:pt x="116722" y="3882"/>
                    </a:lnTo>
                    <a:cubicBezTo>
                      <a:pt x="125475" y="-1916"/>
                      <a:pt x="136849" y="-1916"/>
                      <a:pt x="145602" y="3882"/>
                    </a:cubicBezTo>
                    <a:lnTo>
                      <a:pt x="251533" y="74577"/>
                    </a:lnTo>
                    <a:cubicBezTo>
                      <a:pt x="258782" y="79428"/>
                      <a:pt x="263130" y="87567"/>
                      <a:pt x="263075" y="96265"/>
                    </a:cubicBezTo>
                    <a:lnTo>
                      <a:pt x="263075" y="202197"/>
                    </a:lnTo>
                    <a:cubicBezTo>
                      <a:pt x="263075" y="210895"/>
                      <a:pt x="258782" y="219034"/>
                      <a:pt x="251533" y="223885"/>
                    </a:cubicBezTo>
                    <a:lnTo>
                      <a:pt x="145602" y="294580"/>
                    </a:lnTo>
                    <a:cubicBezTo>
                      <a:pt x="141309" y="297423"/>
                      <a:pt x="136291" y="298929"/>
                      <a:pt x="131162" y="298929"/>
                    </a:cubicBezTo>
                    <a:close/>
                    <a:moveTo>
                      <a:pt x="131162" y="16148"/>
                    </a:moveTo>
                    <a:cubicBezTo>
                      <a:pt x="129322" y="16148"/>
                      <a:pt x="127538" y="16705"/>
                      <a:pt x="125977" y="17709"/>
                    </a:cubicBezTo>
                    <a:lnTo>
                      <a:pt x="20045" y="88404"/>
                    </a:lnTo>
                    <a:cubicBezTo>
                      <a:pt x="17425" y="90132"/>
                      <a:pt x="15864" y="93032"/>
                      <a:pt x="15864" y="96154"/>
                    </a:cubicBezTo>
                    <a:lnTo>
                      <a:pt x="15864" y="202085"/>
                    </a:lnTo>
                    <a:cubicBezTo>
                      <a:pt x="15864" y="205208"/>
                      <a:pt x="17425" y="208107"/>
                      <a:pt x="20045" y="209835"/>
                    </a:cubicBezTo>
                    <a:lnTo>
                      <a:pt x="125977" y="280530"/>
                    </a:lnTo>
                    <a:cubicBezTo>
                      <a:pt x="129155" y="282593"/>
                      <a:pt x="133169" y="282593"/>
                      <a:pt x="136347" y="280530"/>
                    </a:cubicBezTo>
                    <a:lnTo>
                      <a:pt x="242278" y="209835"/>
                    </a:lnTo>
                    <a:cubicBezTo>
                      <a:pt x="244843" y="208107"/>
                      <a:pt x="246404" y="205208"/>
                      <a:pt x="246404" y="202085"/>
                    </a:cubicBezTo>
                    <a:lnTo>
                      <a:pt x="246404" y="96154"/>
                    </a:lnTo>
                    <a:cubicBezTo>
                      <a:pt x="246404" y="93032"/>
                      <a:pt x="244899" y="90132"/>
                      <a:pt x="242278" y="88404"/>
                    </a:cubicBezTo>
                    <a:lnTo>
                      <a:pt x="136347" y="17709"/>
                    </a:lnTo>
                    <a:cubicBezTo>
                      <a:pt x="134842" y="16649"/>
                      <a:pt x="133002" y="16148"/>
                      <a:pt x="131162" y="16148"/>
                    </a:cubicBezTo>
                    <a:close/>
                    <a:moveTo>
                      <a:pt x="131162" y="228011"/>
                    </a:moveTo>
                    <a:cubicBezTo>
                      <a:pt x="87507" y="228011"/>
                      <a:pt x="52103" y="192607"/>
                      <a:pt x="52103" y="148952"/>
                    </a:cubicBezTo>
                    <a:cubicBezTo>
                      <a:pt x="52103" y="105297"/>
                      <a:pt x="87507" y="69894"/>
                      <a:pt x="131162" y="69894"/>
                    </a:cubicBezTo>
                    <a:cubicBezTo>
                      <a:pt x="174817" y="69894"/>
                      <a:pt x="210220" y="105297"/>
                      <a:pt x="210220" y="148952"/>
                    </a:cubicBezTo>
                    <a:cubicBezTo>
                      <a:pt x="210220" y="153580"/>
                      <a:pt x="206485" y="157315"/>
                      <a:pt x="201857" y="157315"/>
                    </a:cubicBezTo>
                    <a:cubicBezTo>
                      <a:pt x="197230" y="157315"/>
                      <a:pt x="193494" y="153580"/>
                      <a:pt x="193494" y="148952"/>
                    </a:cubicBezTo>
                    <a:cubicBezTo>
                      <a:pt x="193494" y="114552"/>
                      <a:pt x="165561" y="86620"/>
                      <a:pt x="131162" y="86620"/>
                    </a:cubicBezTo>
                    <a:cubicBezTo>
                      <a:pt x="96762" y="86620"/>
                      <a:pt x="68829" y="114552"/>
                      <a:pt x="68829" y="148952"/>
                    </a:cubicBezTo>
                    <a:cubicBezTo>
                      <a:pt x="68829" y="183352"/>
                      <a:pt x="96762" y="211285"/>
                      <a:pt x="131162" y="211285"/>
                    </a:cubicBezTo>
                    <a:cubicBezTo>
                      <a:pt x="135789" y="211285"/>
                      <a:pt x="139525" y="215020"/>
                      <a:pt x="139525" y="219648"/>
                    </a:cubicBezTo>
                    <a:cubicBezTo>
                      <a:pt x="139525" y="224275"/>
                      <a:pt x="135789" y="228011"/>
                      <a:pt x="131162" y="228011"/>
                    </a:cubicBezTo>
                    <a:close/>
                  </a:path>
                </a:pathLst>
              </a:custGeom>
              <a:solidFill>
                <a:srgbClr val="30373B"/>
              </a:solidFill>
              <a:ln w="5573" cap="flat">
                <a:noFill/>
                <a:prstDash val="solid"/>
                <a:miter/>
              </a:ln>
            </p:spPr>
            <p:txBody>
              <a:bodyPr rtlCol="0" anchor="ctr"/>
              <a:lstStyle/>
              <a:p>
                <a:endParaRPr lang="en-GB"/>
              </a:p>
            </p:txBody>
          </p:sp>
          <p:sp>
            <p:nvSpPr>
              <p:cNvPr id="194" name="Graphic 6">
                <a:extLst>
                  <a:ext uri="{FF2B5EF4-FFF2-40B4-BE49-F238E27FC236}">
                    <a16:creationId xmlns:a16="http://schemas.microsoft.com/office/drawing/2014/main" id="{E3FA16A8-6D7B-B770-AE59-189F3A97C723}"/>
                  </a:ext>
                </a:extLst>
              </p:cNvPr>
              <p:cNvSpPr/>
              <p:nvPr/>
            </p:nvSpPr>
            <p:spPr>
              <a:xfrm>
                <a:off x="8979495" y="5504580"/>
                <a:ext cx="519341" cy="311473"/>
              </a:xfrm>
              <a:custGeom>
                <a:avLst/>
                <a:gdLst>
                  <a:gd name="connsiteX0" fmla="*/ 439452 w 519341"/>
                  <a:gd name="connsiteY0" fmla="*/ 310895 h 311473"/>
                  <a:gd name="connsiteX1" fmla="*/ 429026 w 519341"/>
                  <a:gd name="connsiteY1" fmla="*/ 309891 h 311473"/>
                  <a:gd name="connsiteX2" fmla="*/ 172059 w 519341"/>
                  <a:gd name="connsiteY2" fmla="*/ 260773 h 311473"/>
                  <a:gd name="connsiteX3" fmla="*/ 137102 w 519341"/>
                  <a:gd name="connsiteY3" fmla="*/ 237802 h 311473"/>
                  <a:gd name="connsiteX4" fmla="*/ 115804 w 519341"/>
                  <a:gd name="connsiteY4" fmla="*/ 206469 h 311473"/>
                  <a:gd name="connsiteX5" fmla="*/ 84471 w 519341"/>
                  <a:gd name="connsiteY5" fmla="*/ 227766 h 311473"/>
                  <a:gd name="connsiteX6" fmla="*/ 23755 w 519341"/>
                  <a:gd name="connsiteY6" fmla="*/ 228213 h 311473"/>
                  <a:gd name="connsiteX7" fmla="*/ 23755 w 519341"/>
                  <a:gd name="connsiteY7" fmla="*/ 228213 h 311473"/>
                  <a:gd name="connsiteX8" fmla="*/ 116 w 519341"/>
                  <a:gd name="connsiteY8" fmla="*/ 172459 h 311473"/>
                  <a:gd name="connsiteX9" fmla="*/ 24703 w 519341"/>
                  <a:gd name="connsiteY9" fmla="*/ 43947 h 311473"/>
                  <a:gd name="connsiteX10" fmla="*/ 47673 w 519341"/>
                  <a:gd name="connsiteY10" fmla="*/ 8990 h 311473"/>
                  <a:gd name="connsiteX11" fmla="*/ 67298 w 519341"/>
                  <a:gd name="connsiteY11" fmla="*/ 683 h 311473"/>
                  <a:gd name="connsiteX12" fmla="*/ 123498 w 519341"/>
                  <a:gd name="connsiteY12" fmla="*/ 23486 h 311473"/>
                  <a:gd name="connsiteX13" fmla="*/ 144796 w 519341"/>
                  <a:gd name="connsiteY13" fmla="*/ 54875 h 311473"/>
                  <a:gd name="connsiteX14" fmla="*/ 176185 w 519341"/>
                  <a:gd name="connsiteY14" fmla="*/ 33577 h 311473"/>
                  <a:gd name="connsiteX15" fmla="*/ 217108 w 519341"/>
                  <a:gd name="connsiteY15" fmla="*/ 25103 h 311473"/>
                  <a:gd name="connsiteX16" fmla="*/ 474131 w 519341"/>
                  <a:gd name="connsiteY16" fmla="*/ 74278 h 311473"/>
                  <a:gd name="connsiteX17" fmla="*/ 517563 w 519341"/>
                  <a:gd name="connsiteY17" fmla="*/ 138171 h 311473"/>
                  <a:gd name="connsiteX18" fmla="*/ 492975 w 519341"/>
                  <a:gd name="connsiteY18" fmla="*/ 266404 h 311473"/>
                  <a:gd name="connsiteX19" fmla="*/ 439452 w 519341"/>
                  <a:gd name="connsiteY19" fmla="*/ 311006 h 311473"/>
                  <a:gd name="connsiteX20" fmla="*/ 118313 w 519341"/>
                  <a:gd name="connsiteY20" fmla="*/ 186398 h 311473"/>
                  <a:gd name="connsiteX21" fmla="*/ 119874 w 519341"/>
                  <a:gd name="connsiteY21" fmla="*/ 186398 h 311473"/>
                  <a:gd name="connsiteX22" fmla="*/ 125449 w 519341"/>
                  <a:gd name="connsiteY22" fmla="*/ 189910 h 311473"/>
                  <a:gd name="connsiteX23" fmla="*/ 151430 w 519341"/>
                  <a:gd name="connsiteY23" fmla="*/ 228213 h 311473"/>
                  <a:gd name="connsiteX24" fmla="*/ 175683 w 519341"/>
                  <a:gd name="connsiteY24" fmla="*/ 244158 h 311473"/>
                  <a:gd name="connsiteX25" fmla="*/ 432706 w 519341"/>
                  <a:gd name="connsiteY25" fmla="*/ 293277 h 311473"/>
                  <a:gd name="connsiteX26" fmla="*/ 477253 w 519341"/>
                  <a:gd name="connsiteY26" fmla="*/ 263337 h 311473"/>
                  <a:gd name="connsiteX27" fmla="*/ 477309 w 519341"/>
                  <a:gd name="connsiteY27" fmla="*/ 263170 h 311473"/>
                  <a:gd name="connsiteX28" fmla="*/ 501896 w 519341"/>
                  <a:gd name="connsiteY28" fmla="*/ 134937 h 311473"/>
                  <a:gd name="connsiteX29" fmla="*/ 472068 w 519341"/>
                  <a:gd name="connsiteY29" fmla="*/ 90390 h 311473"/>
                  <a:gd name="connsiteX30" fmla="*/ 471789 w 519341"/>
                  <a:gd name="connsiteY30" fmla="*/ 90334 h 311473"/>
                  <a:gd name="connsiteX31" fmla="*/ 214766 w 519341"/>
                  <a:gd name="connsiteY31" fmla="*/ 41216 h 311473"/>
                  <a:gd name="connsiteX32" fmla="*/ 186332 w 519341"/>
                  <a:gd name="connsiteY32" fmla="*/ 46791 h 311473"/>
                  <a:gd name="connsiteX33" fmla="*/ 148085 w 519341"/>
                  <a:gd name="connsiteY33" fmla="*/ 72772 h 311473"/>
                  <a:gd name="connsiteX34" fmla="*/ 136433 w 519341"/>
                  <a:gd name="connsiteY34" fmla="*/ 70598 h 311473"/>
                  <a:gd name="connsiteX35" fmla="*/ 110451 w 519341"/>
                  <a:gd name="connsiteY35" fmla="*/ 32239 h 311473"/>
                  <a:gd name="connsiteX36" fmla="*/ 57765 w 519341"/>
                  <a:gd name="connsiteY36" fmla="*/ 22259 h 311473"/>
                  <a:gd name="connsiteX37" fmla="*/ 41875 w 519341"/>
                  <a:gd name="connsiteY37" fmla="*/ 46456 h 311473"/>
                  <a:gd name="connsiteX38" fmla="*/ 17343 w 519341"/>
                  <a:gd name="connsiteY38" fmla="*/ 174689 h 311473"/>
                  <a:gd name="connsiteX39" fmla="*/ 33735 w 519341"/>
                  <a:gd name="connsiteY39" fmla="*/ 213716 h 311473"/>
                  <a:gd name="connsiteX40" fmla="*/ 33735 w 519341"/>
                  <a:gd name="connsiteY40" fmla="*/ 213716 h 311473"/>
                  <a:gd name="connsiteX41" fmla="*/ 75829 w 519341"/>
                  <a:gd name="connsiteY41" fmla="*/ 213382 h 311473"/>
                  <a:gd name="connsiteX42" fmla="*/ 114131 w 519341"/>
                  <a:gd name="connsiteY42" fmla="*/ 187401 h 311473"/>
                  <a:gd name="connsiteX43" fmla="*/ 118313 w 519341"/>
                  <a:gd name="connsiteY43" fmla="*/ 186398 h 31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9341" h="311473">
                    <a:moveTo>
                      <a:pt x="439452" y="310895"/>
                    </a:moveTo>
                    <a:cubicBezTo>
                      <a:pt x="435940" y="310895"/>
                      <a:pt x="432483" y="310560"/>
                      <a:pt x="429026" y="309891"/>
                    </a:cubicBezTo>
                    <a:lnTo>
                      <a:pt x="172059" y="260773"/>
                    </a:lnTo>
                    <a:cubicBezTo>
                      <a:pt x="157786" y="258096"/>
                      <a:pt x="145186" y="249845"/>
                      <a:pt x="137102" y="237802"/>
                    </a:cubicBezTo>
                    <a:lnTo>
                      <a:pt x="115804" y="206469"/>
                    </a:lnTo>
                    <a:lnTo>
                      <a:pt x="84471" y="227766"/>
                    </a:lnTo>
                    <a:cubicBezTo>
                      <a:pt x="66183" y="240199"/>
                      <a:pt x="42209" y="240367"/>
                      <a:pt x="23755" y="228213"/>
                    </a:cubicBezTo>
                    <a:lnTo>
                      <a:pt x="23755" y="228213"/>
                    </a:lnTo>
                    <a:cubicBezTo>
                      <a:pt x="5412" y="216058"/>
                      <a:pt x="-3899" y="194092"/>
                      <a:pt x="116" y="172459"/>
                    </a:cubicBezTo>
                    <a:lnTo>
                      <a:pt x="24703" y="43947"/>
                    </a:lnTo>
                    <a:cubicBezTo>
                      <a:pt x="27379" y="29675"/>
                      <a:pt x="35631" y="17075"/>
                      <a:pt x="47673" y="8990"/>
                    </a:cubicBezTo>
                    <a:cubicBezTo>
                      <a:pt x="53639" y="4976"/>
                      <a:pt x="60273" y="2132"/>
                      <a:pt x="67298" y="683"/>
                    </a:cubicBezTo>
                    <a:cubicBezTo>
                      <a:pt x="88931" y="-3833"/>
                      <a:pt x="111120" y="5199"/>
                      <a:pt x="123498" y="23486"/>
                    </a:cubicBezTo>
                    <a:lnTo>
                      <a:pt x="144796" y="54875"/>
                    </a:lnTo>
                    <a:lnTo>
                      <a:pt x="176185" y="33577"/>
                    </a:lnTo>
                    <a:cubicBezTo>
                      <a:pt x="188172" y="25493"/>
                      <a:pt x="202891" y="22427"/>
                      <a:pt x="217108" y="25103"/>
                    </a:cubicBezTo>
                    <a:lnTo>
                      <a:pt x="474131" y="74278"/>
                    </a:lnTo>
                    <a:cubicBezTo>
                      <a:pt x="503792" y="79908"/>
                      <a:pt x="523194" y="108510"/>
                      <a:pt x="517563" y="138171"/>
                    </a:cubicBezTo>
                    <a:lnTo>
                      <a:pt x="492975" y="266404"/>
                    </a:lnTo>
                    <a:cubicBezTo>
                      <a:pt x="488125" y="292162"/>
                      <a:pt x="465657" y="310895"/>
                      <a:pt x="439452" y="311006"/>
                    </a:cubicBezTo>
                    <a:close/>
                    <a:moveTo>
                      <a:pt x="118313" y="186398"/>
                    </a:moveTo>
                    <a:cubicBezTo>
                      <a:pt x="118814" y="186342"/>
                      <a:pt x="119372" y="186342"/>
                      <a:pt x="119874" y="186398"/>
                    </a:cubicBezTo>
                    <a:cubicBezTo>
                      <a:pt x="122159" y="186788"/>
                      <a:pt x="124167" y="188014"/>
                      <a:pt x="125449" y="189910"/>
                    </a:cubicBezTo>
                    <a:lnTo>
                      <a:pt x="151430" y="228213"/>
                    </a:lnTo>
                    <a:cubicBezTo>
                      <a:pt x="157061" y="236520"/>
                      <a:pt x="165815" y="242262"/>
                      <a:pt x="175683" y="244158"/>
                    </a:cubicBezTo>
                    <a:lnTo>
                      <a:pt x="432706" y="293277"/>
                    </a:lnTo>
                    <a:cubicBezTo>
                      <a:pt x="453279" y="297291"/>
                      <a:pt x="473239" y="283910"/>
                      <a:pt x="477253" y="263337"/>
                    </a:cubicBezTo>
                    <a:cubicBezTo>
                      <a:pt x="477309" y="263281"/>
                      <a:pt x="477309" y="263225"/>
                      <a:pt x="477309" y="263170"/>
                    </a:cubicBezTo>
                    <a:lnTo>
                      <a:pt x="501896" y="134937"/>
                    </a:lnTo>
                    <a:cubicBezTo>
                      <a:pt x="505966" y="114420"/>
                      <a:pt x="492585" y="94460"/>
                      <a:pt x="472068" y="90390"/>
                    </a:cubicBezTo>
                    <a:cubicBezTo>
                      <a:pt x="471957" y="90390"/>
                      <a:pt x="471901" y="90334"/>
                      <a:pt x="471789" y="90334"/>
                    </a:cubicBezTo>
                    <a:lnTo>
                      <a:pt x="214766" y="41216"/>
                    </a:lnTo>
                    <a:cubicBezTo>
                      <a:pt x="204898" y="39264"/>
                      <a:pt x="194695" y="41271"/>
                      <a:pt x="186332" y="46791"/>
                    </a:cubicBezTo>
                    <a:lnTo>
                      <a:pt x="148085" y="72772"/>
                    </a:lnTo>
                    <a:cubicBezTo>
                      <a:pt x="144238" y="75392"/>
                      <a:pt x="139053" y="74389"/>
                      <a:pt x="136433" y="70598"/>
                    </a:cubicBezTo>
                    <a:lnTo>
                      <a:pt x="110451" y="32239"/>
                    </a:lnTo>
                    <a:cubicBezTo>
                      <a:pt x="98687" y="14956"/>
                      <a:pt x="75104" y="10440"/>
                      <a:pt x="57765" y="22259"/>
                    </a:cubicBezTo>
                    <a:cubicBezTo>
                      <a:pt x="49457" y="27890"/>
                      <a:pt x="43770" y="36588"/>
                      <a:pt x="41875" y="46456"/>
                    </a:cubicBezTo>
                    <a:lnTo>
                      <a:pt x="17343" y="174689"/>
                    </a:lnTo>
                    <a:cubicBezTo>
                      <a:pt x="14332" y="189799"/>
                      <a:pt x="20856" y="205242"/>
                      <a:pt x="33735" y="213716"/>
                    </a:cubicBezTo>
                    <a:lnTo>
                      <a:pt x="33735" y="213716"/>
                    </a:lnTo>
                    <a:cubicBezTo>
                      <a:pt x="46558" y="222191"/>
                      <a:pt x="63173" y="222024"/>
                      <a:pt x="75829" y="213382"/>
                    </a:cubicBezTo>
                    <a:lnTo>
                      <a:pt x="114131" y="187401"/>
                    </a:lnTo>
                    <a:cubicBezTo>
                      <a:pt x="115413" y="186732"/>
                      <a:pt x="116863" y="186342"/>
                      <a:pt x="118313" y="186398"/>
                    </a:cubicBezTo>
                    <a:close/>
                  </a:path>
                </a:pathLst>
              </a:custGeom>
              <a:solidFill>
                <a:srgbClr val="30373B"/>
              </a:solidFill>
              <a:ln w="5573" cap="flat">
                <a:noFill/>
                <a:prstDash val="solid"/>
                <a:miter/>
              </a:ln>
            </p:spPr>
            <p:txBody>
              <a:bodyPr rtlCol="0" anchor="ctr"/>
              <a:lstStyle/>
              <a:p>
                <a:endParaRPr lang="en-GB"/>
              </a:p>
            </p:txBody>
          </p:sp>
          <p:sp>
            <p:nvSpPr>
              <p:cNvPr id="195" name="Graphic 6">
                <a:extLst>
                  <a:ext uri="{FF2B5EF4-FFF2-40B4-BE49-F238E27FC236}">
                    <a16:creationId xmlns:a16="http://schemas.microsoft.com/office/drawing/2014/main" id="{7D4B7714-4ADE-39DE-6256-E415C1403881}"/>
                  </a:ext>
                </a:extLst>
              </p:cNvPr>
              <p:cNvSpPr/>
              <p:nvPr/>
            </p:nvSpPr>
            <p:spPr>
              <a:xfrm>
                <a:off x="8564794" y="5486970"/>
                <a:ext cx="449772" cy="162196"/>
              </a:xfrm>
              <a:custGeom>
                <a:avLst/>
                <a:gdLst>
                  <a:gd name="connsiteX0" fmla="*/ 430316 w 449772"/>
                  <a:gd name="connsiteY0" fmla="*/ 161523 h 162196"/>
                  <a:gd name="connsiteX1" fmla="*/ 428756 w 449772"/>
                  <a:gd name="connsiteY1" fmla="*/ 161523 h 162196"/>
                  <a:gd name="connsiteX2" fmla="*/ 154839 w 449772"/>
                  <a:gd name="connsiteY2" fmla="*/ 109171 h 162196"/>
                  <a:gd name="connsiteX3" fmla="*/ 126683 w 449772"/>
                  <a:gd name="connsiteY3" fmla="*/ 128294 h 162196"/>
                  <a:gd name="connsiteX4" fmla="*/ 119491 w 449772"/>
                  <a:gd name="connsiteY4" fmla="*/ 129354 h 162196"/>
                  <a:gd name="connsiteX5" fmla="*/ 4918 w 449772"/>
                  <a:gd name="connsiteY5" fmla="*/ 93950 h 162196"/>
                  <a:gd name="connsiteX6" fmla="*/ -657 w 449772"/>
                  <a:gd name="connsiteY6" fmla="*/ 84416 h 162196"/>
                  <a:gd name="connsiteX7" fmla="*/ 14284 w 449772"/>
                  <a:gd name="connsiteY7" fmla="*/ 6361 h 162196"/>
                  <a:gd name="connsiteX8" fmla="*/ 23150 w 449772"/>
                  <a:gd name="connsiteY8" fmla="*/ -441 h 162196"/>
                  <a:gd name="connsiteX9" fmla="*/ 142684 w 449772"/>
                  <a:gd name="connsiteY9" fmla="*/ 8926 h 162196"/>
                  <a:gd name="connsiteX10" fmla="*/ 148985 w 449772"/>
                  <a:gd name="connsiteY10" fmla="*/ 12606 h 162196"/>
                  <a:gd name="connsiteX11" fmla="*/ 168053 w 449772"/>
                  <a:gd name="connsiteY11" fmla="*/ 40482 h 162196"/>
                  <a:gd name="connsiteX12" fmla="*/ 442025 w 449772"/>
                  <a:gd name="connsiteY12" fmla="*/ 92835 h 162196"/>
                  <a:gd name="connsiteX13" fmla="*/ 448827 w 449772"/>
                  <a:gd name="connsiteY13" fmla="*/ 102759 h 162196"/>
                  <a:gd name="connsiteX14" fmla="*/ 438902 w 449772"/>
                  <a:gd name="connsiteY14" fmla="*/ 109561 h 162196"/>
                  <a:gd name="connsiteX15" fmla="*/ 161529 w 449772"/>
                  <a:gd name="connsiteY15" fmla="*/ 56539 h 162196"/>
                  <a:gd name="connsiteX16" fmla="*/ 155954 w 449772"/>
                  <a:gd name="connsiteY16" fmla="*/ 53027 h 162196"/>
                  <a:gd name="connsiteX17" fmla="*/ 137165 w 449772"/>
                  <a:gd name="connsiteY17" fmla="*/ 25150 h 162196"/>
                  <a:gd name="connsiteX18" fmla="*/ 29059 w 449772"/>
                  <a:gd name="connsiteY18" fmla="*/ 16675 h 162196"/>
                  <a:gd name="connsiteX19" fmla="*/ 16960 w 449772"/>
                  <a:gd name="connsiteY19" fmla="*/ 80012 h 162196"/>
                  <a:gd name="connsiteX20" fmla="*/ 120551 w 449772"/>
                  <a:gd name="connsiteY20" fmla="*/ 112014 h 162196"/>
                  <a:gd name="connsiteX21" fmla="*/ 148427 w 449772"/>
                  <a:gd name="connsiteY21" fmla="*/ 93225 h 162196"/>
                  <a:gd name="connsiteX22" fmla="*/ 154672 w 449772"/>
                  <a:gd name="connsiteY22" fmla="*/ 91943 h 162196"/>
                  <a:gd name="connsiteX23" fmla="*/ 431989 w 449772"/>
                  <a:gd name="connsiteY23" fmla="*/ 144964 h 162196"/>
                  <a:gd name="connsiteX24" fmla="*/ 439571 w 449772"/>
                  <a:gd name="connsiteY24" fmla="*/ 154108 h 162196"/>
                  <a:gd name="connsiteX25" fmla="*/ 430428 w 449772"/>
                  <a:gd name="connsiteY25" fmla="*/ 161690 h 16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9772" h="162196">
                    <a:moveTo>
                      <a:pt x="430316" y="161523"/>
                    </a:moveTo>
                    <a:lnTo>
                      <a:pt x="428756" y="161523"/>
                    </a:lnTo>
                    <a:lnTo>
                      <a:pt x="154839" y="109171"/>
                    </a:lnTo>
                    <a:lnTo>
                      <a:pt x="126683" y="128294"/>
                    </a:lnTo>
                    <a:cubicBezTo>
                      <a:pt x="124565" y="129688"/>
                      <a:pt x="121944" y="130078"/>
                      <a:pt x="119491" y="129354"/>
                    </a:cubicBezTo>
                    <a:lnTo>
                      <a:pt x="4918" y="93950"/>
                    </a:lnTo>
                    <a:cubicBezTo>
                      <a:pt x="904" y="92612"/>
                      <a:pt x="-1438" y="88542"/>
                      <a:pt x="-657" y="84416"/>
                    </a:cubicBezTo>
                    <a:lnTo>
                      <a:pt x="14284" y="6361"/>
                    </a:lnTo>
                    <a:cubicBezTo>
                      <a:pt x="15065" y="2124"/>
                      <a:pt x="18856" y="-775"/>
                      <a:pt x="23150" y="-441"/>
                    </a:cubicBezTo>
                    <a:lnTo>
                      <a:pt x="142684" y="8926"/>
                    </a:lnTo>
                    <a:cubicBezTo>
                      <a:pt x="145249" y="9149"/>
                      <a:pt x="147535" y="10487"/>
                      <a:pt x="148985" y="12606"/>
                    </a:cubicBezTo>
                    <a:lnTo>
                      <a:pt x="168053" y="40482"/>
                    </a:lnTo>
                    <a:lnTo>
                      <a:pt x="442025" y="92835"/>
                    </a:lnTo>
                    <a:cubicBezTo>
                      <a:pt x="446652" y="93671"/>
                      <a:pt x="449663" y="98132"/>
                      <a:pt x="448827" y="102759"/>
                    </a:cubicBezTo>
                    <a:cubicBezTo>
                      <a:pt x="447990" y="107386"/>
                      <a:pt x="443530" y="110397"/>
                      <a:pt x="438902" y="109561"/>
                    </a:cubicBezTo>
                    <a:lnTo>
                      <a:pt x="161529" y="56539"/>
                    </a:lnTo>
                    <a:cubicBezTo>
                      <a:pt x="159243" y="56205"/>
                      <a:pt x="157236" y="54923"/>
                      <a:pt x="155954" y="53027"/>
                    </a:cubicBezTo>
                    <a:lnTo>
                      <a:pt x="137165" y="25150"/>
                    </a:lnTo>
                    <a:lnTo>
                      <a:pt x="29059" y="16675"/>
                    </a:lnTo>
                    <a:lnTo>
                      <a:pt x="16960" y="80012"/>
                    </a:lnTo>
                    <a:lnTo>
                      <a:pt x="120551" y="112014"/>
                    </a:lnTo>
                    <a:lnTo>
                      <a:pt x="148427" y="93225"/>
                    </a:lnTo>
                    <a:cubicBezTo>
                      <a:pt x="150267" y="91998"/>
                      <a:pt x="152497" y="91497"/>
                      <a:pt x="154672" y="91943"/>
                    </a:cubicBezTo>
                    <a:lnTo>
                      <a:pt x="431989" y="144964"/>
                    </a:lnTo>
                    <a:cubicBezTo>
                      <a:pt x="436616" y="145411"/>
                      <a:pt x="440017" y="149480"/>
                      <a:pt x="439571" y="154108"/>
                    </a:cubicBezTo>
                    <a:cubicBezTo>
                      <a:pt x="439126" y="158736"/>
                      <a:pt x="435056" y="162137"/>
                      <a:pt x="430428" y="161690"/>
                    </a:cubicBezTo>
                    <a:close/>
                  </a:path>
                </a:pathLst>
              </a:custGeom>
              <a:solidFill>
                <a:srgbClr val="30373B"/>
              </a:solidFill>
              <a:ln w="5573" cap="flat">
                <a:noFill/>
                <a:prstDash val="solid"/>
                <a:miter/>
              </a:ln>
            </p:spPr>
            <p:txBody>
              <a:bodyPr rtlCol="0" anchor="ctr"/>
              <a:lstStyle/>
              <a:p>
                <a:endParaRPr lang="en-GB"/>
              </a:p>
            </p:txBody>
          </p:sp>
          <p:sp>
            <p:nvSpPr>
              <p:cNvPr id="196" name="Graphic 6">
                <a:extLst>
                  <a:ext uri="{FF2B5EF4-FFF2-40B4-BE49-F238E27FC236}">
                    <a16:creationId xmlns:a16="http://schemas.microsoft.com/office/drawing/2014/main" id="{589F3B71-D475-BDA5-E072-5BD74CA0118D}"/>
                  </a:ext>
                </a:extLst>
              </p:cNvPr>
              <p:cNvSpPr/>
              <p:nvPr/>
            </p:nvSpPr>
            <p:spPr>
              <a:xfrm>
                <a:off x="9181135" y="5677828"/>
                <a:ext cx="294913" cy="74148"/>
              </a:xfrm>
              <a:custGeom>
                <a:avLst/>
                <a:gdLst>
                  <a:gd name="connsiteX0" fmla="*/ 284645 w 294913"/>
                  <a:gd name="connsiteY0" fmla="*/ 73474 h 74148"/>
                  <a:gd name="connsiteX1" fmla="*/ 282916 w 294913"/>
                  <a:gd name="connsiteY1" fmla="*/ 73474 h 74148"/>
                  <a:gd name="connsiteX2" fmla="*/ 5878 w 294913"/>
                  <a:gd name="connsiteY2" fmla="*/ 16104 h 74148"/>
                  <a:gd name="connsiteX3" fmla="*/ -646 w 294913"/>
                  <a:gd name="connsiteY3" fmla="*/ 6180 h 74148"/>
                  <a:gd name="connsiteX4" fmla="*/ 9279 w 294913"/>
                  <a:gd name="connsiteY4" fmla="*/ -287 h 74148"/>
                  <a:gd name="connsiteX5" fmla="*/ 286540 w 294913"/>
                  <a:gd name="connsiteY5" fmla="*/ 56916 h 74148"/>
                  <a:gd name="connsiteX6" fmla="*/ 294067 w 294913"/>
                  <a:gd name="connsiteY6" fmla="*/ 66115 h 74148"/>
                  <a:gd name="connsiteX7" fmla="*/ 284868 w 294913"/>
                  <a:gd name="connsiteY7" fmla="*/ 73642 h 7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913" h="74148">
                    <a:moveTo>
                      <a:pt x="284645" y="73474"/>
                    </a:moveTo>
                    <a:cubicBezTo>
                      <a:pt x="284087" y="73530"/>
                      <a:pt x="283474" y="73530"/>
                      <a:pt x="282916" y="73474"/>
                    </a:cubicBezTo>
                    <a:lnTo>
                      <a:pt x="5878" y="16104"/>
                    </a:lnTo>
                    <a:cubicBezTo>
                      <a:pt x="1361" y="15157"/>
                      <a:pt x="-1537" y="10752"/>
                      <a:pt x="-646" y="6180"/>
                    </a:cubicBezTo>
                    <a:cubicBezTo>
                      <a:pt x="302" y="1664"/>
                      <a:pt x="4763" y="-1235"/>
                      <a:pt x="9279" y="-287"/>
                    </a:cubicBezTo>
                    <a:lnTo>
                      <a:pt x="286540" y="56916"/>
                    </a:lnTo>
                    <a:cubicBezTo>
                      <a:pt x="291168" y="57362"/>
                      <a:pt x="294513" y="61487"/>
                      <a:pt x="294067" y="66115"/>
                    </a:cubicBezTo>
                    <a:cubicBezTo>
                      <a:pt x="293621" y="70743"/>
                      <a:pt x="289495" y="74088"/>
                      <a:pt x="284868" y="73642"/>
                    </a:cubicBezTo>
                    <a:close/>
                  </a:path>
                </a:pathLst>
              </a:custGeom>
              <a:solidFill>
                <a:srgbClr val="30373B"/>
              </a:solidFill>
              <a:ln w="5573" cap="flat">
                <a:noFill/>
                <a:prstDash val="solid"/>
                <a:miter/>
              </a:ln>
            </p:spPr>
            <p:txBody>
              <a:bodyPr rtlCol="0" anchor="ctr"/>
              <a:lstStyle/>
              <a:p>
                <a:endParaRPr lang="en-GB"/>
              </a:p>
            </p:txBody>
          </p:sp>
          <p:sp>
            <p:nvSpPr>
              <p:cNvPr id="197" name="Graphic 6">
                <a:extLst>
                  <a:ext uri="{FF2B5EF4-FFF2-40B4-BE49-F238E27FC236}">
                    <a16:creationId xmlns:a16="http://schemas.microsoft.com/office/drawing/2014/main" id="{437D16E4-E18C-3954-6515-6DCF2CFC2EC9}"/>
                  </a:ext>
                </a:extLst>
              </p:cNvPr>
              <p:cNvSpPr/>
              <p:nvPr/>
            </p:nvSpPr>
            <p:spPr>
              <a:xfrm>
                <a:off x="5515845" y="6034271"/>
                <a:ext cx="502226" cy="241970"/>
              </a:xfrm>
              <a:custGeom>
                <a:avLst/>
                <a:gdLst>
                  <a:gd name="connsiteX0" fmla="*/ 446447 w 502226"/>
                  <a:gd name="connsiteY0" fmla="*/ 241448 h 241970"/>
                  <a:gd name="connsiteX1" fmla="*/ 446057 w 502226"/>
                  <a:gd name="connsiteY1" fmla="*/ 241448 h 241970"/>
                  <a:gd name="connsiteX2" fmla="*/ 184406 w 502226"/>
                  <a:gd name="connsiteY2" fmla="*/ 240221 h 241970"/>
                  <a:gd name="connsiteX3" fmla="*/ 145881 w 502226"/>
                  <a:gd name="connsiteY3" fmla="*/ 224053 h 241970"/>
                  <a:gd name="connsiteX4" fmla="*/ 119175 w 502226"/>
                  <a:gd name="connsiteY4" fmla="*/ 197124 h 241970"/>
                  <a:gd name="connsiteX5" fmla="*/ 92246 w 502226"/>
                  <a:gd name="connsiteY5" fmla="*/ 223774 h 241970"/>
                  <a:gd name="connsiteX6" fmla="*/ 14977 w 502226"/>
                  <a:gd name="connsiteY6" fmla="*/ 223328 h 241970"/>
                  <a:gd name="connsiteX7" fmla="*/ -806 w 502226"/>
                  <a:gd name="connsiteY7" fmla="*/ 184747 h 241970"/>
                  <a:gd name="connsiteX8" fmla="*/ -193 w 502226"/>
                  <a:gd name="connsiteY8" fmla="*/ 53894 h 241970"/>
                  <a:gd name="connsiteX9" fmla="*/ 54718 w 502226"/>
                  <a:gd name="connsiteY9" fmla="*/ -466 h 241970"/>
                  <a:gd name="connsiteX10" fmla="*/ 93250 w 502226"/>
                  <a:gd name="connsiteY10" fmla="*/ 15703 h 241970"/>
                  <a:gd name="connsiteX11" fmla="*/ 119955 w 502226"/>
                  <a:gd name="connsiteY11" fmla="*/ 42687 h 241970"/>
                  <a:gd name="connsiteX12" fmla="*/ 146884 w 502226"/>
                  <a:gd name="connsiteY12" fmla="*/ 15981 h 241970"/>
                  <a:gd name="connsiteX13" fmla="*/ 185354 w 502226"/>
                  <a:gd name="connsiteY13" fmla="*/ 147 h 241970"/>
                  <a:gd name="connsiteX14" fmla="*/ 185354 w 502226"/>
                  <a:gd name="connsiteY14" fmla="*/ 147 h 241970"/>
                  <a:gd name="connsiteX15" fmla="*/ 447060 w 502226"/>
                  <a:gd name="connsiteY15" fmla="*/ 1429 h 241970"/>
                  <a:gd name="connsiteX16" fmla="*/ 501420 w 502226"/>
                  <a:gd name="connsiteY16" fmla="*/ 56346 h 241970"/>
                  <a:gd name="connsiteX17" fmla="*/ 500751 w 502226"/>
                  <a:gd name="connsiteY17" fmla="*/ 187144 h 241970"/>
                  <a:gd name="connsiteX18" fmla="*/ 446224 w 502226"/>
                  <a:gd name="connsiteY18" fmla="*/ 241504 h 241970"/>
                  <a:gd name="connsiteX19" fmla="*/ 119231 w 502226"/>
                  <a:gd name="connsiteY19" fmla="*/ 177053 h 241970"/>
                  <a:gd name="connsiteX20" fmla="*/ 119231 w 502226"/>
                  <a:gd name="connsiteY20" fmla="*/ 177053 h 241970"/>
                  <a:gd name="connsiteX21" fmla="*/ 125140 w 502226"/>
                  <a:gd name="connsiteY21" fmla="*/ 179561 h 241970"/>
                  <a:gd name="connsiteX22" fmla="*/ 157701 w 502226"/>
                  <a:gd name="connsiteY22" fmla="*/ 212400 h 241970"/>
                  <a:gd name="connsiteX23" fmla="*/ 184462 w 502226"/>
                  <a:gd name="connsiteY23" fmla="*/ 223551 h 241970"/>
                  <a:gd name="connsiteX24" fmla="*/ 446113 w 502226"/>
                  <a:gd name="connsiteY24" fmla="*/ 224778 h 241970"/>
                  <a:gd name="connsiteX25" fmla="*/ 446391 w 502226"/>
                  <a:gd name="connsiteY25" fmla="*/ 224778 h 241970"/>
                  <a:gd name="connsiteX26" fmla="*/ 484192 w 502226"/>
                  <a:gd name="connsiteY26" fmla="*/ 187089 h 241970"/>
                  <a:gd name="connsiteX27" fmla="*/ 484861 w 502226"/>
                  <a:gd name="connsiteY27" fmla="*/ 56235 h 241970"/>
                  <a:gd name="connsiteX28" fmla="*/ 447116 w 502226"/>
                  <a:gd name="connsiteY28" fmla="*/ 18155 h 241970"/>
                  <a:gd name="connsiteX29" fmla="*/ 185410 w 502226"/>
                  <a:gd name="connsiteY29" fmla="*/ 16873 h 241970"/>
                  <a:gd name="connsiteX30" fmla="*/ 158592 w 502226"/>
                  <a:gd name="connsiteY30" fmla="*/ 28024 h 241970"/>
                  <a:gd name="connsiteX31" fmla="*/ 125698 w 502226"/>
                  <a:gd name="connsiteY31" fmla="*/ 60584 h 241970"/>
                  <a:gd name="connsiteX32" fmla="*/ 113951 w 502226"/>
                  <a:gd name="connsiteY32" fmla="*/ 60640 h 241970"/>
                  <a:gd name="connsiteX33" fmla="*/ 113878 w 502226"/>
                  <a:gd name="connsiteY33" fmla="*/ 60584 h 241970"/>
                  <a:gd name="connsiteX34" fmla="*/ 81318 w 502226"/>
                  <a:gd name="connsiteY34" fmla="*/ 27689 h 241970"/>
                  <a:gd name="connsiteX35" fmla="*/ 27622 w 502226"/>
                  <a:gd name="connsiteY35" fmla="*/ 27633 h 241970"/>
                  <a:gd name="connsiteX36" fmla="*/ 16477 w 502226"/>
                  <a:gd name="connsiteY36" fmla="*/ 54172 h 241970"/>
                  <a:gd name="connsiteX37" fmla="*/ 15864 w 502226"/>
                  <a:gd name="connsiteY37" fmla="*/ 185026 h 241970"/>
                  <a:gd name="connsiteX38" fmla="*/ 15864 w 502226"/>
                  <a:gd name="connsiteY38" fmla="*/ 185026 h 241970"/>
                  <a:gd name="connsiteX39" fmla="*/ 27015 w 502226"/>
                  <a:gd name="connsiteY39" fmla="*/ 211899 h 241970"/>
                  <a:gd name="connsiteX40" fmla="*/ 39280 w 502226"/>
                  <a:gd name="connsiteY40" fmla="*/ 220150 h 241970"/>
                  <a:gd name="connsiteX41" fmla="*/ 80593 w 502226"/>
                  <a:gd name="connsiteY41" fmla="*/ 212178 h 241970"/>
                  <a:gd name="connsiteX42" fmla="*/ 113488 w 502226"/>
                  <a:gd name="connsiteY42" fmla="*/ 179617 h 241970"/>
                  <a:gd name="connsiteX43" fmla="*/ 119231 w 502226"/>
                  <a:gd name="connsiteY43" fmla="*/ 177053 h 241970"/>
                  <a:gd name="connsiteX44" fmla="*/ 7724 w 502226"/>
                  <a:gd name="connsiteY44" fmla="*/ 184858 h 241970"/>
                  <a:gd name="connsiteX45" fmla="*/ 7724 w 502226"/>
                  <a:gd name="connsiteY45" fmla="*/ 184858 h 24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02226" h="241970">
                    <a:moveTo>
                      <a:pt x="446447" y="241448"/>
                    </a:moveTo>
                    <a:lnTo>
                      <a:pt x="446057" y="241448"/>
                    </a:lnTo>
                    <a:lnTo>
                      <a:pt x="184406" y="240221"/>
                    </a:lnTo>
                    <a:cubicBezTo>
                      <a:pt x="169922" y="240165"/>
                      <a:pt x="156050" y="234367"/>
                      <a:pt x="145881" y="224053"/>
                    </a:cubicBezTo>
                    <a:lnTo>
                      <a:pt x="119175" y="197124"/>
                    </a:lnTo>
                    <a:lnTo>
                      <a:pt x="92246" y="223774"/>
                    </a:lnTo>
                    <a:cubicBezTo>
                      <a:pt x="70787" y="245016"/>
                      <a:pt x="36192" y="244793"/>
                      <a:pt x="14977" y="223328"/>
                    </a:cubicBezTo>
                    <a:cubicBezTo>
                      <a:pt x="4825" y="213069"/>
                      <a:pt x="-851" y="199187"/>
                      <a:pt x="-806" y="184747"/>
                    </a:cubicBezTo>
                    <a:lnTo>
                      <a:pt x="-193" y="53894"/>
                    </a:lnTo>
                    <a:cubicBezTo>
                      <a:pt x="-43" y="23731"/>
                      <a:pt x="24545" y="-633"/>
                      <a:pt x="54718" y="-466"/>
                    </a:cubicBezTo>
                    <a:cubicBezTo>
                      <a:pt x="69197" y="-410"/>
                      <a:pt x="83058" y="5444"/>
                      <a:pt x="93250" y="15703"/>
                    </a:cubicBezTo>
                    <a:lnTo>
                      <a:pt x="119955" y="42687"/>
                    </a:lnTo>
                    <a:lnTo>
                      <a:pt x="146884" y="15981"/>
                    </a:lnTo>
                    <a:cubicBezTo>
                      <a:pt x="157143" y="5890"/>
                      <a:pt x="170953" y="203"/>
                      <a:pt x="185354" y="147"/>
                    </a:cubicBezTo>
                    <a:lnTo>
                      <a:pt x="185354" y="147"/>
                    </a:lnTo>
                    <a:lnTo>
                      <a:pt x="447060" y="1429"/>
                    </a:lnTo>
                    <a:cubicBezTo>
                      <a:pt x="477212" y="1653"/>
                      <a:pt x="501515" y="26184"/>
                      <a:pt x="501420" y="56346"/>
                    </a:cubicBezTo>
                    <a:lnTo>
                      <a:pt x="500751" y="187144"/>
                    </a:lnTo>
                    <a:cubicBezTo>
                      <a:pt x="500601" y="217195"/>
                      <a:pt x="476248" y="241448"/>
                      <a:pt x="446224" y="241504"/>
                    </a:cubicBezTo>
                    <a:close/>
                    <a:moveTo>
                      <a:pt x="119231" y="177053"/>
                    </a:moveTo>
                    <a:lnTo>
                      <a:pt x="119231" y="177053"/>
                    </a:lnTo>
                    <a:cubicBezTo>
                      <a:pt x="121450" y="177109"/>
                      <a:pt x="123568" y="178001"/>
                      <a:pt x="125140" y="179561"/>
                    </a:cubicBezTo>
                    <a:lnTo>
                      <a:pt x="157701" y="212400"/>
                    </a:lnTo>
                    <a:cubicBezTo>
                      <a:pt x="164781" y="219537"/>
                      <a:pt x="174415" y="223551"/>
                      <a:pt x="184462" y="223551"/>
                    </a:cubicBezTo>
                    <a:lnTo>
                      <a:pt x="446113" y="224778"/>
                    </a:lnTo>
                    <a:lnTo>
                      <a:pt x="446391" y="224778"/>
                    </a:lnTo>
                    <a:cubicBezTo>
                      <a:pt x="467210" y="224722"/>
                      <a:pt x="484097" y="207884"/>
                      <a:pt x="484192" y="187089"/>
                    </a:cubicBezTo>
                    <a:lnTo>
                      <a:pt x="484861" y="56235"/>
                    </a:lnTo>
                    <a:cubicBezTo>
                      <a:pt x="484923" y="35327"/>
                      <a:pt x="468040" y="18267"/>
                      <a:pt x="447116" y="18155"/>
                    </a:cubicBezTo>
                    <a:lnTo>
                      <a:pt x="185410" y="16873"/>
                    </a:lnTo>
                    <a:cubicBezTo>
                      <a:pt x="175346" y="16929"/>
                      <a:pt x="165707" y="20887"/>
                      <a:pt x="158592" y="28024"/>
                    </a:cubicBezTo>
                    <a:lnTo>
                      <a:pt x="125698" y="60584"/>
                    </a:lnTo>
                    <a:cubicBezTo>
                      <a:pt x="122476" y="63873"/>
                      <a:pt x="117212" y="63873"/>
                      <a:pt x="113951" y="60640"/>
                    </a:cubicBezTo>
                    <a:cubicBezTo>
                      <a:pt x="113928" y="60640"/>
                      <a:pt x="113901" y="60584"/>
                      <a:pt x="113878" y="60584"/>
                    </a:cubicBezTo>
                    <a:lnTo>
                      <a:pt x="81318" y="27689"/>
                    </a:lnTo>
                    <a:cubicBezTo>
                      <a:pt x="66505" y="12859"/>
                      <a:pt x="42464" y="12803"/>
                      <a:pt x="27622" y="27633"/>
                    </a:cubicBezTo>
                    <a:cubicBezTo>
                      <a:pt x="20569" y="34658"/>
                      <a:pt x="16566" y="44193"/>
                      <a:pt x="16477" y="54172"/>
                    </a:cubicBezTo>
                    <a:lnTo>
                      <a:pt x="15864" y="185026"/>
                    </a:lnTo>
                    <a:lnTo>
                      <a:pt x="15864" y="185026"/>
                    </a:lnTo>
                    <a:cubicBezTo>
                      <a:pt x="15819" y="195117"/>
                      <a:pt x="19839" y="204818"/>
                      <a:pt x="27015" y="211899"/>
                    </a:cubicBezTo>
                    <a:cubicBezTo>
                      <a:pt x="30499" y="215467"/>
                      <a:pt x="34675" y="218255"/>
                      <a:pt x="39280" y="220150"/>
                    </a:cubicBezTo>
                    <a:cubicBezTo>
                      <a:pt x="53392" y="226116"/>
                      <a:pt x="69716" y="222993"/>
                      <a:pt x="80593" y="212178"/>
                    </a:cubicBezTo>
                    <a:lnTo>
                      <a:pt x="113488" y="179617"/>
                    </a:lnTo>
                    <a:cubicBezTo>
                      <a:pt x="114993" y="178057"/>
                      <a:pt x="117056" y="177109"/>
                      <a:pt x="119231" y="177053"/>
                    </a:cubicBezTo>
                    <a:close/>
                    <a:moveTo>
                      <a:pt x="7724" y="184858"/>
                    </a:moveTo>
                    <a:lnTo>
                      <a:pt x="7724" y="184858"/>
                    </a:lnTo>
                    <a:close/>
                  </a:path>
                </a:pathLst>
              </a:custGeom>
              <a:solidFill>
                <a:srgbClr val="30373B"/>
              </a:solidFill>
              <a:ln w="5573" cap="flat">
                <a:noFill/>
                <a:prstDash val="solid"/>
                <a:miter/>
              </a:ln>
            </p:spPr>
            <p:txBody>
              <a:bodyPr rtlCol="0" anchor="ctr"/>
              <a:lstStyle/>
              <a:p>
                <a:endParaRPr lang="en-GB"/>
              </a:p>
            </p:txBody>
          </p:sp>
          <p:sp>
            <p:nvSpPr>
              <p:cNvPr id="198" name="Graphic 6">
                <a:extLst>
                  <a:ext uri="{FF2B5EF4-FFF2-40B4-BE49-F238E27FC236}">
                    <a16:creationId xmlns:a16="http://schemas.microsoft.com/office/drawing/2014/main" id="{C44D982C-F68C-82CE-7941-0100A6E0CB6A}"/>
                  </a:ext>
                </a:extLst>
              </p:cNvPr>
              <p:cNvSpPr/>
              <p:nvPr/>
            </p:nvSpPr>
            <p:spPr>
              <a:xfrm>
                <a:off x="5088160" y="6091201"/>
                <a:ext cx="444801" cy="122709"/>
              </a:xfrm>
              <a:custGeom>
                <a:avLst/>
                <a:gdLst>
                  <a:gd name="connsiteX0" fmla="*/ 126423 w 444801"/>
                  <a:gd name="connsiteY0" fmla="*/ 122241 h 122709"/>
                  <a:gd name="connsiteX1" fmla="*/ 125475 w 444801"/>
                  <a:gd name="connsiteY1" fmla="*/ 122241 h 122709"/>
                  <a:gd name="connsiteX2" fmla="*/ 6553 w 444801"/>
                  <a:gd name="connsiteY2" fmla="*/ 108358 h 122709"/>
                  <a:gd name="connsiteX3" fmla="*/ -806 w 444801"/>
                  <a:gd name="connsiteY3" fmla="*/ 99995 h 122709"/>
                  <a:gd name="connsiteX4" fmla="*/ -416 w 444801"/>
                  <a:gd name="connsiteY4" fmla="*/ 20547 h 122709"/>
                  <a:gd name="connsiteX5" fmla="*/ 7055 w 444801"/>
                  <a:gd name="connsiteY5" fmla="*/ 12240 h 122709"/>
                  <a:gd name="connsiteX6" fmla="*/ 126256 w 444801"/>
                  <a:gd name="connsiteY6" fmla="*/ -417 h 122709"/>
                  <a:gd name="connsiteX7" fmla="*/ 133113 w 444801"/>
                  <a:gd name="connsiteY7" fmla="*/ 2036 h 122709"/>
                  <a:gd name="connsiteX8" fmla="*/ 157031 w 444801"/>
                  <a:gd name="connsiteY8" fmla="*/ 26178 h 122709"/>
                  <a:gd name="connsiteX9" fmla="*/ 389356 w 444801"/>
                  <a:gd name="connsiteY9" fmla="*/ 27404 h 122709"/>
                  <a:gd name="connsiteX10" fmla="*/ 397719 w 444801"/>
                  <a:gd name="connsiteY10" fmla="*/ 35767 h 122709"/>
                  <a:gd name="connsiteX11" fmla="*/ 389356 w 444801"/>
                  <a:gd name="connsiteY11" fmla="*/ 44130 h 122709"/>
                  <a:gd name="connsiteX12" fmla="*/ 389356 w 444801"/>
                  <a:gd name="connsiteY12" fmla="*/ 44130 h 122709"/>
                  <a:gd name="connsiteX13" fmla="*/ 153631 w 444801"/>
                  <a:gd name="connsiteY13" fmla="*/ 42904 h 122709"/>
                  <a:gd name="connsiteX14" fmla="*/ 147721 w 444801"/>
                  <a:gd name="connsiteY14" fmla="*/ 40450 h 122709"/>
                  <a:gd name="connsiteX15" fmla="*/ 124137 w 444801"/>
                  <a:gd name="connsiteY15" fmla="*/ 16644 h 122709"/>
                  <a:gd name="connsiteX16" fmla="*/ 16366 w 444801"/>
                  <a:gd name="connsiteY16" fmla="*/ 27794 h 122709"/>
                  <a:gd name="connsiteX17" fmla="*/ 16031 w 444801"/>
                  <a:gd name="connsiteY17" fmla="*/ 92301 h 122709"/>
                  <a:gd name="connsiteX18" fmla="*/ 123747 w 444801"/>
                  <a:gd name="connsiteY18" fmla="*/ 104846 h 122709"/>
                  <a:gd name="connsiteX19" fmla="*/ 147498 w 444801"/>
                  <a:gd name="connsiteY19" fmla="*/ 81262 h 122709"/>
                  <a:gd name="connsiteX20" fmla="*/ 153463 w 444801"/>
                  <a:gd name="connsiteY20" fmla="*/ 78865 h 122709"/>
                  <a:gd name="connsiteX21" fmla="*/ 435631 w 444801"/>
                  <a:gd name="connsiteY21" fmla="*/ 80091 h 122709"/>
                  <a:gd name="connsiteX22" fmla="*/ 443994 w 444801"/>
                  <a:gd name="connsiteY22" fmla="*/ 88454 h 122709"/>
                  <a:gd name="connsiteX23" fmla="*/ 435631 w 444801"/>
                  <a:gd name="connsiteY23" fmla="*/ 96817 h 122709"/>
                  <a:gd name="connsiteX24" fmla="*/ 435631 w 444801"/>
                  <a:gd name="connsiteY24" fmla="*/ 96817 h 122709"/>
                  <a:gd name="connsiteX25" fmla="*/ 156864 w 444801"/>
                  <a:gd name="connsiteY25" fmla="*/ 95591 h 122709"/>
                  <a:gd name="connsiteX26" fmla="*/ 132723 w 444801"/>
                  <a:gd name="connsiteY26" fmla="*/ 119509 h 122709"/>
                  <a:gd name="connsiteX27" fmla="*/ 126423 w 444801"/>
                  <a:gd name="connsiteY27" fmla="*/ 122241 h 12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801" h="122709">
                    <a:moveTo>
                      <a:pt x="126423" y="122241"/>
                    </a:moveTo>
                    <a:lnTo>
                      <a:pt x="125475" y="122241"/>
                    </a:lnTo>
                    <a:lnTo>
                      <a:pt x="6553" y="108358"/>
                    </a:lnTo>
                    <a:cubicBezTo>
                      <a:pt x="2332" y="107857"/>
                      <a:pt x="-840" y="104233"/>
                      <a:pt x="-806" y="99995"/>
                    </a:cubicBezTo>
                    <a:lnTo>
                      <a:pt x="-416" y="20547"/>
                    </a:lnTo>
                    <a:cubicBezTo>
                      <a:pt x="-411" y="16254"/>
                      <a:pt x="2806" y="12685"/>
                      <a:pt x="7055" y="12240"/>
                    </a:cubicBezTo>
                    <a:lnTo>
                      <a:pt x="126256" y="-417"/>
                    </a:lnTo>
                    <a:cubicBezTo>
                      <a:pt x="128798" y="-696"/>
                      <a:pt x="131329" y="197"/>
                      <a:pt x="133113" y="2036"/>
                    </a:cubicBezTo>
                    <a:lnTo>
                      <a:pt x="157031" y="26178"/>
                    </a:lnTo>
                    <a:lnTo>
                      <a:pt x="389356" y="27404"/>
                    </a:lnTo>
                    <a:cubicBezTo>
                      <a:pt x="393972" y="27404"/>
                      <a:pt x="397719" y="31140"/>
                      <a:pt x="397719" y="35767"/>
                    </a:cubicBezTo>
                    <a:cubicBezTo>
                      <a:pt x="397719" y="40395"/>
                      <a:pt x="393972" y="44130"/>
                      <a:pt x="389356" y="44130"/>
                    </a:cubicBezTo>
                    <a:lnTo>
                      <a:pt x="389356" y="44130"/>
                    </a:lnTo>
                    <a:lnTo>
                      <a:pt x="153631" y="42904"/>
                    </a:lnTo>
                    <a:cubicBezTo>
                      <a:pt x="151412" y="42904"/>
                      <a:pt x="149287" y="42012"/>
                      <a:pt x="147721" y="40450"/>
                    </a:cubicBezTo>
                    <a:lnTo>
                      <a:pt x="124137" y="16644"/>
                    </a:lnTo>
                    <a:lnTo>
                      <a:pt x="16366" y="27794"/>
                    </a:lnTo>
                    <a:lnTo>
                      <a:pt x="16031" y="92301"/>
                    </a:lnTo>
                    <a:lnTo>
                      <a:pt x="123747" y="104846"/>
                    </a:lnTo>
                    <a:lnTo>
                      <a:pt x="147498" y="81262"/>
                    </a:lnTo>
                    <a:cubicBezTo>
                      <a:pt x="149176" y="79868"/>
                      <a:pt x="151267" y="78976"/>
                      <a:pt x="153463" y="78865"/>
                    </a:cubicBezTo>
                    <a:lnTo>
                      <a:pt x="435631" y="80091"/>
                    </a:lnTo>
                    <a:cubicBezTo>
                      <a:pt x="440248" y="80091"/>
                      <a:pt x="443994" y="83827"/>
                      <a:pt x="443994" y="88454"/>
                    </a:cubicBezTo>
                    <a:cubicBezTo>
                      <a:pt x="443994" y="93082"/>
                      <a:pt x="440248" y="96817"/>
                      <a:pt x="435631" y="96817"/>
                    </a:cubicBezTo>
                    <a:lnTo>
                      <a:pt x="435631" y="96817"/>
                    </a:lnTo>
                    <a:lnTo>
                      <a:pt x="156864" y="95591"/>
                    </a:lnTo>
                    <a:lnTo>
                      <a:pt x="132723" y="119509"/>
                    </a:lnTo>
                    <a:cubicBezTo>
                      <a:pt x="131112" y="121293"/>
                      <a:pt x="128815" y="122297"/>
                      <a:pt x="126423" y="122241"/>
                    </a:cubicBezTo>
                    <a:close/>
                  </a:path>
                </a:pathLst>
              </a:custGeom>
              <a:solidFill>
                <a:srgbClr val="30373B"/>
              </a:solidFill>
              <a:ln w="5573" cap="flat">
                <a:noFill/>
                <a:prstDash val="solid"/>
                <a:miter/>
              </a:ln>
            </p:spPr>
            <p:txBody>
              <a:bodyPr rtlCol="0" anchor="ctr"/>
              <a:lstStyle/>
              <a:p>
                <a:endParaRPr lang="en-GB"/>
              </a:p>
            </p:txBody>
          </p:sp>
          <p:sp>
            <p:nvSpPr>
              <p:cNvPr id="199" name="Graphic 6">
                <a:extLst>
                  <a:ext uri="{FF2B5EF4-FFF2-40B4-BE49-F238E27FC236}">
                    <a16:creationId xmlns:a16="http://schemas.microsoft.com/office/drawing/2014/main" id="{4EAB0DA3-6AA1-45A2-4D27-169468138A96}"/>
                  </a:ext>
                </a:extLst>
              </p:cNvPr>
              <p:cNvSpPr/>
              <p:nvPr/>
            </p:nvSpPr>
            <p:spPr>
              <a:xfrm>
                <a:off x="7357993" y="2601869"/>
                <a:ext cx="16726" cy="3562642"/>
              </a:xfrm>
              <a:custGeom>
                <a:avLst/>
                <a:gdLst>
                  <a:gd name="connsiteX0" fmla="*/ 7556 w 16726"/>
                  <a:gd name="connsiteY0" fmla="*/ 3562176 h 3562642"/>
                  <a:gd name="connsiteX1" fmla="*/ -807 w 16726"/>
                  <a:gd name="connsiteY1" fmla="*/ 3553813 h 3562642"/>
                  <a:gd name="connsiteX2" fmla="*/ -807 w 16726"/>
                  <a:gd name="connsiteY2" fmla="*/ 3520361 h 3562642"/>
                  <a:gd name="connsiteX3" fmla="*/ 7556 w 16726"/>
                  <a:gd name="connsiteY3" fmla="*/ 3511998 h 3562642"/>
                  <a:gd name="connsiteX4" fmla="*/ 15919 w 16726"/>
                  <a:gd name="connsiteY4" fmla="*/ 3520361 h 3562642"/>
                  <a:gd name="connsiteX5" fmla="*/ 15919 w 16726"/>
                  <a:gd name="connsiteY5" fmla="*/ 3553813 h 3562642"/>
                  <a:gd name="connsiteX6" fmla="*/ 7556 w 16726"/>
                  <a:gd name="connsiteY6" fmla="*/ 3562176 h 3562642"/>
                  <a:gd name="connsiteX7" fmla="*/ 7556 w 16726"/>
                  <a:gd name="connsiteY7" fmla="*/ 3461820 h 3562642"/>
                  <a:gd name="connsiteX8" fmla="*/ -807 w 16726"/>
                  <a:gd name="connsiteY8" fmla="*/ 3453457 h 3562642"/>
                  <a:gd name="connsiteX9" fmla="*/ -807 w 16726"/>
                  <a:gd name="connsiteY9" fmla="*/ 3420005 h 3562642"/>
                  <a:gd name="connsiteX10" fmla="*/ 7556 w 16726"/>
                  <a:gd name="connsiteY10" fmla="*/ 3411642 h 3562642"/>
                  <a:gd name="connsiteX11" fmla="*/ 15919 w 16726"/>
                  <a:gd name="connsiteY11" fmla="*/ 3420005 h 3562642"/>
                  <a:gd name="connsiteX12" fmla="*/ 15919 w 16726"/>
                  <a:gd name="connsiteY12" fmla="*/ 3453457 h 3562642"/>
                  <a:gd name="connsiteX13" fmla="*/ 7556 w 16726"/>
                  <a:gd name="connsiteY13" fmla="*/ 3461820 h 3562642"/>
                  <a:gd name="connsiteX14" fmla="*/ 7556 w 16726"/>
                  <a:gd name="connsiteY14" fmla="*/ 3361463 h 3562642"/>
                  <a:gd name="connsiteX15" fmla="*/ -807 w 16726"/>
                  <a:gd name="connsiteY15" fmla="*/ 3353100 h 3562642"/>
                  <a:gd name="connsiteX16" fmla="*/ -807 w 16726"/>
                  <a:gd name="connsiteY16" fmla="*/ 3319648 h 3562642"/>
                  <a:gd name="connsiteX17" fmla="*/ 7556 w 16726"/>
                  <a:gd name="connsiteY17" fmla="*/ 3311285 h 3562642"/>
                  <a:gd name="connsiteX18" fmla="*/ 15919 w 16726"/>
                  <a:gd name="connsiteY18" fmla="*/ 3319648 h 3562642"/>
                  <a:gd name="connsiteX19" fmla="*/ 15919 w 16726"/>
                  <a:gd name="connsiteY19" fmla="*/ 3353100 h 3562642"/>
                  <a:gd name="connsiteX20" fmla="*/ 7556 w 16726"/>
                  <a:gd name="connsiteY20" fmla="*/ 3361463 h 3562642"/>
                  <a:gd name="connsiteX21" fmla="*/ 7556 w 16726"/>
                  <a:gd name="connsiteY21" fmla="*/ 3261107 h 3562642"/>
                  <a:gd name="connsiteX22" fmla="*/ -807 w 16726"/>
                  <a:gd name="connsiteY22" fmla="*/ 3252744 h 3562642"/>
                  <a:gd name="connsiteX23" fmla="*/ -807 w 16726"/>
                  <a:gd name="connsiteY23" fmla="*/ 3219292 h 3562642"/>
                  <a:gd name="connsiteX24" fmla="*/ 7556 w 16726"/>
                  <a:gd name="connsiteY24" fmla="*/ 3210929 h 3562642"/>
                  <a:gd name="connsiteX25" fmla="*/ 15919 w 16726"/>
                  <a:gd name="connsiteY25" fmla="*/ 3219292 h 3562642"/>
                  <a:gd name="connsiteX26" fmla="*/ 15919 w 16726"/>
                  <a:gd name="connsiteY26" fmla="*/ 3252744 h 3562642"/>
                  <a:gd name="connsiteX27" fmla="*/ 7556 w 16726"/>
                  <a:gd name="connsiteY27" fmla="*/ 3261107 h 3562642"/>
                  <a:gd name="connsiteX28" fmla="*/ 7556 w 16726"/>
                  <a:gd name="connsiteY28" fmla="*/ 3160751 h 3562642"/>
                  <a:gd name="connsiteX29" fmla="*/ -807 w 16726"/>
                  <a:gd name="connsiteY29" fmla="*/ 3152388 h 3562642"/>
                  <a:gd name="connsiteX30" fmla="*/ -807 w 16726"/>
                  <a:gd name="connsiteY30" fmla="*/ 3118936 h 3562642"/>
                  <a:gd name="connsiteX31" fmla="*/ 7556 w 16726"/>
                  <a:gd name="connsiteY31" fmla="*/ 3110573 h 3562642"/>
                  <a:gd name="connsiteX32" fmla="*/ 15919 w 16726"/>
                  <a:gd name="connsiteY32" fmla="*/ 3118936 h 3562642"/>
                  <a:gd name="connsiteX33" fmla="*/ 15919 w 16726"/>
                  <a:gd name="connsiteY33" fmla="*/ 3152388 h 3562642"/>
                  <a:gd name="connsiteX34" fmla="*/ 7556 w 16726"/>
                  <a:gd name="connsiteY34" fmla="*/ 3160751 h 3562642"/>
                  <a:gd name="connsiteX35" fmla="*/ 7556 w 16726"/>
                  <a:gd name="connsiteY35" fmla="*/ 3060395 h 3562642"/>
                  <a:gd name="connsiteX36" fmla="*/ -807 w 16726"/>
                  <a:gd name="connsiteY36" fmla="*/ 3052032 h 3562642"/>
                  <a:gd name="connsiteX37" fmla="*/ -807 w 16726"/>
                  <a:gd name="connsiteY37" fmla="*/ 3018580 h 3562642"/>
                  <a:gd name="connsiteX38" fmla="*/ 7556 w 16726"/>
                  <a:gd name="connsiteY38" fmla="*/ 3010217 h 3562642"/>
                  <a:gd name="connsiteX39" fmla="*/ 15919 w 16726"/>
                  <a:gd name="connsiteY39" fmla="*/ 3018580 h 3562642"/>
                  <a:gd name="connsiteX40" fmla="*/ 15919 w 16726"/>
                  <a:gd name="connsiteY40" fmla="*/ 3052032 h 3562642"/>
                  <a:gd name="connsiteX41" fmla="*/ 7556 w 16726"/>
                  <a:gd name="connsiteY41" fmla="*/ 3060395 h 3562642"/>
                  <a:gd name="connsiteX42" fmla="*/ 7556 w 16726"/>
                  <a:gd name="connsiteY42" fmla="*/ 2960039 h 3562642"/>
                  <a:gd name="connsiteX43" fmla="*/ -807 w 16726"/>
                  <a:gd name="connsiteY43" fmla="*/ 2951676 h 3562642"/>
                  <a:gd name="connsiteX44" fmla="*/ -807 w 16726"/>
                  <a:gd name="connsiteY44" fmla="*/ 2918224 h 3562642"/>
                  <a:gd name="connsiteX45" fmla="*/ 7556 w 16726"/>
                  <a:gd name="connsiteY45" fmla="*/ 2909861 h 3562642"/>
                  <a:gd name="connsiteX46" fmla="*/ 15919 w 16726"/>
                  <a:gd name="connsiteY46" fmla="*/ 2918224 h 3562642"/>
                  <a:gd name="connsiteX47" fmla="*/ 15919 w 16726"/>
                  <a:gd name="connsiteY47" fmla="*/ 2951676 h 3562642"/>
                  <a:gd name="connsiteX48" fmla="*/ 7556 w 16726"/>
                  <a:gd name="connsiteY48" fmla="*/ 2960039 h 3562642"/>
                  <a:gd name="connsiteX49" fmla="*/ 7556 w 16726"/>
                  <a:gd name="connsiteY49" fmla="*/ 2859683 h 3562642"/>
                  <a:gd name="connsiteX50" fmla="*/ -807 w 16726"/>
                  <a:gd name="connsiteY50" fmla="*/ 2851320 h 3562642"/>
                  <a:gd name="connsiteX51" fmla="*/ -807 w 16726"/>
                  <a:gd name="connsiteY51" fmla="*/ 2817868 h 3562642"/>
                  <a:gd name="connsiteX52" fmla="*/ 7556 w 16726"/>
                  <a:gd name="connsiteY52" fmla="*/ 2809505 h 3562642"/>
                  <a:gd name="connsiteX53" fmla="*/ 15919 w 16726"/>
                  <a:gd name="connsiteY53" fmla="*/ 2817868 h 3562642"/>
                  <a:gd name="connsiteX54" fmla="*/ 15919 w 16726"/>
                  <a:gd name="connsiteY54" fmla="*/ 2851320 h 3562642"/>
                  <a:gd name="connsiteX55" fmla="*/ 7556 w 16726"/>
                  <a:gd name="connsiteY55" fmla="*/ 2859683 h 3562642"/>
                  <a:gd name="connsiteX56" fmla="*/ 7556 w 16726"/>
                  <a:gd name="connsiteY56" fmla="*/ 2759327 h 3562642"/>
                  <a:gd name="connsiteX57" fmla="*/ -807 w 16726"/>
                  <a:gd name="connsiteY57" fmla="*/ 2750964 h 3562642"/>
                  <a:gd name="connsiteX58" fmla="*/ -807 w 16726"/>
                  <a:gd name="connsiteY58" fmla="*/ 2717512 h 3562642"/>
                  <a:gd name="connsiteX59" fmla="*/ 7556 w 16726"/>
                  <a:gd name="connsiteY59" fmla="*/ 2709149 h 3562642"/>
                  <a:gd name="connsiteX60" fmla="*/ 15919 w 16726"/>
                  <a:gd name="connsiteY60" fmla="*/ 2717512 h 3562642"/>
                  <a:gd name="connsiteX61" fmla="*/ 15919 w 16726"/>
                  <a:gd name="connsiteY61" fmla="*/ 2750964 h 3562642"/>
                  <a:gd name="connsiteX62" fmla="*/ 7556 w 16726"/>
                  <a:gd name="connsiteY62" fmla="*/ 2759327 h 3562642"/>
                  <a:gd name="connsiteX63" fmla="*/ 7556 w 16726"/>
                  <a:gd name="connsiteY63" fmla="*/ 2658971 h 3562642"/>
                  <a:gd name="connsiteX64" fmla="*/ -807 w 16726"/>
                  <a:gd name="connsiteY64" fmla="*/ 2650608 h 3562642"/>
                  <a:gd name="connsiteX65" fmla="*/ -807 w 16726"/>
                  <a:gd name="connsiteY65" fmla="*/ 2617156 h 3562642"/>
                  <a:gd name="connsiteX66" fmla="*/ 7556 w 16726"/>
                  <a:gd name="connsiteY66" fmla="*/ 2608793 h 3562642"/>
                  <a:gd name="connsiteX67" fmla="*/ 15919 w 16726"/>
                  <a:gd name="connsiteY67" fmla="*/ 2617156 h 3562642"/>
                  <a:gd name="connsiteX68" fmla="*/ 15919 w 16726"/>
                  <a:gd name="connsiteY68" fmla="*/ 2650608 h 3562642"/>
                  <a:gd name="connsiteX69" fmla="*/ 7556 w 16726"/>
                  <a:gd name="connsiteY69" fmla="*/ 2658971 h 3562642"/>
                  <a:gd name="connsiteX70" fmla="*/ 7556 w 16726"/>
                  <a:gd name="connsiteY70" fmla="*/ 2558614 h 3562642"/>
                  <a:gd name="connsiteX71" fmla="*/ -807 w 16726"/>
                  <a:gd name="connsiteY71" fmla="*/ 2550251 h 3562642"/>
                  <a:gd name="connsiteX72" fmla="*/ -807 w 16726"/>
                  <a:gd name="connsiteY72" fmla="*/ 2516799 h 3562642"/>
                  <a:gd name="connsiteX73" fmla="*/ 7556 w 16726"/>
                  <a:gd name="connsiteY73" fmla="*/ 2508436 h 3562642"/>
                  <a:gd name="connsiteX74" fmla="*/ 15919 w 16726"/>
                  <a:gd name="connsiteY74" fmla="*/ 2516799 h 3562642"/>
                  <a:gd name="connsiteX75" fmla="*/ 15919 w 16726"/>
                  <a:gd name="connsiteY75" fmla="*/ 2550251 h 3562642"/>
                  <a:gd name="connsiteX76" fmla="*/ 7556 w 16726"/>
                  <a:gd name="connsiteY76" fmla="*/ 2558614 h 3562642"/>
                  <a:gd name="connsiteX77" fmla="*/ 7556 w 16726"/>
                  <a:gd name="connsiteY77" fmla="*/ 2458258 h 3562642"/>
                  <a:gd name="connsiteX78" fmla="*/ -807 w 16726"/>
                  <a:gd name="connsiteY78" fmla="*/ 2449895 h 3562642"/>
                  <a:gd name="connsiteX79" fmla="*/ -807 w 16726"/>
                  <a:gd name="connsiteY79" fmla="*/ 2416443 h 3562642"/>
                  <a:gd name="connsiteX80" fmla="*/ 7556 w 16726"/>
                  <a:gd name="connsiteY80" fmla="*/ 2408080 h 3562642"/>
                  <a:gd name="connsiteX81" fmla="*/ 15919 w 16726"/>
                  <a:gd name="connsiteY81" fmla="*/ 2416443 h 3562642"/>
                  <a:gd name="connsiteX82" fmla="*/ 15919 w 16726"/>
                  <a:gd name="connsiteY82" fmla="*/ 2449895 h 3562642"/>
                  <a:gd name="connsiteX83" fmla="*/ 7556 w 16726"/>
                  <a:gd name="connsiteY83" fmla="*/ 2458258 h 3562642"/>
                  <a:gd name="connsiteX84" fmla="*/ 7556 w 16726"/>
                  <a:gd name="connsiteY84" fmla="*/ 2357902 h 3562642"/>
                  <a:gd name="connsiteX85" fmla="*/ -807 w 16726"/>
                  <a:gd name="connsiteY85" fmla="*/ 2349539 h 3562642"/>
                  <a:gd name="connsiteX86" fmla="*/ -807 w 16726"/>
                  <a:gd name="connsiteY86" fmla="*/ 2316087 h 3562642"/>
                  <a:gd name="connsiteX87" fmla="*/ 7556 w 16726"/>
                  <a:gd name="connsiteY87" fmla="*/ 2307724 h 3562642"/>
                  <a:gd name="connsiteX88" fmla="*/ 15919 w 16726"/>
                  <a:gd name="connsiteY88" fmla="*/ 2316087 h 3562642"/>
                  <a:gd name="connsiteX89" fmla="*/ 15919 w 16726"/>
                  <a:gd name="connsiteY89" fmla="*/ 2349539 h 3562642"/>
                  <a:gd name="connsiteX90" fmla="*/ 7556 w 16726"/>
                  <a:gd name="connsiteY90" fmla="*/ 2357902 h 3562642"/>
                  <a:gd name="connsiteX91" fmla="*/ 7556 w 16726"/>
                  <a:gd name="connsiteY91" fmla="*/ 2257546 h 3562642"/>
                  <a:gd name="connsiteX92" fmla="*/ -807 w 16726"/>
                  <a:gd name="connsiteY92" fmla="*/ 2249183 h 3562642"/>
                  <a:gd name="connsiteX93" fmla="*/ -807 w 16726"/>
                  <a:gd name="connsiteY93" fmla="*/ 2215731 h 3562642"/>
                  <a:gd name="connsiteX94" fmla="*/ 7556 w 16726"/>
                  <a:gd name="connsiteY94" fmla="*/ 2207368 h 3562642"/>
                  <a:gd name="connsiteX95" fmla="*/ 15919 w 16726"/>
                  <a:gd name="connsiteY95" fmla="*/ 2215731 h 3562642"/>
                  <a:gd name="connsiteX96" fmla="*/ 15919 w 16726"/>
                  <a:gd name="connsiteY96" fmla="*/ 2249183 h 3562642"/>
                  <a:gd name="connsiteX97" fmla="*/ 7556 w 16726"/>
                  <a:gd name="connsiteY97" fmla="*/ 2257546 h 3562642"/>
                  <a:gd name="connsiteX98" fmla="*/ 7556 w 16726"/>
                  <a:gd name="connsiteY98" fmla="*/ 2157190 h 3562642"/>
                  <a:gd name="connsiteX99" fmla="*/ -807 w 16726"/>
                  <a:gd name="connsiteY99" fmla="*/ 2148827 h 3562642"/>
                  <a:gd name="connsiteX100" fmla="*/ -807 w 16726"/>
                  <a:gd name="connsiteY100" fmla="*/ 2115375 h 3562642"/>
                  <a:gd name="connsiteX101" fmla="*/ 7556 w 16726"/>
                  <a:gd name="connsiteY101" fmla="*/ 2107012 h 3562642"/>
                  <a:gd name="connsiteX102" fmla="*/ 15919 w 16726"/>
                  <a:gd name="connsiteY102" fmla="*/ 2115375 h 3562642"/>
                  <a:gd name="connsiteX103" fmla="*/ 15919 w 16726"/>
                  <a:gd name="connsiteY103" fmla="*/ 2148827 h 3562642"/>
                  <a:gd name="connsiteX104" fmla="*/ 7556 w 16726"/>
                  <a:gd name="connsiteY104" fmla="*/ 2157190 h 3562642"/>
                  <a:gd name="connsiteX105" fmla="*/ 7556 w 16726"/>
                  <a:gd name="connsiteY105" fmla="*/ 2056834 h 3562642"/>
                  <a:gd name="connsiteX106" fmla="*/ -807 w 16726"/>
                  <a:gd name="connsiteY106" fmla="*/ 2048471 h 3562642"/>
                  <a:gd name="connsiteX107" fmla="*/ -807 w 16726"/>
                  <a:gd name="connsiteY107" fmla="*/ 2015019 h 3562642"/>
                  <a:gd name="connsiteX108" fmla="*/ 7556 w 16726"/>
                  <a:gd name="connsiteY108" fmla="*/ 2006656 h 3562642"/>
                  <a:gd name="connsiteX109" fmla="*/ 15919 w 16726"/>
                  <a:gd name="connsiteY109" fmla="*/ 2015019 h 3562642"/>
                  <a:gd name="connsiteX110" fmla="*/ 15919 w 16726"/>
                  <a:gd name="connsiteY110" fmla="*/ 2048471 h 3562642"/>
                  <a:gd name="connsiteX111" fmla="*/ 7556 w 16726"/>
                  <a:gd name="connsiteY111" fmla="*/ 2056834 h 3562642"/>
                  <a:gd name="connsiteX112" fmla="*/ 7556 w 16726"/>
                  <a:gd name="connsiteY112" fmla="*/ 1956478 h 3562642"/>
                  <a:gd name="connsiteX113" fmla="*/ -807 w 16726"/>
                  <a:gd name="connsiteY113" fmla="*/ 1948115 h 3562642"/>
                  <a:gd name="connsiteX114" fmla="*/ -807 w 16726"/>
                  <a:gd name="connsiteY114" fmla="*/ 1914663 h 3562642"/>
                  <a:gd name="connsiteX115" fmla="*/ 7556 w 16726"/>
                  <a:gd name="connsiteY115" fmla="*/ 1906300 h 3562642"/>
                  <a:gd name="connsiteX116" fmla="*/ 15919 w 16726"/>
                  <a:gd name="connsiteY116" fmla="*/ 1914663 h 3562642"/>
                  <a:gd name="connsiteX117" fmla="*/ 15919 w 16726"/>
                  <a:gd name="connsiteY117" fmla="*/ 1948115 h 3562642"/>
                  <a:gd name="connsiteX118" fmla="*/ 7556 w 16726"/>
                  <a:gd name="connsiteY118" fmla="*/ 1956478 h 3562642"/>
                  <a:gd name="connsiteX119" fmla="*/ 7556 w 16726"/>
                  <a:gd name="connsiteY119" fmla="*/ 1856122 h 3562642"/>
                  <a:gd name="connsiteX120" fmla="*/ -807 w 16726"/>
                  <a:gd name="connsiteY120" fmla="*/ 1847759 h 3562642"/>
                  <a:gd name="connsiteX121" fmla="*/ -807 w 16726"/>
                  <a:gd name="connsiteY121" fmla="*/ 1814306 h 3562642"/>
                  <a:gd name="connsiteX122" fmla="*/ 7556 w 16726"/>
                  <a:gd name="connsiteY122" fmla="*/ 1805943 h 3562642"/>
                  <a:gd name="connsiteX123" fmla="*/ 15919 w 16726"/>
                  <a:gd name="connsiteY123" fmla="*/ 1814306 h 3562642"/>
                  <a:gd name="connsiteX124" fmla="*/ 15919 w 16726"/>
                  <a:gd name="connsiteY124" fmla="*/ 1847759 h 3562642"/>
                  <a:gd name="connsiteX125" fmla="*/ 7556 w 16726"/>
                  <a:gd name="connsiteY125" fmla="*/ 1856122 h 3562642"/>
                  <a:gd name="connsiteX126" fmla="*/ 7556 w 16726"/>
                  <a:gd name="connsiteY126" fmla="*/ 1755765 h 3562642"/>
                  <a:gd name="connsiteX127" fmla="*/ -807 w 16726"/>
                  <a:gd name="connsiteY127" fmla="*/ 1747402 h 3562642"/>
                  <a:gd name="connsiteX128" fmla="*/ -807 w 16726"/>
                  <a:gd name="connsiteY128" fmla="*/ 1713950 h 3562642"/>
                  <a:gd name="connsiteX129" fmla="*/ 7556 w 16726"/>
                  <a:gd name="connsiteY129" fmla="*/ 1705587 h 3562642"/>
                  <a:gd name="connsiteX130" fmla="*/ 15919 w 16726"/>
                  <a:gd name="connsiteY130" fmla="*/ 1713950 h 3562642"/>
                  <a:gd name="connsiteX131" fmla="*/ 15919 w 16726"/>
                  <a:gd name="connsiteY131" fmla="*/ 1747402 h 3562642"/>
                  <a:gd name="connsiteX132" fmla="*/ 7556 w 16726"/>
                  <a:gd name="connsiteY132" fmla="*/ 1755765 h 3562642"/>
                  <a:gd name="connsiteX133" fmla="*/ 7556 w 16726"/>
                  <a:gd name="connsiteY133" fmla="*/ 1655409 h 3562642"/>
                  <a:gd name="connsiteX134" fmla="*/ -807 w 16726"/>
                  <a:gd name="connsiteY134" fmla="*/ 1647046 h 3562642"/>
                  <a:gd name="connsiteX135" fmla="*/ -807 w 16726"/>
                  <a:gd name="connsiteY135" fmla="*/ 1613594 h 3562642"/>
                  <a:gd name="connsiteX136" fmla="*/ 7556 w 16726"/>
                  <a:gd name="connsiteY136" fmla="*/ 1605231 h 3562642"/>
                  <a:gd name="connsiteX137" fmla="*/ 15919 w 16726"/>
                  <a:gd name="connsiteY137" fmla="*/ 1613594 h 3562642"/>
                  <a:gd name="connsiteX138" fmla="*/ 15919 w 16726"/>
                  <a:gd name="connsiteY138" fmla="*/ 1647046 h 3562642"/>
                  <a:gd name="connsiteX139" fmla="*/ 7556 w 16726"/>
                  <a:gd name="connsiteY139" fmla="*/ 1655409 h 3562642"/>
                  <a:gd name="connsiteX140" fmla="*/ 7556 w 16726"/>
                  <a:gd name="connsiteY140" fmla="*/ 1555053 h 3562642"/>
                  <a:gd name="connsiteX141" fmla="*/ -807 w 16726"/>
                  <a:gd name="connsiteY141" fmla="*/ 1546690 h 3562642"/>
                  <a:gd name="connsiteX142" fmla="*/ -807 w 16726"/>
                  <a:gd name="connsiteY142" fmla="*/ 1513238 h 3562642"/>
                  <a:gd name="connsiteX143" fmla="*/ 7556 w 16726"/>
                  <a:gd name="connsiteY143" fmla="*/ 1504875 h 3562642"/>
                  <a:gd name="connsiteX144" fmla="*/ 15919 w 16726"/>
                  <a:gd name="connsiteY144" fmla="*/ 1513238 h 3562642"/>
                  <a:gd name="connsiteX145" fmla="*/ 15919 w 16726"/>
                  <a:gd name="connsiteY145" fmla="*/ 1546690 h 3562642"/>
                  <a:gd name="connsiteX146" fmla="*/ 7556 w 16726"/>
                  <a:gd name="connsiteY146" fmla="*/ 1555053 h 3562642"/>
                  <a:gd name="connsiteX147" fmla="*/ 7556 w 16726"/>
                  <a:gd name="connsiteY147" fmla="*/ 1454697 h 3562642"/>
                  <a:gd name="connsiteX148" fmla="*/ -807 w 16726"/>
                  <a:gd name="connsiteY148" fmla="*/ 1446334 h 3562642"/>
                  <a:gd name="connsiteX149" fmla="*/ -807 w 16726"/>
                  <a:gd name="connsiteY149" fmla="*/ 1412882 h 3562642"/>
                  <a:gd name="connsiteX150" fmla="*/ 7556 w 16726"/>
                  <a:gd name="connsiteY150" fmla="*/ 1404519 h 3562642"/>
                  <a:gd name="connsiteX151" fmla="*/ 15919 w 16726"/>
                  <a:gd name="connsiteY151" fmla="*/ 1412882 h 3562642"/>
                  <a:gd name="connsiteX152" fmla="*/ 15919 w 16726"/>
                  <a:gd name="connsiteY152" fmla="*/ 1446334 h 3562642"/>
                  <a:gd name="connsiteX153" fmla="*/ 7556 w 16726"/>
                  <a:gd name="connsiteY153" fmla="*/ 1454697 h 3562642"/>
                  <a:gd name="connsiteX154" fmla="*/ 7556 w 16726"/>
                  <a:gd name="connsiteY154" fmla="*/ 1354341 h 3562642"/>
                  <a:gd name="connsiteX155" fmla="*/ -807 w 16726"/>
                  <a:gd name="connsiteY155" fmla="*/ 1345978 h 3562642"/>
                  <a:gd name="connsiteX156" fmla="*/ -807 w 16726"/>
                  <a:gd name="connsiteY156" fmla="*/ 1312526 h 3562642"/>
                  <a:gd name="connsiteX157" fmla="*/ 7556 w 16726"/>
                  <a:gd name="connsiteY157" fmla="*/ 1304163 h 3562642"/>
                  <a:gd name="connsiteX158" fmla="*/ 15919 w 16726"/>
                  <a:gd name="connsiteY158" fmla="*/ 1312526 h 3562642"/>
                  <a:gd name="connsiteX159" fmla="*/ 15919 w 16726"/>
                  <a:gd name="connsiteY159" fmla="*/ 1345978 h 3562642"/>
                  <a:gd name="connsiteX160" fmla="*/ 7556 w 16726"/>
                  <a:gd name="connsiteY160" fmla="*/ 1354341 h 3562642"/>
                  <a:gd name="connsiteX161" fmla="*/ 7556 w 16726"/>
                  <a:gd name="connsiteY161" fmla="*/ 1253985 h 3562642"/>
                  <a:gd name="connsiteX162" fmla="*/ -807 w 16726"/>
                  <a:gd name="connsiteY162" fmla="*/ 1245622 h 3562642"/>
                  <a:gd name="connsiteX163" fmla="*/ -807 w 16726"/>
                  <a:gd name="connsiteY163" fmla="*/ 1212170 h 3562642"/>
                  <a:gd name="connsiteX164" fmla="*/ 7556 w 16726"/>
                  <a:gd name="connsiteY164" fmla="*/ 1203807 h 3562642"/>
                  <a:gd name="connsiteX165" fmla="*/ 15919 w 16726"/>
                  <a:gd name="connsiteY165" fmla="*/ 1212170 h 3562642"/>
                  <a:gd name="connsiteX166" fmla="*/ 15919 w 16726"/>
                  <a:gd name="connsiteY166" fmla="*/ 1245622 h 3562642"/>
                  <a:gd name="connsiteX167" fmla="*/ 7556 w 16726"/>
                  <a:gd name="connsiteY167" fmla="*/ 1253985 h 3562642"/>
                  <a:gd name="connsiteX168" fmla="*/ 7556 w 16726"/>
                  <a:gd name="connsiteY168" fmla="*/ 1153629 h 3562642"/>
                  <a:gd name="connsiteX169" fmla="*/ -807 w 16726"/>
                  <a:gd name="connsiteY169" fmla="*/ 1145266 h 3562642"/>
                  <a:gd name="connsiteX170" fmla="*/ -807 w 16726"/>
                  <a:gd name="connsiteY170" fmla="*/ 1111814 h 3562642"/>
                  <a:gd name="connsiteX171" fmla="*/ 7556 w 16726"/>
                  <a:gd name="connsiteY171" fmla="*/ 1103451 h 3562642"/>
                  <a:gd name="connsiteX172" fmla="*/ 15919 w 16726"/>
                  <a:gd name="connsiteY172" fmla="*/ 1111814 h 3562642"/>
                  <a:gd name="connsiteX173" fmla="*/ 15919 w 16726"/>
                  <a:gd name="connsiteY173" fmla="*/ 1145266 h 3562642"/>
                  <a:gd name="connsiteX174" fmla="*/ 7556 w 16726"/>
                  <a:gd name="connsiteY174" fmla="*/ 1153629 h 3562642"/>
                  <a:gd name="connsiteX175" fmla="*/ 7556 w 16726"/>
                  <a:gd name="connsiteY175" fmla="*/ 1053273 h 3562642"/>
                  <a:gd name="connsiteX176" fmla="*/ -807 w 16726"/>
                  <a:gd name="connsiteY176" fmla="*/ 1044910 h 3562642"/>
                  <a:gd name="connsiteX177" fmla="*/ -807 w 16726"/>
                  <a:gd name="connsiteY177" fmla="*/ 1011457 h 3562642"/>
                  <a:gd name="connsiteX178" fmla="*/ 7556 w 16726"/>
                  <a:gd name="connsiteY178" fmla="*/ 1003094 h 3562642"/>
                  <a:gd name="connsiteX179" fmla="*/ 15919 w 16726"/>
                  <a:gd name="connsiteY179" fmla="*/ 1011457 h 3562642"/>
                  <a:gd name="connsiteX180" fmla="*/ 15919 w 16726"/>
                  <a:gd name="connsiteY180" fmla="*/ 1044910 h 3562642"/>
                  <a:gd name="connsiteX181" fmla="*/ 7556 w 16726"/>
                  <a:gd name="connsiteY181" fmla="*/ 1053273 h 3562642"/>
                  <a:gd name="connsiteX182" fmla="*/ 7556 w 16726"/>
                  <a:gd name="connsiteY182" fmla="*/ 952916 h 3562642"/>
                  <a:gd name="connsiteX183" fmla="*/ -807 w 16726"/>
                  <a:gd name="connsiteY183" fmla="*/ 944553 h 3562642"/>
                  <a:gd name="connsiteX184" fmla="*/ -807 w 16726"/>
                  <a:gd name="connsiteY184" fmla="*/ 911101 h 3562642"/>
                  <a:gd name="connsiteX185" fmla="*/ 7556 w 16726"/>
                  <a:gd name="connsiteY185" fmla="*/ 902738 h 3562642"/>
                  <a:gd name="connsiteX186" fmla="*/ 15919 w 16726"/>
                  <a:gd name="connsiteY186" fmla="*/ 911101 h 3562642"/>
                  <a:gd name="connsiteX187" fmla="*/ 15919 w 16726"/>
                  <a:gd name="connsiteY187" fmla="*/ 944553 h 3562642"/>
                  <a:gd name="connsiteX188" fmla="*/ 7556 w 16726"/>
                  <a:gd name="connsiteY188" fmla="*/ 952916 h 3562642"/>
                  <a:gd name="connsiteX189" fmla="*/ 7556 w 16726"/>
                  <a:gd name="connsiteY189" fmla="*/ 852560 h 3562642"/>
                  <a:gd name="connsiteX190" fmla="*/ -807 w 16726"/>
                  <a:gd name="connsiteY190" fmla="*/ 844197 h 3562642"/>
                  <a:gd name="connsiteX191" fmla="*/ -807 w 16726"/>
                  <a:gd name="connsiteY191" fmla="*/ 810745 h 3562642"/>
                  <a:gd name="connsiteX192" fmla="*/ 7556 w 16726"/>
                  <a:gd name="connsiteY192" fmla="*/ 802382 h 3562642"/>
                  <a:gd name="connsiteX193" fmla="*/ 15919 w 16726"/>
                  <a:gd name="connsiteY193" fmla="*/ 810745 h 3562642"/>
                  <a:gd name="connsiteX194" fmla="*/ 15919 w 16726"/>
                  <a:gd name="connsiteY194" fmla="*/ 844197 h 3562642"/>
                  <a:gd name="connsiteX195" fmla="*/ 7556 w 16726"/>
                  <a:gd name="connsiteY195" fmla="*/ 852560 h 3562642"/>
                  <a:gd name="connsiteX196" fmla="*/ 7556 w 16726"/>
                  <a:gd name="connsiteY196" fmla="*/ 752204 h 3562642"/>
                  <a:gd name="connsiteX197" fmla="*/ -807 w 16726"/>
                  <a:gd name="connsiteY197" fmla="*/ 743841 h 3562642"/>
                  <a:gd name="connsiteX198" fmla="*/ -807 w 16726"/>
                  <a:gd name="connsiteY198" fmla="*/ 710389 h 3562642"/>
                  <a:gd name="connsiteX199" fmla="*/ 7556 w 16726"/>
                  <a:gd name="connsiteY199" fmla="*/ 702026 h 3562642"/>
                  <a:gd name="connsiteX200" fmla="*/ 15919 w 16726"/>
                  <a:gd name="connsiteY200" fmla="*/ 710389 h 3562642"/>
                  <a:gd name="connsiteX201" fmla="*/ 15919 w 16726"/>
                  <a:gd name="connsiteY201" fmla="*/ 743841 h 3562642"/>
                  <a:gd name="connsiteX202" fmla="*/ 7556 w 16726"/>
                  <a:gd name="connsiteY202" fmla="*/ 752204 h 3562642"/>
                  <a:gd name="connsiteX203" fmla="*/ 7556 w 16726"/>
                  <a:gd name="connsiteY203" fmla="*/ 651848 h 3562642"/>
                  <a:gd name="connsiteX204" fmla="*/ -807 w 16726"/>
                  <a:gd name="connsiteY204" fmla="*/ 643485 h 3562642"/>
                  <a:gd name="connsiteX205" fmla="*/ -807 w 16726"/>
                  <a:gd name="connsiteY205" fmla="*/ 610033 h 3562642"/>
                  <a:gd name="connsiteX206" fmla="*/ 7556 w 16726"/>
                  <a:gd name="connsiteY206" fmla="*/ 601670 h 3562642"/>
                  <a:gd name="connsiteX207" fmla="*/ 15919 w 16726"/>
                  <a:gd name="connsiteY207" fmla="*/ 610033 h 3562642"/>
                  <a:gd name="connsiteX208" fmla="*/ 15919 w 16726"/>
                  <a:gd name="connsiteY208" fmla="*/ 643485 h 3562642"/>
                  <a:gd name="connsiteX209" fmla="*/ 7556 w 16726"/>
                  <a:gd name="connsiteY209" fmla="*/ 651848 h 3562642"/>
                  <a:gd name="connsiteX210" fmla="*/ 7556 w 16726"/>
                  <a:gd name="connsiteY210" fmla="*/ 551492 h 3562642"/>
                  <a:gd name="connsiteX211" fmla="*/ -807 w 16726"/>
                  <a:gd name="connsiteY211" fmla="*/ 543129 h 3562642"/>
                  <a:gd name="connsiteX212" fmla="*/ -807 w 16726"/>
                  <a:gd name="connsiteY212" fmla="*/ 509677 h 3562642"/>
                  <a:gd name="connsiteX213" fmla="*/ 7556 w 16726"/>
                  <a:gd name="connsiteY213" fmla="*/ 501314 h 3562642"/>
                  <a:gd name="connsiteX214" fmla="*/ 15919 w 16726"/>
                  <a:gd name="connsiteY214" fmla="*/ 509677 h 3562642"/>
                  <a:gd name="connsiteX215" fmla="*/ 15919 w 16726"/>
                  <a:gd name="connsiteY215" fmla="*/ 543129 h 3562642"/>
                  <a:gd name="connsiteX216" fmla="*/ 7556 w 16726"/>
                  <a:gd name="connsiteY216" fmla="*/ 551492 h 3562642"/>
                  <a:gd name="connsiteX217" fmla="*/ 7556 w 16726"/>
                  <a:gd name="connsiteY217" fmla="*/ 451136 h 3562642"/>
                  <a:gd name="connsiteX218" fmla="*/ -807 w 16726"/>
                  <a:gd name="connsiteY218" fmla="*/ 442773 h 3562642"/>
                  <a:gd name="connsiteX219" fmla="*/ -807 w 16726"/>
                  <a:gd name="connsiteY219" fmla="*/ 409321 h 3562642"/>
                  <a:gd name="connsiteX220" fmla="*/ 7556 w 16726"/>
                  <a:gd name="connsiteY220" fmla="*/ 400958 h 3562642"/>
                  <a:gd name="connsiteX221" fmla="*/ 15919 w 16726"/>
                  <a:gd name="connsiteY221" fmla="*/ 409321 h 3562642"/>
                  <a:gd name="connsiteX222" fmla="*/ 15919 w 16726"/>
                  <a:gd name="connsiteY222" fmla="*/ 442773 h 3562642"/>
                  <a:gd name="connsiteX223" fmla="*/ 7556 w 16726"/>
                  <a:gd name="connsiteY223" fmla="*/ 451136 h 3562642"/>
                  <a:gd name="connsiteX224" fmla="*/ 7556 w 16726"/>
                  <a:gd name="connsiteY224" fmla="*/ 350780 h 3562642"/>
                  <a:gd name="connsiteX225" fmla="*/ -807 w 16726"/>
                  <a:gd name="connsiteY225" fmla="*/ 342417 h 3562642"/>
                  <a:gd name="connsiteX226" fmla="*/ -807 w 16726"/>
                  <a:gd name="connsiteY226" fmla="*/ 308965 h 3562642"/>
                  <a:gd name="connsiteX227" fmla="*/ 7556 w 16726"/>
                  <a:gd name="connsiteY227" fmla="*/ 300602 h 3562642"/>
                  <a:gd name="connsiteX228" fmla="*/ 15919 w 16726"/>
                  <a:gd name="connsiteY228" fmla="*/ 308965 h 3562642"/>
                  <a:gd name="connsiteX229" fmla="*/ 15919 w 16726"/>
                  <a:gd name="connsiteY229" fmla="*/ 342417 h 3562642"/>
                  <a:gd name="connsiteX230" fmla="*/ 7556 w 16726"/>
                  <a:gd name="connsiteY230" fmla="*/ 350780 h 3562642"/>
                  <a:gd name="connsiteX231" fmla="*/ 7556 w 16726"/>
                  <a:gd name="connsiteY231" fmla="*/ 250424 h 3562642"/>
                  <a:gd name="connsiteX232" fmla="*/ -807 w 16726"/>
                  <a:gd name="connsiteY232" fmla="*/ 242060 h 3562642"/>
                  <a:gd name="connsiteX233" fmla="*/ -807 w 16726"/>
                  <a:gd name="connsiteY233" fmla="*/ 208608 h 3562642"/>
                  <a:gd name="connsiteX234" fmla="*/ 7556 w 16726"/>
                  <a:gd name="connsiteY234" fmla="*/ 200245 h 3562642"/>
                  <a:gd name="connsiteX235" fmla="*/ 15919 w 16726"/>
                  <a:gd name="connsiteY235" fmla="*/ 208608 h 3562642"/>
                  <a:gd name="connsiteX236" fmla="*/ 15919 w 16726"/>
                  <a:gd name="connsiteY236" fmla="*/ 242060 h 3562642"/>
                  <a:gd name="connsiteX237" fmla="*/ 7556 w 16726"/>
                  <a:gd name="connsiteY237" fmla="*/ 250424 h 3562642"/>
                  <a:gd name="connsiteX238" fmla="*/ 7556 w 16726"/>
                  <a:gd name="connsiteY238" fmla="*/ 150067 h 3562642"/>
                  <a:gd name="connsiteX239" fmla="*/ -807 w 16726"/>
                  <a:gd name="connsiteY239" fmla="*/ 141704 h 3562642"/>
                  <a:gd name="connsiteX240" fmla="*/ -807 w 16726"/>
                  <a:gd name="connsiteY240" fmla="*/ 108252 h 3562642"/>
                  <a:gd name="connsiteX241" fmla="*/ 7556 w 16726"/>
                  <a:gd name="connsiteY241" fmla="*/ 99889 h 3562642"/>
                  <a:gd name="connsiteX242" fmla="*/ 15919 w 16726"/>
                  <a:gd name="connsiteY242" fmla="*/ 108252 h 3562642"/>
                  <a:gd name="connsiteX243" fmla="*/ 15919 w 16726"/>
                  <a:gd name="connsiteY243" fmla="*/ 141704 h 3562642"/>
                  <a:gd name="connsiteX244" fmla="*/ 7556 w 16726"/>
                  <a:gd name="connsiteY244" fmla="*/ 150067 h 3562642"/>
                  <a:gd name="connsiteX245" fmla="*/ 7556 w 16726"/>
                  <a:gd name="connsiteY245" fmla="*/ 49711 h 3562642"/>
                  <a:gd name="connsiteX246" fmla="*/ -807 w 16726"/>
                  <a:gd name="connsiteY246" fmla="*/ 41348 h 3562642"/>
                  <a:gd name="connsiteX247" fmla="*/ -807 w 16726"/>
                  <a:gd name="connsiteY247" fmla="*/ 7896 h 3562642"/>
                  <a:gd name="connsiteX248" fmla="*/ 7556 w 16726"/>
                  <a:gd name="connsiteY248" fmla="*/ -467 h 3562642"/>
                  <a:gd name="connsiteX249" fmla="*/ 15919 w 16726"/>
                  <a:gd name="connsiteY249" fmla="*/ 7896 h 3562642"/>
                  <a:gd name="connsiteX250" fmla="*/ 15919 w 16726"/>
                  <a:gd name="connsiteY250" fmla="*/ 41348 h 3562642"/>
                  <a:gd name="connsiteX251" fmla="*/ 7556 w 16726"/>
                  <a:gd name="connsiteY251" fmla="*/ 49711 h 35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6726" h="3562642">
                    <a:moveTo>
                      <a:pt x="7556" y="3562176"/>
                    </a:moveTo>
                    <a:cubicBezTo>
                      <a:pt x="2928" y="3562176"/>
                      <a:pt x="-807" y="3558440"/>
                      <a:pt x="-807" y="3553813"/>
                    </a:cubicBezTo>
                    <a:lnTo>
                      <a:pt x="-807" y="3520361"/>
                    </a:lnTo>
                    <a:cubicBezTo>
                      <a:pt x="-807" y="3515733"/>
                      <a:pt x="2928" y="3511998"/>
                      <a:pt x="7556" y="3511998"/>
                    </a:cubicBezTo>
                    <a:cubicBezTo>
                      <a:pt x="12184" y="3511998"/>
                      <a:pt x="15919" y="3515733"/>
                      <a:pt x="15919" y="3520361"/>
                    </a:cubicBezTo>
                    <a:lnTo>
                      <a:pt x="15919" y="3553813"/>
                    </a:lnTo>
                    <a:cubicBezTo>
                      <a:pt x="15919" y="3558440"/>
                      <a:pt x="12184" y="3562176"/>
                      <a:pt x="7556" y="3562176"/>
                    </a:cubicBezTo>
                    <a:close/>
                    <a:moveTo>
                      <a:pt x="7556" y="3461820"/>
                    </a:moveTo>
                    <a:cubicBezTo>
                      <a:pt x="2928" y="3461820"/>
                      <a:pt x="-807" y="3458084"/>
                      <a:pt x="-807" y="3453457"/>
                    </a:cubicBezTo>
                    <a:lnTo>
                      <a:pt x="-807" y="3420005"/>
                    </a:lnTo>
                    <a:cubicBezTo>
                      <a:pt x="-807" y="3415377"/>
                      <a:pt x="2928" y="3411642"/>
                      <a:pt x="7556" y="3411642"/>
                    </a:cubicBezTo>
                    <a:cubicBezTo>
                      <a:pt x="12184" y="3411642"/>
                      <a:pt x="15919" y="3415377"/>
                      <a:pt x="15919" y="3420005"/>
                    </a:cubicBezTo>
                    <a:lnTo>
                      <a:pt x="15919" y="3453457"/>
                    </a:lnTo>
                    <a:cubicBezTo>
                      <a:pt x="15919" y="3458084"/>
                      <a:pt x="12184" y="3461820"/>
                      <a:pt x="7556" y="3461820"/>
                    </a:cubicBezTo>
                    <a:close/>
                    <a:moveTo>
                      <a:pt x="7556" y="3361463"/>
                    </a:moveTo>
                    <a:cubicBezTo>
                      <a:pt x="2928" y="3361463"/>
                      <a:pt x="-807" y="3357728"/>
                      <a:pt x="-807" y="3353100"/>
                    </a:cubicBezTo>
                    <a:lnTo>
                      <a:pt x="-807" y="3319648"/>
                    </a:lnTo>
                    <a:cubicBezTo>
                      <a:pt x="-807" y="3315020"/>
                      <a:pt x="2928" y="3311285"/>
                      <a:pt x="7556" y="3311285"/>
                    </a:cubicBezTo>
                    <a:cubicBezTo>
                      <a:pt x="12184" y="3311285"/>
                      <a:pt x="15919" y="3315020"/>
                      <a:pt x="15919" y="3319648"/>
                    </a:cubicBezTo>
                    <a:lnTo>
                      <a:pt x="15919" y="3353100"/>
                    </a:lnTo>
                    <a:cubicBezTo>
                      <a:pt x="15919" y="3357728"/>
                      <a:pt x="12184" y="3361463"/>
                      <a:pt x="7556" y="3361463"/>
                    </a:cubicBezTo>
                    <a:close/>
                    <a:moveTo>
                      <a:pt x="7556" y="3261107"/>
                    </a:moveTo>
                    <a:cubicBezTo>
                      <a:pt x="2928" y="3261107"/>
                      <a:pt x="-807" y="3257372"/>
                      <a:pt x="-807" y="3252744"/>
                    </a:cubicBezTo>
                    <a:lnTo>
                      <a:pt x="-807" y="3219292"/>
                    </a:lnTo>
                    <a:cubicBezTo>
                      <a:pt x="-807" y="3214664"/>
                      <a:pt x="2928" y="3210929"/>
                      <a:pt x="7556" y="3210929"/>
                    </a:cubicBezTo>
                    <a:cubicBezTo>
                      <a:pt x="12184" y="3210929"/>
                      <a:pt x="15919" y="3214664"/>
                      <a:pt x="15919" y="3219292"/>
                    </a:cubicBezTo>
                    <a:lnTo>
                      <a:pt x="15919" y="3252744"/>
                    </a:lnTo>
                    <a:cubicBezTo>
                      <a:pt x="15919" y="3257372"/>
                      <a:pt x="12184" y="3261107"/>
                      <a:pt x="7556" y="3261107"/>
                    </a:cubicBezTo>
                    <a:close/>
                    <a:moveTo>
                      <a:pt x="7556" y="3160751"/>
                    </a:moveTo>
                    <a:cubicBezTo>
                      <a:pt x="2928" y="3160751"/>
                      <a:pt x="-807" y="3157015"/>
                      <a:pt x="-807" y="3152388"/>
                    </a:cubicBezTo>
                    <a:lnTo>
                      <a:pt x="-807" y="3118936"/>
                    </a:lnTo>
                    <a:cubicBezTo>
                      <a:pt x="-807" y="3114308"/>
                      <a:pt x="2928" y="3110573"/>
                      <a:pt x="7556" y="3110573"/>
                    </a:cubicBezTo>
                    <a:cubicBezTo>
                      <a:pt x="12184" y="3110573"/>
                      <a:pt x="15919" y="3114308"/>
                      <a:pt x="15919" y="3118936"/>
                    </a:cubicBezTo>
                    <a:lnTo>
                      <a:pt x="15919" y="3152388"/>
                    </a:lnTo>
                    <a:cubicBezTo>
                      <a:pt x="15919" y="3157015"/>
                      <a:pt x="12184" y="3160751"/>
                      <a:pt x="7556" y="3160751"/>
                    </a:cubicBezTo>
                    <a:close/>
                    <a:moveTo>
                      <a:pt x="7556" y="3060395"/>
                    </a:moveTo>
                    <a:cubicBezTo>
                      <a:pt x="2928" y="3060395"/>
                      <a:pt x="-807" y="3056659"/>
                      <a:pt x="-807" y="3052032"/>
                    </a:cubicBezTo>
                    <a:lnTo>
                      <a:pt x="-807" y="3018580"/>
                    </a:lnTo>
                    <a:cubicBezTo>
                      <a:pt x="-807" y="3013952"/>
                      <a:pt x="2928" y="3010217"/>
                      <a:pt x="7556" y="3010217"/>
                    </a:cubicBezTo>
                    <a:cubicBezTo>
                      <a:pt x="12184" y="3010217"/>
                      <a:pt x="15919" y="3013952"/>
                      <a:pt x="15919" y="3018580"/>
                    </a:cubicBezTo>
                    <a:lnTo>
                      <a:pt x="15919" y="3052032"/>
                    </a:lnTo>
                    <a:cubicBezTo>
                      <a:pt x="15919" y="3056659"/>
                      <a:pt x="12184" y="3060395"/>
                      <a:pt x="7556" y="3060395"/>
                    </a:cubicBezTo>
                    <a:close/>
                    <a:moveTo>
                      <a:pt x="7556" y="2960039"/>
                    </a:moveTo>
                    <a:cubicBezTo>
                      <a:pt x="2928" y="2960039"/>
                      <a:pt x="-807" y="2956303"/>
                      <a:pt x="-807" y="2951676"/>
                    </a:cubicBezTo>
                    <a:lnTo>
                      <a:pt x="-807" y="2918224"/>
                    </a:lnTo>
                    <a:cubicBezTo>
                      <a:pt x="-807" y="2913596"/>
                      <a:pt x="2928" y="2909861"/>
                      <a:pt x="7556" y="2909861"/>
                    </a:cubicBezTo>
                    <a:cubicBezTo>
                      <a:pt x="12184" y="2909861"/>
                      <a:pt x="15919" y="2913596"/>
                      <a:pt x="15919" y="2918224"/>
                    </a:cubicBezTo>
                    <a:lnTo>
                      <a:pt x="15919" y="2951676"/>
                    </a:lnTo>
                    <a:cubicBezTo>
                      <a:pt x="15919" y="2956303"/>
                      <a:pt x="12184" y="2960039"/>
                      <a:pt x="7556" y="2960039"/>
                    </a:cubicBezTo>
                    <a:close/>
                    <a:moveTo>
                      <a:pt x="7556" y="2859683"/>
                    </a:moveTo>
                    <a:cubicBezTo>
                      <a:pt x="2928" y="2859683"/>
                      <a:pt x="-807" y="2855947"/>
                      <a:pt x="-807" y="2851320"/>
                    </a:cubicBezTo>
                    <a:lnTo>
                      <a:pt x="-807" y="2817868"/>
                    </a:lnTo>
                    <a:cubicBezTo>
                      <a:pt x="-807" y="2813240"/>
                      <a:pt x="2928" y="2809505"/>
                      <a:pt x="7556" y="2809505"/>
                    </a:cubicBezTo>
                    <a:cubicBezTo>
                      <a:pt x="12184" y="2809505"/>
                      <a:pt x="15919" y="2813240"/>
                      <a:pt x="15919" y="2817868"/>
                    </a:cubicBezTo>
                    <a:lnTo>
                      <a:pt x="15919" y="2851320"/>
                    </a:lnTo>
                    <a:cubicBezTo>
                      <a:pt x="15919" y="2855947"/>
                      <a:pt x="12184" y="2859683"/>
                      <a:pt x="7556" y="2859683"/>
                    </a:cubicBezTo>
                    <a:close/>
                    <a:moveTo>
                      <a:pt x="7556" y="2759327"/>
                    </a:moveTo>
                    <a:cubicBezTo>
                      <a:pt x="2928" y="2759327"/>
                      <a:pt x="-807" y="2755591"/>
                      <a:pt x="-807" y="2750964"/>
                    </a:cubicBezTo>
                    <a:lnTo>
                      <a:pt x="-807" y="2717512"/>
                    </a:lnTo>
                    <a:cubicBezTo>
                      <a:pt x="-807" y="2712884"/>
                      <a:pt x="2928" y="2709149"/>
                      <a:pt x="7556" y="2709149"/>
                    </a:cubicBezTo>
                    <a:cubicBezTo>
                      <a:pt x="12184" y="2709149"/>
                      <a:pt x="15919" y="2712884"/>
                      <a:pt x="15919" y="2717512"/>
                    </a:cubicBezTo>
                    <a:lnTo>
                      <a:pt x="15919" y="2750964"/>
                    </a:lnTo>
                    <a:cubicBezTo>
                      <a:pt x="15919" y="2755591"/>
                      <a:pt x="12184" y="2759327"/>
                      <a:pt x="7556" y="2759327"/>
                    </a:cubicBezTo>
                    <a:close/>
                    <a:moveTo>
                      <a:pt x="7556" y="2658971"/>
                    </a:moveTo>
                    <a:cubicBezTo>
                      <a:pt x="2928" y="2658971"/>
                      <a:pt x="-807" y="2655235"/>
                      <a:pt x="-807" y="2650608"/>
                    </a:cubicBezTo>
                    <a:lnTo>
                      <a:pt x="-807" y="2617156"/>
                    </a:lnTo>
                    <a:cubicBezTo>
                      <a:pt x="-807" y="2612539"/>
                      <a:pt x="2928" y="2608793"/>
                      <a:pt x="7556" y="2608793"/>
                    </a:cubicBezTo>
                    <a:cubicBezTo>
                      <a:pt x="12184" y="2608793"/>
                      <a:pt x="15919" y="2612539"/>
                      <a:pt x="15919" y="2617156"/>
                    </a:cubicBezTo>
                    <a:lnTo>
                      <a:pt x="15919" y="2650608"/>
                    </a:lnTo>
                    <a:cubicBezTo>
                      <a:pt x="15919" y="2655235"/>
                      <a:pt x="12184" y="2658971"/>
                      <a:pt x="7556" y="2658971"/>
                    </a:cubicBezTo>
                    <a:close/>
                    <a:moveTo>
                      <a:pt x="7556" y="2558614"/>
                    </a:moveTo>
                    <a:cubicBezTo>
                      <a:pt x="2928" y="2558614"/>
                      <a:pt x="-807" y="2554868"/>
                      <a:pt x="-807" y="2550251"/>
                    </a:cubicBezTo>
                    <a:lnTo>
                      <a:pt x="-807" y="2516799"/>
                    </a:lnTo>
                    <a:cubicBezTo>
                      <a:pt x="-807" y="2512183"/>
                      <a:pt x="2928" y="2508436"/>
                      <a:pt x="7556" y="2508436"/>
                    </a:cubicBezTo>
                    <a:cubicBezTo>
                      <a:pt x="12184" y="2508436"/>
                      <a:pt x="15919" y="2512183"/>
                      <a:pt x="15919" y="2516799"/>
                    </a:cubicBezTo>
                    <a:lnTo>
                      <a:pt x="15919" y="2550251"/>
                    </a:lnTo>
                    <a:cubicBezTo>
                      <a:pt x="15919" y="2554868"/>
                      <a:pt x="12184" y="2558614"/>
                      <a:pt x="7556" y="2558614"/>
                    </a:cubicBezTo>
                    <a:close/>
                    <a:moveTo>
                      <a:pt x="7556" y="2458258"/>
                    </a:moveTo>
                    <a:cubicBezTo>
                      <a:pt x="2928" y="2458258"/>
                      <a:pt x="-807" y="2454512"/>
                      <a:pt x="-807" y="2449895"/>
                    </a:cubicBezTo>
                    <a:lnTo>
                      <a:pt x="-807" y="2416443"/>
                    </a:lnTo>
                    <a:cubicBezTo>
                      <a:pt x="-807" y="2411827"/>
                      <a:pt x="2928" y="2408080"/>
                      <a:pt x="7556" y="2408080"/>
                    </a:cubicBezTo>
                    <a:cubicBezTo>
                      <a:pt x="12184" y="2408080"/>
                      <a:pt x="15919" y="2411827"/>
                      <a:pt x="15919" y="2416443"/>
                    </a:cubicBezTo>
                    <a:lnTo>
                      <a:pt x="15919" y="2449895"/>
                    </a:lnTo>
                    <a:cubicBezTo>
                      <a:pt x="15919" y="2454512"/>
                      <a:pt x="12184" y="2458258"/>
                      <a:pt x="7556" y="2458258"/>
                    </a:cubicBezTo>
                    <a:close/>
                    <a:moveTo>
                      <a:pt x="7556" y="2357902"/>
                    </a:moveTo>
                    <a:cubicBezTo>
                      <a:pt x="2928" y="2357902"/>
                      <a:pt x="-807" y="2354156"/>
                      <a:pt x="-807" y="2349539"/>
                    </a:cubicBezTo>
                    <a:lnTo>
                      <a:pt x="-807" y="2316087"/>
                    </a:lnTo>
                    <a:cubicBezTo>
                      <a:pt x="-807" y="2311471"/>
                      <a:pt x="2928" y="2307724"/>
                      <a:pt x="7556" y="2307724"/>
                    </a:cubicBezTo>
                    <a:cubicBezTo>
                      <a:pt x="12184" y="2307724"/>
                      <a:pt x="15919" y="2311471"/>
                      <a:pt x="15919" y="2316087"/>
                    </a:cubicBezTo>
                    <a:lnTo>
                      <a:pt x="15919" y="2349539"/>
                    </a:lnTo>
                    <a:cubicBezTo>
                      <a:pt x="15919" y="2354156"/>
                      <a:pt x="12184" y="2357902"/>
                      <a:pt x="7556" y="2357902"/>
                    </a:cubicBezTo>
                    <a:close/>
                    <a:moveTo>
                      <a:pt x="7556" y="2257546"/>
                    </a:moveTo>
                    <a:cubicBezTo>
                      <a:pt x="2928" y="2257546"/>
                      <a:pt x="-807" y="2253799"/>
                      <a:pt x="-807" y="2249183"/>
                    </a:cubicBezTo>
                    <a:lnTo>
                      <a:pt x="-807" y="2215731"/>
                    </a:lnTo>
                    <a:cubicBezTo>
                      <a:pt x="-807" y="2211115"/>
                      <a:pt x="2928" y="2207368"/>
                      <a:pt x="7556" y="2207368"/>
                    </a:cubicBezTo>
                    <a:cubicBezTo>
                      <a:pt x="12184" y="2207368"/>
                      <a:pt x="15919" y="2211115"/>
                      <a:pt x="15919" y="2215731"/>
                    </a:cubicBezTo>
                    <a:lnTo>
                      <a:pt x="15919" y="2249183"/>
                    </a:lnTo>
                    <a:cubicBezTo>
                      <a:pt x="15919" y="2253799"/>
                      <a:pt x="12184" y="2257546"/>
                      <a:pt x="7556" y="2257546"/>
                    </a:cubicBezTo>
                    <a:close/>
                    <a:moveTo>
                      <a:pt x="7556" y="2157190"/>
                    </a:moveTo>
                    <a:cubicBezTo>
                      <a:pt x="2928" y="2157190"/>
                      <a:pt x="-807" y="2153443"/>
                      <a:pt x="-807" y="2148827"/>
                    </a:cubicBezTo>
                    <a:lnTo>
                      <a:pt x="-807" y="2115375"/>
                    </a:lnTo>
                    <a:cubicBezTo>
                      <a:pt x="-807" y="2110759"/>
                      <a:pt x="2928" y="2107012"/>
                      <a:pt x="7556" y="2107012"/>
                    </a:cubicBezTo>
                    <a:cubicBezTo>
                      <a:pt x="12184" y="2107012"/>
                      <a:pt x="15919" y="2110759"/>
                      <a:pt x="15919" y="2115375"/>
                    </a:cubicBezTo>
                    <a:lnTo>
                      <a:pt x="15919" y="2148827"/>
                    </a:lnTo>
                    <a:cubicBezTo>
                      <a:pt x="15919" y="2153443"/>
                      <a:pt x="12184" y="2157190"/>
                      <a:pt x="7556" y="2157190"/>
                    </a:cubicBezTo>
                    <a:close/>
                    <a:moveTo>
                      <a:pt x="7556" y="2056834"/>
                    </a:moveTo>
                    <a:cubicBezTo>
                      <a:pt x="2928" y="2056834"/>
                      <a:pt x="-807" y="2053087"/>
                      <a:pt x="-807" y="2048471"/>
                    </a:cubicBezTo>
                    <a:lnTo>
                      <a:pt x="-807" y="2015019"/>
                    </a:lnTo>
                    <a:cubicBezTo>
                      <a:pt x="-807" y="2010402"/>
                      <a:pt x="2928" y="2006656"/>
                      <a:pt x="7556" y="2006656"/>
                    </a:cubicBezTo>
                    <a:cubicBezTo>
                      <a:pt x="12184" y="2006656"/>
                      <a:pt x="15919" y="2010402"/>
                      <a:pt x="15919" y="2015019"/>
                    </a:cubicBezTo>
                    <a:lnTo>
                      <a:pt x="15919" y="2048471"/>
                    </a:lnTo>
                    <a:cubicBezTo>
                      <a:pt x="15919" y="2053087"/>
                      <a:pt x="12184" y="2056834"/>
                      <a:pt x="7556" y="2056834"/>
                    </a:cubicBezTo>
                    <a:close/>
                    <a:moveTo>
                      <a:pt x="7556" y="1956478"/>
                    </a:moveTo>
                    <a:cubicBezTo>
                      <a:pt x="2928" y="1956478"/>
                      <a:pt x="-807" y="1952731"/>
                      <a:pt x="-807" y="1948115"/>
                    </a:cubicBezTo>
                    <a:lnTo>
                      <a:pt x="-807" y="1914663"/>
                    </a:lnTo>
                    <a:cubicBezTo>
                      <a:pt x="-807" y="1910046"/>
                      <a:pt x="2928" y="1906300"/>
                      <a:pt x="7556" y="1906300"/>
                    </a:cubicBezTo>
                    <a:cubicBezTo>
                      <a:pt x="12184" y="1906300"/>
                      <a:pt x="15919" y="1910046"/>
                      <a:pt x="15919" y="1914663"/>
                    </a:cubicBezTo>
                    <a:lnTo>
                      <a:pt x="15919" y="1948115"/>
                    </a:lnTo>
                    <a:cubicBezTo>
                      <a:pt x="15919" y="1952731"/>
                      <a:pt x="12184" y="1956478"/>
                      <a:pt x="7556" y="1956478"/>
                    </a:cubicBezTo>
                    <a:close/>
                    <a:moveTo>
                      <a:pt x="7556" y="1856122"/>
                    </a:moveTo>
                    <a:cubicBezTo>
                      <a:pt x="2928" y="1856122"/>
                      <a:pt x="-807" y="1852375"/>
                      <a:pt x="-807" y="1847759"/>
                    </a:cubicBezTo>
                    <a:lnTo>
                      <a:pt x="-807" y="1814306"/>
                    </a:lnTo>
                    <a:cubicBezTo>
                      <a:pt x="-807" y="1809690"/>
                      <a:pt x="2928" y="1805943"/>
                      <a:pt x="7556" y="1805943"/>
                    </a:cubicBezTo>
                    <a:cubicBezTo>
                      <a:pt x="12184" y="1805943"/>
                      <a:pt x="15919" y="1809690"/>
                      <a:pt x="15919" y="1814306"/>
                    </a:cubicBezTo>
                    <a:lnTo>
                      <a:pt x="15919" y="1847759"/>
                    </a:lnTo>
                    <a:cubicBezTo>
                      <a:pt x="15919" y="1852375"/>
                      <a:pt x="12184" y="1856122"/>
                      <a:pt x="7556" y="1856122"/>
                    </a:cubicBezTo>
                    <a:close/>
                    <a:moveTo>
                      <a:pt x="7556" y="1755765"/>
                    </a:moveTo>
                    <a:cubicBezTo>
                      <a:pt x="2928" y="1755765"/>
                      <a:pt x="-807" y="1752019"/>
                      <a:pt x="-807" y="1747402"/>
                    </a:cubicBezTo>
                    <a:lnTo>
                      <a:pt x="-807" y="1713950"/>
                    </a:lnTo>
                    <a:cubicBezTo>
                      <a:pt x="-807" y="1709334"/>
                      <a:pt x="2928" y="1705587"/>
                      <a:pt x="7556" y="1705587"/>
                    </a:cubicBezTo>
                    <a:cubicBezTo>
                      <a:pt x="12184" y="1705587"/>
                      <a:pt x="15919" y="1709334"/>
                      <a:pt x="15919" y="1713950"/>
                    </a:cubicBezTo>
                    <a:lnTo>
                      <a:pt x="15919" y="1747402"/>
                    </a:lnTo>
                    <a:cubicBezTo>
                      <a:pt x="15919" y="1752019"/>
                      <a:pt x="12184" y="1755765"/>
                      <a:pt x="7556" y="1755765"/>
                    </a:cubicBezTo>
                    <a:close/>
                    <a:moveTo>
                      <a:pt x="7556" y="1655409"/>
                    </a:moveTo>
                    <a:cubicBezTo>
                      <a:pt x="2928" y="1655409"/>
                      <a:pt x="-807" y="1651663"/>
                      <a:pt x="-807" y="1647046"/>
                    </a:cubicBezTo>
                    <a:lnTo>
                      <a:pt x="-807" y="1613594"/>
                    </a:lnTo>
                    <a:cubicBezTo>
                      <a:pt x="-807" y="1608978"/>
                      <a:pt x="2928" y="1605231"/>
                      <a:pt x="7556" y="1605231"/>
                    </a:cubicBezTo>
                    <a:cubicBezTo>
                      <a:pt x="12184" y="1605231"/>
                      <a:pt x="15919" y="1608978"/>
                      <a:pt x="15919" y="1613594"/>
                    </a:cubicBezTo>
                    <a:lnTo>
                      <a:pt x="15919" y="1647046"/>
                    </a:lnTo>
                    <a:cubicBezTo>
                      <a:pt x="15919" y="1651663"/>
                      <a:pt x="12184" y="1655409"/>
                      <a:pt x="7556" y="1655409"/>
                    </a:cubicBezTo>
                    <a:close/>
                    <a:moveTo>
                      <a:pt x="7556" y="1555053"/>
                    </a:moveTo>
                    <a:cubicBezTo>
                      <a:pt x="2928" y="1555053"/>
                      <a:pt x="-807" y="1551307"/>
                      <a:pt x="-807" y="1546690"/>
                    </a:cubicBezTo>
                    <a:lnTo>
                      <a:pt x="-807" y="1513238"/>
                    </a:lnTo>
                    <a:cubicBezTo>
                      <a:pt x="-807" y="1508622"/>
                      <a:pt x="2928" y="1504875"/>
                      <a:pt x="7556" y="1504875"/>
                    </a:cubicBezTo>
                    <a:cubicBezTo>
                      <a:pt x="12184" y="1504875"/>
                      <a:pt x="15919" y="1508622"/>
                      <a:pt x="15919" y="1513238"/>
                    </a:cubicBezTo>
                    <a:lnTo>
                      <a:pt x="15919" y="1546690"/>
                    </a:lnTo>
                    <a:cubicBezTo>
                      <a:pt x="15919" y="1551307"/>
                      <a:pt x="12184" y="1555053"/>
                      <a:pt x="7556" y="1555053"/>
                    </a:cubicBezTo>
                    <a:close/>
                    <a:moveTo>
                      <a:pt x="7556" y="1454697"/>
                    </a:moveTo>
                    <a:cubicBezTo>
                      <a:pt x="2928" y="1454697"/>
                      <a:pt x="-807" y="1450950"/>
                      <a:pt x="-807" y="1446334"/>
                    </a:cubicBezTo>
                    <a:lnTo>
                      <a:pt x="-807" y="1412882"/>
                    </a:lnTo>
                    <a:cubicBezTo>
                      <a:pt x="-807" y="1408266"/>
                      <a:pt x="2928" y="1404519"/>
                      <a:pt x="7556" y="1404519"/>
                    </a:cubicBezTo>
                    <a:cubicBezTo>
                      <a:pt x="12184" y="1404519"/>
                      <a:pt x="15919" y="1408266"/>
                      <a:pt x="15919" y="1412882"/>
                    </a:cubicBezTo>
                    <a:lnTo>
                      <a:pt x="15919" y="1446334"/>
                    </a:lnTo>
                    <a:cubicBezTo>
                      <a:pt x="15919" y="1450950"/>
                      <a:pt x="12184" y="1454697"/>
                      <a:pt x="7556" y="1454697"/>
                    </a:cubicBezTo>
                    <a:close/>
                    <a:moveTo>
                      <a:pt x="7556" y="1354341"/>
                    </a:moveTo>
                    <a:cubicBezTo>
                      <a:pt x="2928" y="1354341"/>
                      <a:pt x="-807" y="1350594"/>
                      <a:pt x="-807" y="1345978"/>
                    </a:cubicBezTo>
                    <a:lnTo>
                      <a:pt x="-807" y="1312526"/>
                    </a:lnTo>
                    <a:cubicBezTo>
                      <a:pt x="-807" y="1307909"/>
                      <a:pt x="2928" y="1304163"/>
                      <a:pt x="7556" y="1304163"/>
                    </a:cubicBezTo>
                    <a:cubicBezTo>
                      <a:pt x="12184" y="1304163"/>
                      <a:pt x="15919" y="1307909"/>
                      <a:pt x="15919" y="1312526"/>
                    </a:cubicBezTo>
                    <a:lnTo>
                      <a:pt x="15919" y="1345978"/>
                    </a:lnTo>
                    <a:cubicBezTo>
                      <a:pt x="15919" y="1350594"/>
                      <a:pt x="12184" y="1354341"/>
                      <a:pt x="7556" y="1354341"/>
                    </a:cubicBezTo>
                    <a:close/>
                    <a:moveTo>
                      <a:pt x="7556" y="1253985"/>
                    </a:moveTo>
                    <a:cubicBezTo>
                      <a:pt x="2928" y="1253985"/>
                      <a:pt x="-807" y="1250238"/>
                      <a:pt x="-807" y="1245622"/>
                    </a:cubicBezTo>
                    <a:lnTo>
                      <a:pt x="-807" y="1212170"/>
                    </a:lnTo>
                    <a:cubicBezTo>
                      <a:pt x="-807" y="1207553"/>
                      <a:pt x="2928" y="1203807"/>
                      <a:pt x="7556" y="1203807"/>
                    </a:cubicBezTo>
                    <a:cubicBezTo>
                      <a:pt x="12184" y="1203807"/>
                      <a:pt x="15919" y="1207553"/>
                      <a:pt x="15919" y="1212170"/>
                    </a:cubicBezTo>
                    <a:lnTo>
                      <a:pt x="15919" y="1245622"/>
                    </a:lnTo>
                    <a:cubicBezTo>
                      <a:pt x="15919" y="1250238"/>
                      <a:pt x="12184" y="1253985"/>
                      <a:pt x="7556" y="1253985"/>
                    </a:cubicBezTo>
                    <a:close/>
                    <a:moveTo>
                      <a:pt x="7556" y="1153629"/>
                    </a:moveTo>
                    <a:cubicBezTo>
                      <a:pt x="2928" y="1153629"/>
                      <a:pt x="-807" y="1149882"/>
                      <a:pt x="-807" y="1145266"/>
                    </a:cubicBezTo>
                    <a:lnTo>
                      <a:pt x="-807" y="1111814"/>
                    </a:lnTo>
                    <a:cubicBezTo>
                      <a:pt x="-807" y="1107197"/>
                      <a:pt x="2928" y="1103451"/>
                      <a:pt x="7556" y="1103451"/>
                    </a:cubicBezTo>
                    <a:cubicBezTo>
                      <a:pt x="12184" y="1103451"/>
                      <a:pt x="15919" y="1107197"/>
                      <a:pt x="15919" y="1111814"/>
                    </a:cubicBezTo>
                    <a:lnTo>
                      <a:pt x="15919" y="1145266"/>
                    </a:lnTo>
                    <a:cubicBezTo>
                      <a:pt x="15919" y="1149882"/>
                      <a:pt x="12184" y="1153629"/>
                      <a:pt x="7556" y="1153629"/>
                    </a:cubicBezTo>
                    <a:close/>
                    <a:moveTo>
                      <a:pt x="7556" y="1053273"/>
                    </a:moveTo>
                    <a:cubicBezTo>
                      <a:pt x="2928" y="1053273"/>
                      <a:pt x="-807" y="1049526"/>
                      <a:pt x="-807" y="1044910"/>
                    </a:cubicBezTo>
                    <a:lnTo>
                      <a:pt x="-807" y="1011457"/>
                    </a:lnTo>
                    <a:cubicBezTo>
                      <a:pt x="-807" y="1006841"/>
                      <a:pt x="2928" y="1003094"/>
                      <a:pt x="7556" y="1003094"/>
                    </a:cubicBezTo>
                    <a:cubicBezTo>
                      <a:pt x="12184" y="1003094"/>
                      <a:pt x="15919" y="1006841"/>
                      <a:pt x="15919" y="1011457"/>
                    </a:cubicBezTo>
                    <a:lnTo>
                      <a:pt x="15919" y="1044910"/>
                    </a:lnTo>
                    <a:cubicBezTo>
                      <a:pt x="15919" y="1049526"/>
                      <a:pt x="12184" y="1053273"/>
                      <a:pt x="7556" y="1053273"/>
                    </a:cubicBezTo>
                    <a:close/>
                    <a:moveTo>
                      <a:pt x="7556" y="952916"/>
                    </a:moveTo>
                    <a:cubicBezTo>
                      <a:pt x="2928" y="952916"/>
                      <a:pt x="-807" y="949170"/>
                      <a:pt x="-807" y="944553"/>
                    </a:cubicBezTo>
                    <a:lnTo>
                      <a:pt x="-807" y="911101"/>
                    </a:lnTo>
                    <a:cubicBezTo>
                      <a:pt x="-807" y="906485"/>
                      <a:pt x="2928" y="902738"/>
                      <a:pt x="7556" y="902738"/>
                    </a:cubicBezTo>
                    <a:cubicBezTo>
                      <a:pt x="12184" y="902738"/>
                      <a:pt x="15919" y="906485"/>
                      <a:pt x="15919" y="911101"/>
                    </a:cubicBezTo>
                    <a:lnTo>
                      <a:pt x="15919" y="944553"/>
                    </a:lnTo>
                    <a:cubicBezTo>
                      <a:pt x="15919" y="949170"/>
                      <a:pt x="12184" y="952916"/>
                      <a:pt x="7556" y="952916"/>
                    </a:cubicBezTo>
                    <a:close/>
                    <a:moveTo>
                      <a:pt x="7556" y="852560"/>
                    </a:moveTo>
                    <a:cubicBezTo>
                      <a:pt x="2928" y="852560"/>
                      <a:pt x="-807" y="848814"/>
                      <a:pt x="-807" y="844197"/>
                    </a:cubicBezTo>
                    <a:lnTo>
                      <a:pt x="-807" y="810745"/>
                    </a:lnTo>
                    <a:cubicBezTo>
                      <a:pt x="-807" y="806129"/>
                      <a:pt x="2928" y="802382"/>
                      <a:pt x="7556" y="802382"/>
                    </a:cubicBezTo>
                    <a:cubicBezTo>
                      <a:pt x="12184" y="802382"/>
                      <a:pt x="15919" y="806129"/>
                      <a:pt x="15919" y="810745"/>
                    </a:cubicBezTo>
                    <a:lnTo>
                      <a:pt x="15919" y="844197"/>
                    </a:lnTo>
                    <a:cubicBezTo>
                      <a:pt x="15919" y="848814"/>
                      <a:pt x="12184" y="852560"/>
                      <a:pt x="7556" y="852560"/>
                    </a:cubicBezTo>
                    <a:close/>
                    <a:moveTo>
                      <a:pt x="7556" y="752204"/>
                    </a:moveTo>
                    <a:cubicBezTo>
                      <a:pt x="2928" y="752204"/>
                      <a:pt x="-807" y="748458"/>
                      <a:pt x="-807" y="743841"/>
                    </a:cubicBezTo>
                    <a:lnTo>
                      <a:pt x="-807" y="710389"/>
                    </a:lnTo>
                    <a:cubicBezTo>
                      <a:pt x="-807" y="705773"/>
                      <a:pt x="2928" y="702026"/>
                      <a:pt x="7556" y="702026"/>
                    </a:cubicBezTo>
                    <a:cubicBezTo>
                      <a:pt x="12184" y="702026"/>
                      <a:pt x="15919" y="705773"/>
                      <a:pt x="15919" y="710389"/>
                    </a:cubicBezTo>
                    <a:lnTo>
                      <a:pt x="15919" y="743841"/>
                    </a:lnTo>
                    <a:cubicBezTo>
                      <a:pt x="15919" y="748458"/>
                      <a:pt x="12184" y="752204"/>
                      <a:pt x="7556" y="752204"/>
                    </a:cubicBezTo>
                    <a:close/>
                    <a:moveTo>
                      <a:pt x="7556" y="651848"/>
                    </a:moveTo>
                    <a:cubicBezTo>
                      <a:pt x="2928" y="651848"/>
                      <a:pt x="-807" y="648101"/>
                      <a:pt x="-807" y="643485"/>
                    </a:cubicBezTo>
                    <a:lnTo>
                      <a:pt x="-807" y="610033"/>
                    </a:lnTo>
                    <a:cubicBezTo>
                      <a:pt x="-807" y="605417"/>
                      <a:pt x="2928" y="601670"/>
                      <a:pt x="7556" y="601670"/>
                    </a:cubicBezTo>
                    <a:cubicBezTo>
                      <a:pt x="12184" y="601670"/>
                      <a:pt x="15919" y="605417"/>
                      <a:pt x="15919" y="610033"/>
                    </a:cubicBezTo>
                    <a:lnTo>
                      <a:pt x="15919" y="643485"/>
                    </a:lnTo>
                    <a:cubicBezTo>
                      <a:pt x="15919" y="648101"/>
                      <a:pt x="12184" y="651848"/>
                      <a:pt x="7556" y="651848"/>
                    </a:cubicBezTo>
                    <a:close/>
                    <a:moveTo>
                      <a:pt x="7556" y="551492"/>
                    </a:moveTo>
                    <a:cubicBezTo>
                      <a:pt x="2928" y="551492"/>
                      <a:pt x="-807" y="547745"/>
                      <a:pt x="-807" y="543129"/>
                    </a:cubicBezTo>
                    <a:lnTo>
                      <a:pt x="-807" y="509677"/>
                    </a:lnTo>
                    <a:cubicBezTo>
                      <a:pt x="-807" y="505060"/>
                      <a:pt x="2928" y="501314"/>
                      <a:pt x="7556" y="501314"/>
                    </a:cubicBezTo>
                    <a:cubicBezTo>
                      <a:pt x="12184" y="501314"/>
                      <a:pt x="15919" y="505060"/>
                      <a:pt x="15919" y="509677"/>
                    </a:cubicBezTo>
                    <a:lnTo>
                      <a:pt x="15919" y="543129"/>
                    </a:lnTo>
                    <a:cubicBezTo>
                      <a:pt x="15919" y="547745"/>
                      <a:pt x="12184" y="551492"/>
                      <a:pt x="7556" y="551492"/>
                    </a:cubicBezTo>
                    <a:close/>
                    <a:moveTo>
                      <a:pt x="7556" y="451136"/>
                    </a:moveTo>
                    <a:cubicBezTo>
                      <a:pt x="2928" y="451136"/>
                      <a:pt x="-807" y="447389"/>
                      <a:pt x="-807" y="442773"/>
                    </a:cubicBezTo>
                    <a:lnTo>
                      <a:pt x="-807" y="409321"/>
                    </a:lnTo>
                    <a:cubicBezTo>
                      <a:pt x="-807" y="404704"/>
                      <a:pt x="2928" y="400958"/>
                      <a:pt x="7556" y="400958"/>
                    </a:cubicBezTo>
                    <a:cubicBezTo>
                      <a:pt x="12184" y="400958"/>
                      <a:pt x="15919" y="404704"/>
                      <a:pt x="15919" y="409321"/>
                    </a:cubicBezTo>
                    <a:lnTo>
                      <a:pt x="15919" y="442773"/>
                    </a:lnTo>
                    <a:cubicBezTo>
                      <a:pt x="15919" y="447389"/>
                      <a:pt x="12184" y="451136"/>
                      <a:pt x="7556" y="451136"/>
                    </a:cubicBezTo>
                    <a:close/>
                    <a:moveTo>
                      <a:pt x="7556" y="350780"/>
                    </a:moveTo>
                    <a:cubicBezTo>
                      <a:pt x="2928" y="350780"/>
                      <a:pt x="-807" y="347033"/>
                      <a:pt x="-807" y="342417"/>
                    </a:cubicBezTo>
                    <a:lnTo>
                      <a:pt x="-807" y="308965"/>
                    </a:lnTo>
                    <a:cubicBezTo>
                      <a:pt x="-807" y="304348"/>
                      <a:pt x="2928" y="300602"/>
                      <a:pt x="7556" y="300602"/>
                    </a:cubicBezTo>
                    <a:cubicBezTo>
                      <a:pt x="12184" y="300602"/>
                      <a:pt x="15919" y="304348"/>
                      <a:pt x="15919" y="308965"/>
                    </a:cubicBezTo>
                    <a:lnTo>
                      <a:pt x="15919" y="342417"/>
                    </a:lnTo>
                    <a:cubicBezTo>
                      <a:pt x="15919" y="347033"/>
                      <a:pt x="12184" y="350780"/>
                      <a:pt x="7556" y="350780"/>
                    </a:cubicBezTo>
                    <a:close/>
                    <a:moveTo>
                      <a:pt x="7556" y="250424"/>
                    </a:moveTo>
                    <a:cubicBezTo>
                      <a:pt x="2928" y="250424"/>
                      <a:pt x="-807" y="246677"/>
                      <a:pt x="-807" y="242060"/>
                    </a:cubicBezTo>
                    <a:lnTo>
                      <a:pt x="-807" y="208608"/>
                    </a:lnTo>
                    <a:cubicBezTo>
                      <a:pt x="-807" y="203992"/>
                      <a:pt x="2928" y="200245"/>
                      <a:pt x="7556" y="200245"/>
                    </a:cubicBezTo>
                    <a:cubicBezTo>
                      <a:pt x="12184" y="200245"/>
                      <a:pt x="15919" y="203992"/>
                      <a:pt x="15919" y="208608"/>
                    </a:cubicBezTo>
                    <a:lnTo>
                      <a:pt x="15919" y="242060"/>
                    </a:lnTo>
                    <a:cubicBezTo>
                      <a:pt x="15919" y="246677"/>
                      <a:pt x="12184" y="250424"/>
                      <a:pt x="7556" y="250424"/>
                    </a:cubicBezTo>
                    <a:close/>
                    <a:moveTo>
                      <a:pt x="7556" y="150067"/>
                    </a:moveTo>
                    <a:cubicBezTo>
                      <a:pt x="2928" y="150067"/>
                      <a:pt x="-807" y="146321"/>
                      <a:pt x="-807" y="141704"/>
                    </a:cubicBezTo>
                    <a:lnTo>
                      <a:pt x="-807" y="108252"/>
                    </a:lnTo>
                    <a:cubicBezTo>
                      <a:pt x="-807" y="103636"/>
                      <a:pt x="2928" y="99889"/>
                      <a:pt x="7556" y="99889"/>
                    </a:cubicBezTo>
                    <a:cubicBezTo>
                      <a:pt x="12184" y="99889"/>
                      <a:pt x="15919" y="103636"/>
                      <a:pt x="15919" y="108252"/>
                    </a:cubicBezTo>
                    <a:lnTo>
                      <a:pt x="15919" y="141704"/>
                    </a:lnTo>
                    <a:cubicBezTo>
                      <a:pt x="15919" y="146321"/>
                      <a:pt x="12184" y="150067"/>
                      <a:pt x="7556" y="150067"/>
                    </a:cubicBezTo>
                    <a:close/>
                    <a:moveTo>
                      <a:pt x="7556" y="49711"/>
                    </a:moveTo>
                    <a:cubicBezTo>
                      <a:pt x="2928" y="49711"/>
                      <a:pt x="-807" y="45965"/>
                      <a:pt x="-807" y="41348"/>
                    </a:cubicBezTo>
                    <a:lnTo>
                      <a:pt x="-807" y="7896"/>
                    </a:lnTo>
                    <a:cubicBezTo>
                      <a:pt x="-807" y="3280"/>
                      <a:pt x="2928" y="-467"/>
                      <a:pt x="7556" y="-467"/>
                    </a:cubicBezTo>
                    <a:cubicBezTo>
                      <a:pt x="12184" y="-467"/>
                      <a:pt x="15919" y="3280"/>
                      <a:pt x="15919" y="7896"/>
                    </a:cubicBezTo>
                    <a:lnTo>
                      <a:pt x="15919" y="41348"/>
                    </a:lnTo>
                    <a:cubicBezTo>
                      <a:pt x="15919" y="45965"/>
                      <a:pt x="12184" y="49711"/>
                      <a:pt x="7556" y="49711"/>
                    </a:cubicBezTo>
                    <a:close/>
                  </a:path>
                </a:pathLst>
              </a:custGeom>
              <a:solidFill>
                <a:srgbClr val="30373B"/>
              </a:solidFill>
              <a:ln w="5573" cap="flat">
                <a:noFill/>
                <a:prstDash val="solid"/>
                <a:miter/>
              </a:ln>
            </p:spPr>
            <p:txBody>
              <a:bodyPr rtlCol="0" anchor="ctr"/>
              <a:lstStyle/>
              <a:p>
                <a:endParaRPr lang="en-GB"/>
              </a:p>
            </p:txBody>
          </p:sp>
          <p:sp>
            <p:nvSpPr>
              <p:cNvPr id="200" name="Graphic 6">
                <a:extLst>
                  <a:ext uri="{FF2B5EF4-FFF2-40B4-BE49-F238E27FC236}">
                    <a16:creationId xmlns:a16="http://schemas.microsoft.com/office/drawing/2014/main" id="{947AE37E-2E27-D82F-97A7-D4057B55B4DB}"/>
                  </a:ext>
                </a:extLst>
              </p:cNvPr>
              <p:cNvSpPr/>
              <p:nvPr/>
            </p:nvSpPr>
            <p:spPr>
              <a:xfrm>
                <a:off x="7553297" y="3241807"/>
                <a:ext cx="1224400" cy="194133"/>
              </a:xfrm>
              <a:custGeom>
                <a:avLst/>
                <a:gdLst>
                  <a:gd name="connsiteX0" fmla="*/ 1042730 w 1224400"/>
                  <a:gd name="connsiteY0" fmla="*/ 193667 h 194133"/>
                  <a:gd name="connsiteX1" fmla="*/ 948953 w 1224400"/>
                  <a:gd name="connsiteY1" fmla="*/ 100280 h 194133"/>
                  <a:gd name="connsiteX2" fmla="*/ 870174 w 1224400"/>
                  <a:gd name="connsiteY2" fmla="*/ 16259 h 194133"/>
                  <a:gd name="connsiteX3" fmla="*/ 791450 w 1224400"/>
                  <a:gd name="connsiteY3" fmla="*/ 100280 h 194133"/>
                  <a:gd name="connsiteX4" fmla="*/ 697616 w 1224400"/>
                  <a:gd name="connsiteY4" fmla="*/ 193667 h 194133"/>
                  <a:gd name="connsiteX5" fmla="*/ 603839 w 1224400"/>
                  <a:gd name="connsiteY5" fmla="*/ 100280 h 194133"/>
                  <a:gd name="connsiteX6" fmla="*/ 525116 w 1224400"/>
                  <a:gd name="connsiteY6" fmla="*/ 16259 h 194133"/>
                  <a:gd name="connsiteX7" fmla="*/ 446392 w 1224400"/>
                  <a:gd name="connsiteY7" fmla="*/ 100280 h 194133"/>
                  <a:gd name="connsiteX8" fmla="*/ 352558 w 1224400"/>
                  <a:gd name="connsiteY8" fmla="*/ 193667 h 194133"/>
                  <a:gd name="connsiteX9" fmla="*/ 258782 w 1224400"/>
                  <a:gd name="connsiteY9" fmla="*/ 100280 h 194133"/>
                  <a:gd name="connsiteX10" fmla="*/ 180058 w 1224400"/>
                  <a:gd name="connsiteY10" fmla="*/ 16259 h 194133"/>
                  <a:gd name="connsiteX11" fmla="*/ 101334 w 1224400"/>
                  <a:gd name="connsiteY11" fmla="*/ 100280 h 194133"/>
                  <a:gd name="connsiteX12" fmla="*/ 7556 w 1224400"/>
                  <a:gd name="connsiteY12" fmla="*/ 193667 h 194133"/>
                  <a:gd name="connsiteX13" fmla="*/ -807 w 1224400"/>
                  <a:gd name="connsiteY13" fmla="*/ 185304 h 194133"/>
                  <a:gd name="connsiteX14" fmla="*/ 7556 w 1224400"/>
                  <a:gd name="connsiteY14" fmla="*/ 176941 h 194133"/>
                  <a:gd name="connsiteX15" fmla="*/ 86280 w 1224400"/>
                  <a:gd name="connsiteY15" fmla="*/ 92976 h 194133"/>
                  <a:gd name="connsiteX16" fmla="*/ 180058 w 1224400"/>
                  <a:gd name="connsiteY16" fmla="*/ -467 h 194133"/>
                  <a:gd name="connsiteX17" fmla="*/ 273835 w 1224400"/>
                  <a:gd name="connsiteY17" fmla="*/ 92976 h 194133"/>
                  <a:gd name="connsiteX18" fmla="*/ 352558 w 1224400"/>
                  <a:gd name="connsiteY18" fmla="*/ 176941 h 194133"/>
                  <a:gd name="connsiteX19" fmla="*/ 431338 w 1224400"/>
                  <a:gd name="connsiteY19" fmla="*/ 92976 h 194133"/>
                  <a:gd name="connsiteX20" fmla="*/ 525116 w 1224400"/>
                  <a:gd name="connsiteY20" fmla="*/ -467 h 194133"/>
                  <a:gd name="connsiteX21" fmla="*/ 618893 w 1224400"/>
                  <a:gd name="connsiteY21" fmla="*/ 92976 h 194133"/>
                  <a:gd name="connsiteX22" fmla="*/ 697616 w 1224400"/>
                  <a:gd name="connsiteY22" fmla="*/ 176941 h 194133"/>
                  <a:gd name="connsiteX23" fmla="*/ 776396 w 1224400"/>
                  <a:gd name="connsiteY23" fmla="*/ 92976 h 194133"/>
                  <a:gd name="connsiteX24" fmla="*/ 870174 w 1224400"/>
                  <a:gd name="connsiteY24" fmla="*/ -467 h 194133"/>
                  <a:gd name="connsiteX25" fmla="*/ 964006 w 1224400"/>
                  <a:gd name="connsiteY25" fmla="*/ 92976 h 194133"/>
                  <a:gd name="connsiteX26" fmla="*/ 1042730 w 1224400"/>
                  <a:gd name="connsiteY26" fmla="*/ 176941 h 194133"/>
                  <a:gd name="connsiteX27" fmla="*/ 1121454 w 1224400"/>
                  <a:gd name="connsiteY27" fmla="*/ 92976 h 194133"/>
                  <a:gd name="connsiteX28" fmla="*/ 1215231 w 1224400"/>
                  <a:gd name="connsiteY28" fmla="*/ -467 h 194133"/>
                  <a:gd name="connsiteX29" fmla="*/ 1223594 w 1224400"/>
                  <a:gd name="connsiteY29" fmla="*/ 7896 h 194133"/>
                  <a:gd name="connsiteX30" fmla="*/ 1215231 w 1224400"/>
                  <a:gd name="connsiteY30" fmla="*/ 16259 h 194133"/>
                  <a:gd name="connsiteX31" fmla="*/ 1136507 w 1224400"/>
                  <a:gd name="connsiteY31" fmla="*/ 100280 h 194133"/>
                  <a:gd name="connsiteX32" fmla="*/ 1042730 w 1224400"/>
                  <a:gd name="connsiteY32" fmla="*/ 193667 h 19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24400" h="194133">
                    <a:moveTo>
                      <a:pt x="1042730" y="193667"/>
                    </a:moveTo>
                    <a:cubicBezTo>
                      <a:pt x="994392" y="193667"/>
                      <a:pt x="971255" y="146165"/>
                      <a:pt x="948953" y="100280"/>
                    </a:cubicBezTo>
                    <a:cubicBezTo>
                      <a:pt x="927934" y="57071"/>
                      <a:pt x="908085" y="16259"/>
                      <a:pt x="870174" y="16259"/>
                    </a:cubicBezTo>
                    <a:cubicBezTo>
                      <a:pt x="832261" y="16259"/>
                      <a:pt x="812412" y="57071"/>
                      <a:pt x="791450" y="100280"/>
                    </a:cubicBezTo>
                    <a:cubicBezTo>
                      <a:pt x="769148" y="146165"/>
                      <a:pt x="746011" y="193667"/>
                      <a:pt x="697616" y="193667"/>
                    </a:cubicBezTo>
                    <a:cubicBezTo>
                      <a:pt x="649223" y="193667"/>
                      <a:pt x="626197" y="146165"/>
                      <a:pt x="603839" y="100280"/>
                    </a:cubicBezTo>
                    <a:cubicBezTo>
                      <a:pt x="582876" y="57071"/>
                      <a:pt x="563028" y="16259"/>
                      <a:pt x="525116" y="16259"/>
                    </a:cubicBezTo>
                    <a:cubicBezTo>
                      <a:pt x="487203" y="16259"/>
                      <a:pt x="467355" y="57071"/>
                      <a:pt x="446392" y="100280"/>
                    </a:cubicBezTo>
                    <a:cubicBezTo>
                      <a:pt x="424091" y="146165"/>
                      <a:pt x="400953" y="193667"/>
                      <a:pt x="352558" y="193667"/>
                    </a:cubicBezTo>
                    <a:cubicBezTo>
                      <a:pt x="304165" y="193667"/>
                      <a:pt x="281139" y="146165"/>
                      <a:pt x="258782" y="100280"/>
                    </a:cubicBezTo>
                    <a:cubicBezTo>
                      <a:pt x="237818" y="57071"/>
                      <a:pt x="217970" y="16259"/>
                      <a:pt x="180058" y="16259"/>
                    </a:cubicBezTo>
                    <a:cubicBezTo>
                      <a:pt x="142145" y="16259"/>
                      <a:pt x="122297" y="57071"/>
                      <a:pt x="101334" y="100280"/>
                    </a:cubicBezTo>
                    <a:cubicBezTo>
                      <a:pt x="79033" y="146165"/>
                      <a:pt x="55895" y="193667"/>
                      <a:pt x="7556" y="193667"/>
                    </a:cubicBezTo>
                    <a:cubicBezTo>
                      <a:pt x="2929" y="193667"/>
                      <a:pt x="-807" y="189920"/>
                      <a:pt x="-807" y="185304"/>
                    </a:cubicBezTo>
                    <a:cubicBezTo>
                      <a:pt x="-807" y="180687"/>
                      <a:pt x="2929" y="176941"/>
                      <a:pt x="7556" y="176941"/>
                    </a:cubicBezTo>
                    <a:cubicBezTo>
                      <a:pt x="45413" y="176941"/>
                      <a:pt x="65262" y="136129"/>
                      <a:pt x="86280" y="92976"/>
                    </a:cubicBezTo>
                    <a:cubicBezTo>
                      <a:pt x="108582" y="47035"/>
                      <a:pt x="131719" y="-467"/>
                      <a:pt x="180058" y="-467"/>
                    </a:cubicBezTo>
                    <a:cubicBezTo>
                      <a:pt x="228396" y="-467"/>
                      <a:pt x="251533" y="47035"/>
                      <a:pt x="273835" y="92976"/>
                    </a:cubicBezTo>
                    <a:cubicBezTo>
                      <a:pt x="294854" y="136129"/>
                      <a:pt x="314702" y="176941"/>
                      <a:pt x="352558" y="176941"/>
                    </a:cubicBezTo>
                    <a:cubicBezTo>
                      <a:pt x="390415" y="176941"/>
                      <a:pt x="410319" y="136129"/>
                      <a:pt x="431338" y="92976"/>
                    </a:cubicBezTo>
                    <a:cubicBezTo>
                      <a:pt x="453639" y="47035"/>
                      <a:pt x="476721" y="-467"/>
                      <a:pt x="525116" y="-467"/>
                    </a:cubicBezTo>
                    <a:cubicBezTo>
                      <a:pt x="573509" y="-467"/>
                      <a:pt x="596591" y="47035"/>
                      <a:pt x="618893" y="92976"/>
                    </a:cubicBezTo>
                    <a:cubicBezTo>
                      <a:pt x="639912" y="136129"/>
                      <a:pt x="659760" y="176941"/>
                      <a:pt x="697616" y="176941"/>
                    </a:cubicBezTo>
                    <a:cubicBezTo>
                      <a:pt x="735473" y="176941"/>
                      <a:pt x="755377" y="136129"/>
                      <a:pt x="776396" y="92976"/>
                    </a:cubicBezTo>
                    <a:cubicBezTo>
                      <a:pt x="798697" y="47035"/>
                      <a:pt x="821835" y="-467"/>
                      <a:pt x="870174" y="-467"/>
                    </a:cubicBezTo>
                    <a:cubicBezTo>
                      <a:pt x="918511" y="-467"/>
                      <a:pt x="941649" y="47035"/>
                      <a:pt x="964006" y="92976"/>
                    </a:cubicBezTo>
                    <a:cubicBezTo>
                      <a:pt x="984970" y="136129"/>
                      <a:pt x="1004817" y="176941"/>
                      <a:pt x="1042730" y="176941"/>
                    </a:cubicBezTo>
                    <a:cubicBezTo>
                      <a:pt x="1080643" y="176941"/>
                      <a:pt x="1100491" y="136129"/>
                      <a:pt x="1121454" y="92976"/>
                    </a:cubicBezTo>
                    <a:cubicBezTo>
                      <a:pt x="1143755" y="47035"/>
                      <a:pt x="1166893" y="-467"/>
                      <a:pt x="1215231" y="-467"/>
                    </a:cubicBezTo>
                    <a:cubicBezTo>
                      <a:pt x="1219859" y="-467"/>
                      <a:pt x="1223594" y="3280"/>
                      <a:pt x="1223594" y="7896"/>
                    </a:cubicBezTo>
                    <a:cubicBezTo>
                      <a:pt x="1223594" y="12513"/>
                      <a:pt x="1219859" y="16259"/>
                      <a:pt x="1215231" y="16259"/>
                    </a:cubicBezTo>
                    <a:cubicBezTo>
                      <a:pt x="1177375" y="16259"/>
                      <a:pt x="1157526" y="57071"/>
                      <a:pt x="1136507" y="100280"/>
                    </a:cubicBezTo>
                    <a:cubicBezTo>
                      <a:pt x="1113983" y="146165"/>
                      <a:pt x="1090901" y="193667"/>
                      <a:pt x="1042730" y="193667"/>
                    </a:cubicBezTo>
                    <a:close/>
                  </a:path>
                </a:pathLst>
              </a:custGeom>
              <a:solidFill>
                <a:srgbClr val="30373B"/>
              </a:solidFill>
              <a:ln w="5573" cap="flat">
                <a:noFill/>
                <a:prstDash val="solid"/>
                <a:miter/>
              </a:ln>
            </p:spPr>
            <p:txBody>
              <a:bodyPr rtlCol="0" anchor="ctr"/>
              <a:lstStyle/>
              <a:p>
                <a:endParaRPr lang="en-GB"/>
              </a:p>
            </p:txBody>
          </p:sp>
          <p:sp>
            <p:nvSpPr>
              <p:cNvPr id="201" name="Graphic 6">
                <a:extLst>
                  <a:ext uri="{FF2B5EF4-FFF2-40B4-BE49-F238E27FC236}">
                    <a16:creationId xmlns:a16="http://schemas.microsoft.com/office/drawing/2014/main" id="{84718D33-3917-5443-C2C9-3016FB33AAEE}"/>
                  </a:ext>
                </a:extLst>
              </p:cNvPr>
              <p:cNvSpPr/>
              <p:nvPr/>
            </p:nvSpPr>
            <p:spPr>
              <a:xfrm>
                <a:off x="5718453" y="6184359"/>
                <a:ext cx="299786" cy="16726"/>
              </a:xfrm>
              <a:custGeom>
                <a:avLst/>
                <a:gdLst>
                  <a:gd name="connsiteX0" fmla="*/ 290617 w 299786"/>
                  <a:gd name="connsiteY0" fmla="*/ 16259 h 16726"/>
                  <a:gd name="connsiteX1" fmla="*/ 7556 w 299786"/>
                  <a:gd name="connsiteY1" fmla="*/ 16259 h 16726"/>
                  <a:gd name="connsiteX2" fmla="*/ -807 w 299786"/>
                  <a:gd name="connsiteY2" fmla="*/ 7896 h 16726"/>
                  <a:gd name="connsiteX3" fmla="*/ 7556 w 299786"/>
                  <a:gd name="connsiteY3" fmla="*/ -467 h 16726"/>
                  <a:gd name="connsiteX4" fmla="*/ 290617 w 299786"/>
                  <a:gd name="connsiteY4" fmla="*/ -467 h 16726"/>
                  <a:gd name="connsiteX5" fmla="*/ 298980 w 299786"/>
                  <a:gd name="connsiteY5" fmla="*/ 7896 h 16726"/>
                  <a:gd name="connsiteX6" fmla="*/ 290617 w 299786"/>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786" h="16726">
                    <a:moveTo>
                      <a:pt x="290617" y="16259"/>
                    </a:moveTo>
                    <a:lnTo>
                      <a:pt x="7556" y="16259"/>
                    </a:lnTo>
                    <a:cubicBezTo>
                      <a:pt x="2940" y="16259"/>
                      <a:pt x="-807" y="12524"/>
                      <a:pt x="-807" y="7896"/>
                    </a:cubicBezTo>
                    <a:cubicBezTo>
                      <a:pt x="-807" y="3269"/>
                      <a:pt x="2940" y="-467"/>
                      <a:pt x="7556" y="-467"/>
                    </a:cubicBezTo>
                    <a:lnTo>
                      <a:pt x="290617" y="-467"/>
                    </a:lnTo>
                    <a:cubicBezTo>
                      <a:pt x="295233" y="-467"/>
                      <a:pt x="298980" y="3269"/>
                      <a:pt x="298980" y="7896"/>
                    </a:cubicBezTo>
                    <a:cubicBezTo>
                      <a:pt x="298980" y="12524"/>
                      <a:pt x="295233" y="16259"/>
                      <a:pt x="290617" y="16259"/>
                    </a:cubicBezTo>
                    <a:close/>
                  </a:path>
                </a:pathLst>
              </a:custGeom>
              <a:solidFill>
                <a:srgbClr val="30373B"/>
              </a:solidFill>
              <a:ln w="5573" cap="flat">
                <a:noFill/>
                <a:prstDash val="solid"/>
                <a:miter/>
              </a:ln>
            </p:spPr>
            <p:txBody>
              <a:bodyPr rtlCol="0" anchor="ctr"/>
              <a:lstStyle/>
              <a:p>
                <a:endParaRPr lang="en-GB"/>
              </a:p>
            </p:txBody>
          </p:sp>
          <p:sp>
            <p:nvSpPr>
              <p:cNvPr id="202" name="Graphic 6">
                <a:extLst>
                  <a:ext uri="{FF2B5EF4-FFF2-40B4-BE49-F238E27FC236}">
                    <a16:creationId xmlns:a16="http://schemas.microsoft.com/office/drawing/2014/main" id="{DF89199F-4735-4A23-F7C2-5AA2E10E491E}"/>
                  </a:ext>
                </a:extLst>
              </p:cNvPr>
              <p:cNvSpPr/>
              <p:nvPr/>
            </p:nvSpPr>
            <p:spPr>
              <a:xfrm>
                <a:off x="5828064" y="6109316"/>
                <a:ext cx="190174" cy="16726"/>
              </a:xfrm>
              <a:custGeom>
                <a:avLst/>
                <a:gdLst>
                  <a:gd name="connsiteX0" fmla="*/ 181005 w 190174"/>
                  <a:gd name="connsiteY0" fmla="*/ 16259 h 16726"/>
                  <a:gd name="connsiteX1" fmla="*/ 7556 w 190174"/>
                  <a:gd name="connsiteY1" fmla="*/ 16259 h 16726"/>
                  <a:gd name="connsiteX2" fmla="*/ -807 w 190174"/>
                  <a:gd name="connsiteY2" fmla="*/ 7896 h 16726"/>
                  <a:gd name="connsiteX3" fmla="*/ 7556 w 190174"/>
                  <a:gd name="connsiteY3" fmla="*/ -467 h 16726"/>
                  <a:gd name="connsiteX4" fmla="*/ 181005 w 190174"/>
                  <a:gd name="connsiteY4" fmla="*/ -467 h 16726"/>
                  <a:gd name="connsiteX5" fmla="*/ 189368 w 190174"/>
                  <a:gd name="connsiteY5" fmla="*/ 7896 h 16726"/>
                  <a:gd name="connsiteX6" fmla="*/ 181005 w 190174"/>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74" h="16726">
                    <a:moveTo>
                      <a:pt x="181005" y="16259"/>
                    </a:moveTo>
                    <a:lnTo>
                      <a:pt x="7556" y="16259"/>
                    </a:lnTo>
                    <a:cubicBezTo>
                      <a:pt x="2940" y="16259"/>
                      <a:pt x="-807" y="12523"/>
                      <a:pt x="-807" y="7896"/>
                    </a:cubicBezTo>
                    <a:cubicBezTo>
                      <a:pt x="-807" y="3269"/>
                      <a:pt x="2940" y="-467"/>
                      <a:pt x="7556" y="-467"/>
                    </a:cubicBezTo>
                    <a:lnTo>
                      <a:pt x="181005" y="-467"/>
                    </a:lnTo>
                    <a:cubicBezTo>
                      <a:pt x="185622" y="-467"/>
                      <a:pt x="189368" y="3269"/>
                      <a:pt x="189368" y="7896"/>
                    </a:cubicBezTo>
                    <a:cubicBezTo>
                      <a:pt x="189368" y="12523"/>
                      <a:pt x="185622" y="16259"/>
                      <a:pt x="181005" y="16259"/>
                    </a:cubicBezTo>
                    <a:close/>
                  </a:path>
                </a:pathLst>
              </a:custGeom>
              <a:solidFill>
                <a:srgbClr val="30373B"/>
              </a:solidFill>
              <a:ln w="5573" cap="flat">
                <a:noFill/>
                <a:prstDash val="solid"/>
                <a:miter/>
              </a:ln>
            </p:spPr>
            <p:txBody>
              <a:bodyPr rtlCol="0" anchor="ctr"/>
              <a:lstStyle/>
              <a:p>
                <a:endParaRPr lang="en-GB"/>
              </a:p>
            </p:txBody>
          </p:sp>
        </p:grpSp>
      </p:grpSp>
      <p:sp>
        <p:nvSpPr>
          <p:cNvPr id="2" name="TextBox 1">
            <a:extLst>
              <a:ext uri="{FF2B5EF4-FFF2-40B4-BE49-F238E27FC236}">
                <a16:creationId xmlns:a16="http://schemas.microsoft.com/office/drawing/2014/main" id="{6031A85D-62B0-6940-6C9F-8008E5EFB8C8}"/>
              </a:ext>
            </a:extLst>
          </p:cNvPr>
          <p:cNvSpPr txBox="1"/>
          <p:nvPr/>
        </p:nvSpPr>
        <p:spPr>
          <a:xfrm>
            <a:off x="1050622" y="2690336"/>
            <a:ext cx="6419070" cy="369332"/>
          </a:xfrm>
          <a:prstGeom prst="rect">
            <a:avLst/>
          </a:prstGeom>
          <a:noFill/>
        </p:spPr>
        <p:txBody>
          <a:bodyPr wrap="square" rtlCol="0">
            <a:spAutoFit/>
          </a:bodyPr>
          <a:lstStyle/>
          <a:p>
            <a:pPr marL="342900" indent="-342900">
              <a:buFont typeface="Courier New" panose="02070309020205020404" pitchFamily="49" charset="0"/>
              <a:buChar char="o"/>
            </a:pPr>
            <a:endParaRPr lang="da-DK" dirty="0">
              <a:solidFill>
                <a:schemeClr val="bg1"/>
              </a:solidFill>
            </a:endParaRPr>
          </a:p>
        </p:txBody>
      </p:sp>
      <p:sp>
        <p:nvSpPr>
          <p:cNvPr id="3" name="TextBox 2">
            <a:extLst>
              <a:ext uri="{FF2B5EF4-FFF2-40B4-BE49-F238E27FC236}">
                <a16:creationId xmlns:a16="http://schemas.microsoft.com/office/drawing/2014/main" id="{01ECD23F-907A-6279-135E-1CB013168FA7}"/>
              </a:ext>
            </a:extLst>
          </p:cNvPr>
          <p:cNvSpPr txBox="1"/>
          <p:nvPr/>
        </p:nvSpPr>
        <p:spPr>
          <a:xfrm>
            <a:off x="1088698" y="2534332"/>
            <a:ext cx="6419070" cy="3785652"/>
          </a:xfrm>
          <a:prstGeom prst="rect">
            <a:avLst/>
          </a:prstGeom>
          <a:noFill/>
        </p:spPr>
        <p:txBody>
          <a:bodyPr wrap="square" lIns="91440" tIns="45720" rIns="91440" bIns="45720" rtlCol="0" anchor="t">
            <a:spAutoFit/>
          </a:bodyPr>
          <a:lstStyle/>
          <a:p>
            <a:r>
              <a:rPr lang="da-DK" sz="2400" dirty="0">
                <a:solidFill>
                  <a:schemeClr val="bg1"/>
                </a:solidFill>
              </a:rPr>
              <a:t>Aktiviteter: </a:t>
            </a:r>
          </a:p>
          <a:p>
            <a:pPr marL="342900" indent="-342900">
              <a:buFont typeface="Courier New" panose="02070309020205020404" pitchFamily="49" charset="0"/>
              <a:buChar char="o"/>
            </a:pPr>
            <a:r>
              <a:rPr lang="da-DK" sz="2400" dirty="0">
                <a:solidFill>
                  <a:schemeClr val="bg1"/>
                </a:solidFill>
              </a:rPr>
              <a:t>Deltagelse i review af User-</a:t>
            </a:r>
            <a:r>
              <a:rPr lang="da-DK" sz="2400" dirty="0" err="1">
                <a:solidFill>
                  <a:schemeClr val="bg1"/>
                </a:solidFill>
              </a:rPr>
              <a:t>stories</a:t>
            </a:r>
            <a:r>
              <a:rPr lang="da-DK" sz="2400" dirty="0">
                <a:solidFill>
                  <a:schemeClr val="bg1"/>
                </a:solidFill>
              </a:rPr>
              <a:t> og acceptkriterier</a:t>
            </a:r>
          </a:p>
          <a:p>
            <a:pPr marL="342900" indent="-342900">
              <a:buFont typeface="Courier New" panose="02070309020205020404" pitchFamily="49" charset="0"/>
              <a:buChar char="o"/>
            </a:pPr>
            <a:r>
              <a:rPr lang="da-DK" sz="2400" dirty="0">
                <a:solidFill>
                  <a:schemeClr val="bg1"/>
                </a:solidFill>
              </a:rPr>
              <a:t>Deltagelse ved review af UX forslag</a:t>
            </a:r>
          </a:p>
          <a:p>
            <a:pPr marL="342900" indent="-342900">
              <a:buFont typeface="Courier New" panose="02070309020205020404" pitchFamily="49" charset="0"/>
              <a:buChar char="o"/>
            </a:pPr>
            <a:r>
              <a:rPr lang="da-DK" sz="2400" dirty="0">
                <a:solidFill>
                  <a:schemeClr val="bg1"/>
                </a:solidFill>
              </a:rPr>
              <a:t>Deltagelse i review og godkendelse af testcases og </a:t>
            </a:r>
            <a:r>
              <a:rPr lang="da-DK" sz="2400" dirty="0" err="1">
                <a:solidFill>
                  <a:schemeClr val="bg1"/>
                </a:solidFill>
              </a:rPr>
              <a:t>testflows</a:t>
            </a:r>
            <a:endParaRPr lang="da-DK" sz="2400" dirty="0" err="1">
              <a:solidFill>
                <a:schemeClr val="bg1"/>
              </a:solidFill>
              <a:cs typeface="Arial"/>
            </a:endParaRPr>
          </a:p>
          <a:p>
            <a:pPr marL="342900" indent="-342900">
              <a:buFont typeface="Courier New" panose="02070309020205020404" pitchFamily="49" charset="0"/>
              <a:buChar char="o"/>
            </a:pPr>
            <a:r>
              <a:rPr lang="da-DK" sz="2400" dirty="0">
                <a:solidFill>
                  <a:schemeClr val="bg1"/>
                </a:solidFill>
              </a:rPr>
              <a:t>Deltagelse ved sprintdemo</a:t>
            </a:r>
          </a:p>
          <a:p>
            <a:pPr marL="342900" indent="-342900">
              <a:buFont typeface="Courier New" panose="02070309020205020404" pitchFamily="49" charset="0"/>
              <a:buChar char="o"/>
            </a:pPr>
            <a:r>
              <a:rPr lang="da-DK" sz="2400" dirty="0">
                <a:solidFill>
                  <a:schemeClr val="bg1"/>
                </a:solidFill>
              </a:rPr>
              <a:t>Deltagelse i formelle tests (Release, SIT,UAT)</a:t>
            </a:r>
          </a:p>
          <a:p>
            <a:pPr marL="342900" indent="-342900">
              <a:buFont typeface="Courier New" panose="02070309020205020404" pitchFamily="49" charset="0"/>
              <a:buChar char="o"/>
            </a:pPr>
            <a:r>
              <a:rPr lang="da-DK" sz="2400" dirty="0">
                <a:solidFill>
                  <a:schemeClr val="bg1"/>
                </a:solidFill>
              </a:rPr>
              <a:t>Deltagelse i eksplorative afprøvninger</a:t>
            </a:r>
            <a:endParaRPr lang="da-DK" sz="2400" dirty="0">
              <a:solidFill>
                <a:schemeClr val="bg1"/>
              </a:solidFill>
              <a:cs typeface="Arial"/>
            </a:endParaRPr>
          </a:p>
        </p:txBody>
      </p:sp>
    </p:spTree>
    <p:extLst>
      <p:ext uri="{BB962C8B-B14F-4D97-AF65-F5344CB8AC3E}">
        <p14:creationId xmlns:p14="http://schemas.microsoft.com/office/powerpoint/2010/main" val="3082110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97F5A6C-1D14-4603-0C04-6D01E00C6646}"/>
              </a:ext>
            </a:extLst>
          </p:cNvPr>
          <p:cNvSpPr/>
          <p:nvPr/>
        </p:nvSpPr>
        <p:spPr>
          <a:xfrm>
            <a:off x="-116804" y="0"/>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 name="Pladsholder til slidenummer 3">
            <a:extLst>
              <a:ext uri="{FF2B5EF4-FFF2-40B4-BE49-F238E27FC236}">
                <a16:creationId xmlns:a16="http://schemas.microsoft.com/office/drawing/2014/main" id="{FD16CE2B-389C-004B-349A-C26295F05869}"/>
              </a:ext>
            </a:extLst>
          </p:cNvPr>
          <p:cNvSpPr>
            <a:spLocks noGrp="1"/>
          </p:cNvSpPr>
          <p:nvPr>
            <p:ph type="sldNum" sz="quarter" idx="4"/>
          </p:nvPr>
        </p:nvSpPr>
        <p:spPr/>
        <p:txBody>
          <a:bodyPr/>
          <a:lstStyle/>
          <a:p>
            <a:fld id="{39DF810D-F77C-4BB2-BE6A-BDC67BB44902}" type="slidenum">
              <a:rPr lang="da-DK" smtClean="0"/>
              <a:pPr/>
              <a:t>14</a:t>
            </a:fld>
            <a:endParaRPr lang="da-DK"/>
          </a:p>
        </p:txBody>
      </p:sp>
      <p:sp>
        <p:nvSpPr>
          <p:cNvPr id="9" name="Title 5">
            <a:extLst>
              <a:ext uri="{FF2B5EF4-FFF2-40B4-BE49-F238E27FC236}">
                <a16:creationId xmlns:a16="http://schemas.microsoft.com/office/drawing/2014/main" id="{89ADDDCC-48D0-A25D-DEFB-F331C056B171}"/>
              </a:ext>
            </a:extLst>
          </p:cNvPr>
          <p:cNvSpPr txBox="1">
            <a:spLocks/>
          </p:cNvSpPr>
          <p:nvPr/>
        </p:nvSpPr>
        <p:spPr>
          <a:xfrm>
            <a:off x="1052750" y="573878"/>
            <a:ext cx="10331071" cy="784830"/>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1200" dirty="0">
                <a:solidFill>
                  <a:schemeClr val="bg1"/>
                </a:solidFill>
                <a:latin typeface="+mn-lt"/>
              </a:rPr>
              <a:t>Gennemgås ikke</a:t>
            </a:r>
            <a:br>
              <a:rPr lang="da-DK" sz="4800" dirty="0">
                <a:solidFill>
                  <a:schemeClr val="bg1"/>
                </a:solidFill>
                <a:latin typeface="+mn-lt"/>
              </a:rPr>
            </a:br>
            <a:r>
              <a:rPr lang="da-DK" sz="4800" dirty="0">
                <a:solidFill>
                  <a:schemeClr val="bg1"/>
                </a:solidFill>
                <a:latin typeface="+mn-lt"/>
              </a:rPr>
              <a:t>Eksplorative afprøvninger</a:t>
            </a:r>
            <a:endParaRPr lang="nb-NO" sz="4800" dirty="0">
              <a:solidFill>
                <a:schemeClr val="bg1"/>
              </a:solidFill>
              <a:latin typeface="+mn-lt"/>
            </a:endParaRPr>
          </a:p>
        </p:txBody>
      </p:sp>
      <p:grpSp>
        <p:nvGrpSpPr>
          <p:cNvPr id="104" name="Group 103">
            <a:extLst>
              <a:ext uri="{FF2B5EF4-FFF2-40B4-BE49-F238E27FC236}">
                <a16:creationId xmlns:a16="http://schemas.microsoft.com/office/drawing/2014/main" id="{9EE2FA64-324F-3584-E0BE-9E8098D95803}"/>
              </a:ext>
            </a:extLst>
          </p:cNvPr>
          <p:cNvGrpSpPr/>
          <p:nvPr/>
        </p:nvGrpSpPr>
        <p:grpSpPr>
          <a:xfrm>
            <a:off x="8608095" y="573878"/>
            <a:ext cx="2850227" cy="2139255"/>
            <a:chOff x="5088160" y="2252854"/>
            <a:chExt cx="4554050" cy="4063084"/>
          </a:xfrm>
        </p:grpSpPr>
        <p:grpSp>
          <p:nvGrpSpPr>
            <p:cNvPr id="105" name="Group 104">
              <a:extLst>
                <a:ext uri="{FF2B5EF4-FFF2-40B4-BE49-F238E27FC236}">
                  <a16:creationId xmlns:a16="http://schemas.microsoft.com/office/drawing/2014/main" id="{B6CB8F35-B392-0BC9-1DD7-E9A24702FEDB}"/>
                </a:ext>
              </a:extLst>
            </p:cNvPr>
            <p:cNvGrpSpPr/>
            <p:nvPr/>
          </p:nvGrpSpPr>
          <p:grpSpPr>
            <a:xfrm>
              <a:off x="5507648" y="3152769"/>
              <a:ext cx="3209500" cy="3163169"/>
              <a:chOff x="5507648" y="3152769"/>
              <a:chExt cx="3209500" cy="3163169"/>
            </a:xfrm>
          </p:grpSpPr>
          <p:sp>
            <p:nvSpPr>
              <p:cNvPr id="203" name="Graphic 6">
                <a:extLst>
                  <a:ext uri="{FF2B5EF4-FFF2-40B4-BE49-F238E27FC236}">
                    <a16:creationId xmlns:a16="http://schemas.microsoft.com/office/drawing/2014/main" id="{148CE5D1-2EA4-784F-EE8D-1119D4345314}"/>
                  </a:ext>
                </a:extLst>
              </p:cNvPr>
              <p:cNvSpPr/>
              <p:nvPr/>
            </p:nvSpPr>
            <p:spPr>
              <a:xfrm>
                <a:off x="7508973"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579"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579"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4" name="Graphic 6">
                <a:extLst>
                  <a:ext uri="{FF2B5EF4-FFF2-40B4-BE49-F238E27FC236}">
                    <a16:creationId xmlns:a16="http://schemas.microsoft.com/office/drawing/2014/main" id="{A69D2D2C-6EA1-6D4A-918A-D1B645F0357E}"/>
                  </a:ext>
                </a:extLst>
              </p:cNvPr>
              <p:cNvSpPr/>
              <p:nvPr/>
            </p:nvSpPr>
            <p:spPr>
              <a:xfrm>
                <a:off x="5907457"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635"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635"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5" name="Graphic 6">
                <a:extLst>
                  <a:ext uri="{FF2B5EF4-FFF2-40B4-BE49-F238E27FC236}">
                    <a16:creationId xmlns:a16="http://schemas.microsoft.com/office/drawing/2014/main" id="{C7C48635-E34C-5020-CF88-1A69F6D16B34}"/>
                  </a:ext>
                </a:extLst>
              </p:cNvPr>
              <p:cNvSpPr/>
              <p:nvPr/>
            </p:nvSpPr>
            <p:spPr>
              <a:xfrm>
                <a:off x="8131627" y="3835803"/>
                <a:ext cx="325711" cy="325711"/>
              </a:xfrm>
              <a:custGeom>
                <a:avLst/>
                <a:gdLst>
                  <a:gd name="connsiteX0" fmla="*/ 249943 w 325711"/>
                  <a:gd name="connsiteY0" fmla="*/ 0 h 325711"/>
                  <a:gd name="connsiteX1" fmla="*/ 325712 w 325711"/>
                  <a:gd name="connsiteY1" fmla="*/ 0 h 325711"/>
                  <a:gd name="connsiteX2" fmla="*/ 325712 w 325711"/>
                  <a:gd name="connsiteY2" fmla="*/ 325711 h 325711"/>
                  <a:gd name="connsiteX3" fmla="*/ 249943 w 325711"/>
                  <a:gd name="connsiteY3" fmla="*/ 325711 h 325711"/>
                  <a:gd name="connsiteX4" fmla="*/ 75769 w 325711"/>
                  <a:gd name="connsiteY4" fmla="*/ 325711 h 325711"/>
                  <a:gd name="connsiteX5" fmla="*/ 0 w 325711"/>
                  <a:gd name="connsiteY5" fmla="*/ 325711 h 325711"/>
                  <a:gd name="connsiteX6" fmla="*/ 0 w 325711"/>
                  <a:gd name="connsiteY6" fmla="*/ 0 h 325711"/>
                  <a:gd name="connsiteX7" fmla="*/ 75769 w 325711"/>
                  <a:gd name="connsiteY7" fmla="*/ 0 h 32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11" h="325711">
                    <a:moveTo>
                      <a:pt x="249943" y="0"/>
                    </a:moveTo>
                    <a:cubicBezTo>
                      <a:pt x="291789" y="0"/>
                      <a:pt x="325712" y="0"/>
                      <a:pt x="325712" y="0"/>
                    </a:cubicBezTo>
                    <a:lnTo>
                      <a:pt x="325712" y="325711"/>
                    </a:lnTo>
                    <a:cubicBezTo>
                      <a:pt x="325712" y="325711"/>
                      <a:pt x="291789" y="325711"/>
                      <a:pt x="249943" y="325711"/>
                    </a:cubicBezTo>
                    <a:lnTo>
                      <a:pt x="75769" y="325711"/>
                    </a:lnTo>
                    <a:cubicBezTo>
                      <a:pt x="33923" y="325711"/>
                      <a:pt x="0" y="325711"/>
                      <a:pt x="0" y="325711"/>
                    </a:cubicBezTo>
                    <a:lnTo>
                      <a:pt x="0" y="0"/>
                    </a:lnTo>
                    <a:cubicBezTo>
                      <a:pt x="0" y="0"/>
                      <a:pt x="33923" y="0"/>
                      <a:pt x="75769" y="0"/>
                    </a:cubicBezTo>
                    <a:close/>
                  </a:path>
                </a:pathLst>
              </a:custGeom>
              <a:solidFill>
                <a:schemeClr val="accent2"/>
              </a:solidFill>
              <a:ln w="5573" cap="flat">
                <a:noFill/>
                <a:prstDash val="solid"/>
                <a:miter/>
              </a:ln>
            </p:spPr>
            <p:txBody>
              <a:bodyPr rtlCol="0" anchor="ctr"/>
              <a:lstStyle/>
              <a:p>
                <a:endParaRPr lang="en-GB"/>
              </a:p>
            </p:txBody>
          </p:sp>
          <p:sp>
            <p:nvSpPr>
              <p:cNvPr id="206" name="Graphic 6">
                <a:extLst>
                  <a:ext uri="{FF2B5EF4-FFF2-40B4-BE49-F238E27FC236}">
                    <a16:creationId xmlns:a16="http://schemas.microsoft.com/office/drawing/2014/main" id="{D85DE4EF-D8B0-1B1D-3C3E-119C8B2BA794}"/>
                  </a:ext>
                </a:extLst>
              </p:cNvPr>
              <p:cNvSpPr/>
              <p:nvPr/>
            </p:nvSpPr>
            <p:spPr>
              <a:xfrm>
                <a:off x="7522020" y="4946244"/>
                <a:ext cx="435991" cy="435991"/>
              </a:xfrm>
              <a:custGeom>
                <a:avLst/>
                <a:gdLst>
                  <a:gd name="connsiteX0" fmla="*/ 435992 w 435991"/>
                  <a:gd name="connsiteY0" fmla="*/ 217996 h 435991"/>
                  <a:gd name="connsiteX1" fmla="*/ 217996 w 435991"/>
                  <a:gd name="connsiteY1" fmla="*/ 435991 h 435991"/>
                  <a:gd name="connsiteX2" fmla="*/ 0 w 435991"/>
                  <a:gd name="connsiteY2" fmla="*/ 217996 h 435991"/>
                  <a:gd name="connsiteX3" fmla="*/ 217996 w 435991"/>
                  <a:gd name="connsiteY3" fmla="*/ 0 h 435991"/>
                  <a:gd name="connsiteX4" fmla="*/ 435992 w 435991"/>
                  <a:gd name="connsiteY4" fmla="*/ 217996 h 435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91" h="435991">
                    <a:moveTo>
                      <a:pt x="435992" y="217996"/>
                    </a:moveTo>
                    <a:cubicBezTo>
                      <a:pt x="435992" y="338392"/>
                      <a:pt x="338392" y="435991"/>
                      <a:pt x="217996" y="435991"/>
                    </a:cubicBezTo>
                    <a:cubicBezTo>
                      <a:pt x="97600" y="435991"/>
                      <a:pt x="0" y="338391"/>
                      <a:pt x="0" y="217996"/>
                    </a:cubicBezTo>
                    <a:cubicBezTo>
                      <a:pt x="0" y="97600"/>
                      <a:pt x="97600" y="0"/>
                      <a:pt x="217996" y="0"/>
                    </a:cubicBezTo>
                    <a:cubicBezTo>
                      <a:pt x="338392" y="0"/>
                      <a:pt x="435992" y="97600"/>
                      <a:pt x="435992" y="217996"/>
                    </a:cubicBezTo>
                    <a:close/>
                  </a:path>
                </a:pathLst>
              </a:custGeom>
              <a:solidFill>
                <a:schemeClr val="accent2"/>
              </a:solidFill>
              <a:ln w="5573" cap="flat">
                <a:noFill/>
                <a:prstDash val="solid"/>
                <a:miter/>
              </a:ln>
            </p:spPr>
            <p:txBody>
              <a:bodyPr rtlCol="0" anchor="ctr"/>
              <a:lstStyle/>
              <a:p>
                <a:endParaRPr lang="en-GB"/>
              </a:p>
            </p:txBody>
          </p:sp>
          <p:sp>
            <p:nvSpPr>
              <p:cNvPr id="207" name="Graphic 6">
                <a:extLst>
                  <a:ext uri="{FF2B5EF4-FFF2-40B4-BE49-F238E27FC236}">
                    <a16:creationId xmlns:a16="http://schemas.microsoft.com/office/drawing/2014/main" id="{7B794C1F-8F0A-E7A6-0085-07A765D88323}"/>
                  </a:ext>
                </a:extLst>
              </p:cNvPr>
              <p:cNvSpPr/>
              <p:nvPr/>
            </p:nvSpPr>
            <p:spPr>
              <a:xfrm>
                <a:off x="8395842" y="5369370"/>
                <a:ext cx="292649" cy="338353"/>
              </a:xfrm>
              <a:custGeom>
                <a:avLst/>
                <a:gdLst>
                  <a:gd name="connsiteX0" fmla="*/ 287495 w 292649"/>
                  <a:gd name="connsiteY0" fmla="*/ 238813 h 338353"/>
                  <a:gd name="connsiteX1" fmla="*/ 174259 w 292649"/>
                  <a:gd name="connsiteY1" fmla="*/ 203409 h 338353"/>
                  <a:gd name="connsiteX2" fmla="*/ 189034 w 292649"/>
                  <a:gd name="connsiteY2" fmla="*/ 125355 h 338353"/>
                  <a:gd name="connsiteX3" fmla="*/ 291843 w 292649"/>
                  <a:gd name="connsiteY3" fmla="*/ 133495 h 338353"/>
                  <a:gd name="connsiteX4" fmla="*/ 291843 w 292649"/>
                  <a:gd name="connsiteY4" fmla="*/ 105228 h 338353"/>
                  <a:gd name="connsiteX5" fmla="*/ 282533 w 292649"/>
                  <a:gd name="connsiteY5" fmla="*/ 87665 h 338353"/>
                  <a:gd name="connsiteX6" fmla="*/ 157143 w 292649"/>
                  <a:gd name="connsiteY6" fmla="*/ 3088 h 338353"/>
                  <a:gd name="connsiteX7" fmla="*/ 133950 w 292649"/>
                  <a:gd name="connsiteY7" fmla="*/ 3088 h 338353"/>
                  <a:gd name="connsiteX8" fmla="*/ 8560 w 292649"/>
                  <a:gd name="connsiteY8" fmla="*/ 87665 h 338353"/>
                  <a:gd name="connsiteX9" fmla="*/ -807 w 292649"/>
                  <a:gd name="connsiteY9" fmla="*/ 105228 h 338353"/>
                  <a:gd name="connsiteX10" fmla="*/ -807 w 292649"/>
                  <a:gd name="connsiteY10" fmla="*/ 232178 h 338353"/>
                  <a:gd name="connsiteX11" fmla="*/ 8560 w 292649"/>
                  <a:gd name="connsiteY11" fmla="*/ 249741 h 338353"/>
                  <a:gd name="connsiteX12" fmla="*/ 133950 w 292649"/>
                  <a:gd name="connsiteY12" fmla="*/ 334374 h 338353"/>
                  <a:gd name="connsiteX13" fmla="*/ 145490 w 292649"/>
                  <a:gd name="connsiteY13" fmla="*/ 337887 h 338353"/>
                  <a:gd name="connsiteX14" fmla="*/ 157143 w 292649"/>
                  <a:gd name="connsiteY14" fmla="*/ 334374 h 338353"/>
                  <a:gd name="connsiteX15" fmla="*/ 282533 w 292649"/>
                  <a:gd name="connsiteY15" fmla="*/ 249741 h 338353"/>
                  <a:gd name="connsiteX16" fmla="*/ 291397 w 292649"/>
                  <a:gd name="connsiteY16" fmla="*/ 236081 h 33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649" h="338353">
                    <a:moveTo>
                      <a:pt x="287495" y="238813"/>
                    </a:moveTo>
                    <a:lnTo>
                      <a:pt x="174259" y="203409"/>
                    </a:lnTo>
                    <a:lnTo>
                      <a:pt x="189034" y="125355"/>
                    </a:lnTo>
                    <a:lnTo>
                      <a:pt x="291843" y="133495"/>
                    </a:lnTo>
                    <a:lnTo>
                      <a:pt x="291843" y="105228"/>
                    </a:lnTo>
                    <a:cubicBezTo>
                      <a:pt x="291843" y="98203"/>
                      <a:pt x="288331" y="91624"/>
                      <a:pt x="282533" y="87665"/>
                    </a:cubicBezTo>
                    <a:lnTo>
                      <a:pt x="157143" y="3088"/>
                    </a:lnTo>
                    <a:cubicBezTo>
                      <a:pt x="150118" y="-1652"/>
                      <a:pt x="140975" y="-1652"/>
                      <a:pt x="133950" y="3088"/>
                    </a:cubicBezTo>
                    <a:lnTo>
                      <a:pt x="8560" y="87665"/>
                    </a:lnTo>
                    <a:cubicBezTo>
                      <a:pt x="2706" y="91569"/>
                      <a:pt x="-807" y="98203"/>
                      <a:pt x="-807" y="105228"/>
                    </a:cubicBezTo>
                    <a:lnTo>
                      <a:pt x="-807" y="232178"/>
                    </a:lnTo>
                    <a:cubicBezTo>
                      <a:pt x="-807" y="239203"/>
                      <a:pt x="2706" y="245838"/>
                      <a:pt x="8560" y="249741"/>
                    </a:cubicBezTo>
                    <a:lnTo>
                      <a:pt x="133950" y="334374"/>
                    </a:lnTo>
                    <a:cubicBezTo>
                      <a:pt x="137350" y="336660"/>
                      <a:pt x="141365" y="337887"/>
                      <a:pt x="145490" y="337887"/>
                    </a:cubicBezTo>
                    <a:cubicBezTo>
                      <a:pt x="149617" y="337887"/>
                      <a:pt x="153687" y="336660"/>
                      <a:pt x="157143" y="334374"/>
                    </a:cubicBezTo>
                    <a:lnTo>
                      <a:pt x="282533" y="249741"/>
                    </a:lnTo>
                    <a:cubicBezTo>
                      <a:pt x="287216" y="246563"/>
                      <a:pt x="290394" y="241656"/>
                      <a:pt x="291397" y="236081"/>
                    </a:cubicBezTo>
                    <a:close/>
                  </a:path>
                </a:pathLst>
              </a:custGeom>
              <a:solidFill>
                <a:schemeClr val="accent2"/>
              </a:solidFill>
              <a:ln w="5573" cap="flat">
                <a:noFill/>
                <a:prstDash val="solid"/>
                <a:miter/>
              </a:ln>
            </p:spPr>
            <p:txBody>
              <a:bodyPr rtlCol="0" anchor="ctr"/>
              <a:lstStyle/>
              <a:p>
                <a:endParaRPr lang="en-GB"/>
              </a:p>
            </p:txBody>
          </p:sp>
          <p:sp>
            <p:nvSpPr>
              <p:cNvPr id="208" name="Graphic 6">
                <a:extLst>
                  <a:ext uri="{FF2B5EF4-FFF2-40B4-BE49-F238E27FC236}">
                    <a16:creationId xmlns:a16="http://schemas.microsoft.com/office/drawing/2014/main" id="{B872DF55-6743-A3C0-C18F-2766839F234E}"/>
                  </a:ext>
                </a:extLst>
              </p:cNvPr>
              <p:cNvSpPr/>
              <p:nvPr/>
            </p:nvSpPr>
            <p:spPr>
              <a:xfrm>
                <a:off x="5507648" y="6090694"/>
                <a:ext cx="485724" cy="225244"/>
              </a:xfrm>
              <a:custGeom>
                <a:avLst/>
                <a:gdLst>
                  <a:gd name="connsiteX0" fmla="*/ -806 w 485724"/>
                  <a:gd name="connsiteY0" fmla="*/ 176383 h 225244"/>
                  <a:gd name="connsiteX1" fmla="*/ 45235 w 485724"/>
                  <a:gd name="connsiteY1" fmla="*/ 222881 h 225244"/>
                  <a:gd name="connsiteX2" fmla="*/ 78029 w 485724"/>
                  <a:gd name="connsiteY2" fmla="*/ 209500 h 225244"/>
                  <a:gd name="connsiteX3" fmla="*/ 110924 w 485724"/>
                  <a:gd name="connsiteY3" fmla="*/ 176940 h 225244"/>
                  <a:gd name="connsiteX4" fmla="*/ 143484 w 485724"/>
                  <a:gd name="connsiteY4" fmla="*/ 209835 h 225244"/>
                  <a:gd name="connsiteX5" fmla="*/ 176100 w 485724"/>
                  <a:gd name="connsiteY5" fmla="*/ 223550 h 225244"/>
                  <a:gd name="connsiteX6" fmla="*/ 437806 w 485724"/>
                  <a:gd name="connsiteY6" fmla="*/ 224777 h 225244"/>
                  <a:gd name="connsiteX7" fmla="*/ 484249 w 485724"/>
                  <a:gd name="connsiteY7" fmla="*/ 178725 h 225244"/>
                  <a:gd name="connsiteX8" fmla="*/ 484918 w 485724"/>
                  <a:gd name="connsiteY8" fmla="*/ 47871 h 225244"/>
                  <a:gd name="connsiteX9" fmla="*/ 438866 w 485724"/>
                  <a:gd name="connsiteY9" fmla="*/ 1428 h 225244"/>
                  <a:gd name="connsiteX10" fmla="*/ 177159 w 485724"/>
                  <a:gd name="connsiteY10" fmla="*/ 146 h 225244"/>
                  <a:gd name="connsiteX11" fmla="*/ 144432 w 485724"/>
                  <a:gd name="connsiteY11" fmla="*/ 13527 h 225244"/>
                  <a:gd name="connsiteX12" fmla="*/ 111537 w 485724"/>
                  <a:gd name="connsiteY12" fmla="*/ 46087 h 225244"/>
                  <a:gd name="connsiteX13" fmla="*/ 78921 w 485724"/>
                  <a:gd name="connsiteY13" fmla="*/ 13192 h 225244"/>
                  <a:gd name="connsiteX14" fmla="*/ 28743 w 485724"/>
                  <a:gd name="connsiteY14" fmla="*/ 2934 h 225244"/>
                  <a:gd name="connsiteX15" fmla="*/ 13690 w 485724"/>
                  <a:gd name="connsiteY15" fmla="*/ 12914 h 225244"/>
                  <a:gd name="connsiteX16" fmla="*/ -25 w 485724"/>
                  <a:gd name="connsiteY16" fmla="*/ 45530 h 2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5724" h="225244">
                    <a:moveTo>
                      <a:pt x="-806" y="176383"/>
                    </a:moveTo>
                    <a:cubicBezTo>
                      <a:pt x="-934" y="201917"/>
                      <a:pt x="19678" y="222769"/>
                      <a:pt x="45235" y="222881"/>
                    </a:cubicBezTo>
                    <a:cubicBezTo>
                      <a:pt x="57507" y="222937"/>
                      <a:pt x="69304" y="218142"/>
                      <a:pt x="78029" y="209500"/>
                    </a:cubicBezTo>
                    <a:lnTo>
                      <a:pt x="110924" y="176940"/>
                    </a:lnTo>
                    <a:lnTo>
                      <a:pt x="143484" y="209835"/>
                    </a:lnTo>
                    <a:cubicBezTo>
                      <a:pt x="152120" y="218533"/>
                      <a:pt x="163845" y="223438"/>
                      <a:pt x="176100" y="223550"/>
                    </a:cubicBezTo>
                    <a:lnTo>
                      <a:pt x="437806" y="224777"/>
                    </a:lnTo>
                    <a:cubicBezTo>
                      <a:pt x="463341" y="224888"/>
                      <a:pt x="484126" y="204259"/>
                      <a:pt x="484249" y="178725"/>
                    </a:cubicBezTo>
                    <a:lnTo>
                      <a:pt x="484918" y="47871"/>
                    </a:lnTo>
                    <a:cubicBezTo>
                      <a:pt x="485013" y="22336"/>
                      <a:pt x="464400" y="1540"/>
                      <a:pt x="438866" y="1428"/>
                    </a:cubicBezTo>
                    <a:lnTo>
                      <a:pt x="177159" y="146"/>
                    </a:lnTo>
                    <a:cubicBezTo>
                      <a:pt x="164910" y="90"/>
                      <a:pt x="153146" y="4941"/>
                      <a:pt x="144432" y="13527"/>
                    </a:cubicBezTo>
                    <a:lnTo>
                      <a:pt x="111537" y="46087"/>
                    </a:lnTo>
                    <a:lnTo>
                      <a:pt x="78921" y="13192"/>
                    </a:lnTo>
                    <a:cubicBezTo>
                      <a:pt x="65797" y="-21"/>
                      <a:pt x="46004" y="-4091"/>
                      <a:pt x="28743" y="2934"/>
                    </a:cubicBezTo>
                    <a:cubicBezTo>
                      <a:pt x="23112" y="5220"/>
                      <a:pt x="17989" y="8621"/>
                      <a:pt x="13690" y="12914"/>
                    </a:cubicBezTo>
                    <a:cubicBezTo>
                      <a:pt x="4959" y="21500"/>
                      <a:pt x="19" y="33263"/>
                      <a:pt x="-25" y="45530"/>
                    </a:cubicBezTo>
                    <a:close/>
                  </a:path>
                </a:pathLst>
              </a:custGeom>
              <a:solidFill>
                <a:schemeClr val="accent2"/>
              </a:solidFill>
              <a:ln w="5573" cap="flat">
                <a:noFill/>
                <a:prstDash val="solid"/>
                <a:miter/>
              </a:ln>
            </p:spPr>
            <p:txBody>
              <a:bodyPr rtlCol="0" anchor="ctr"/>
              <a:lstStyle/>
              <a:p>
                <a:endParaRPr lang="en-GB"/>
              </a:p>
            </p:txBody>
          </p:sp>
        </p:grpSp>
        <p:grpSp>
          <p:nvGrpSpPr>
            <p:cNvPr id="106" name="Group 105">
              <a:extLst>
                <a:ext uri="{FF2B5EF4-FFF2-40B4-BE49-F238E27FC236}">
                  <a16:creationId xmlns:a16="http://schemas.microsoft.com/office/drawing/2014/main" id="{7BF449A1-D5CD-24B7-7654-166378883C8D}"/>
                </a:ext>
              </a:extLst>
            </p:cNvPr>
            <p:cNvGrpSpPr/>
            <p:nvPr/>
          </p:nvGrpSpPr>
          <p:grpSpPr>
            <a:xfrm>
              <a:off x="5088160" y="2252854"/>
              <a:ext cx="4554050" cy="4023387"/>
              <a:chOff x="5088160" y="2252854"/>
              <a:chExt cx="4554050" cy="4023387"/>
            </a:xfrm>
          </p:grpSpPr>
          <p:sp>
            <p:nvSpPr>
              <p:cNvPr id="107" name="Graphic 6">
                <a:extLst>
                  <a:ext uri="{FF2B5EF4-FFF2-40B4-BE49-F238E27FC236}">
                    <a16:creationId xmlns:a16="http://schemas.microsoft.com/office/drawing/2014/main" id="{ACBB701D-9C4A-0A5F-B37E-BE186E16DB1A}"/>
                  </a:ext>
                </a:extLst>
              </p:cNvPr>
              <p:cNvSpPr/>
              <p:nvPr/>
            </p:nvSpPr>
            <p:spPr>
              <a:xfrm>
                <a:off x="6175301" y="5778799"/>
                <a:ext cx="68023" cy="497392"/>
              </a:xfrm>
              <a:custGeom>
                <a:avLst/>
                <a:gdLst>
                  <a:gd name="connsiteX0" fmla="*/ 7272 w 68023"/>
                  <a:gd name="connsiteY0" fmla="*/ 496920 h 497392"/>
                  <a:gd name="connsiteX1" fmla="*/ 6603 w 68023"/>
                  <a:gd name="connsiteY1" fmla="*/ 496920 h 497392"/>
                  <a:gd name="connsiteX2" fmla="*/ -756 w 68023"/>
                  <a:gd name="connsiteY2" fmla="*/ 487776 h 497392"/>
                  <a:gd name="connsiteX3" fmla="*/ -756 w 68023"/>
                  <a:gd name="connsiteY3" fmla="*/ 487664 h 497392"/>
                  <a:gd name="connsiteX4" fmla="*/ 47582 w 68023"/>
                  <a:gd name="connsiteY4" fmla="*/ 66894 h 497392"/>
                  <a:gd name="connsiteX5" fmla="*/ 50481 w 68023"/>
                  <a:gd name="connsiteY5" fmla="*/ 7516 h 497392"/>
                  <a:gd name="connsiteX6" fmla="*/ 59290 w 68023"/>
                  <a:gd name="connsiteY6" fmla="*/ -457 h 497392"/>
                  <a:gd name="connsiteX7" fmla="*/ 67207 w 68023"/>
                  <a:gd name="connsiteY7" fmla="*/ 8353 h 497392"/>
                  <a:gd name="connsiteX8" fmla="*/ 64308 w 68023"/>
                  <a:gd name="connsiteY8" fmla="*/ 68287 h 497392"/>
                  <a:gd name="connsiteX9" fmla="*/ 15914 w 68023"/>
                  <a:gd name="connsiteY9" fmla="*/ 489560 h 497392"/>
                  <a:gd name="connsiteX10" fmla="*/ 7272 w 68023"/>
                  <a:gd name="connsiteY10" fmla="*/ 496920 h 49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23" h="497392">
                    <a:moveTo>
                      <a:pt x="7272" y="496920"/>
                    </a:moveTo>
                    <a:lnTo>
                      <a:pt x="6603" y="496920"/>
                    </a:lnTo>
                    <a:cubicBezTo>
                      <a:pt x="2032" y="496417"/>
                      <a:pt x="-1258" y="492347"/>
                      <a:pt x="-756" y="487776"/>
                    </a:cubicBezTo>
                    <a:cubicBezTo>
                      <a:pt x="-756" y="487720"/>
                      <a:pt x="-756" y="487720"/>
                      <a:pt x="-756" y="487664"/>
                    </a:cubicBezTo>
                    <a:lnTo>
                      <a:pt x="47582" y="66894"/>
                    </a:lnTo>
                    <a:lnTo>
                      <a:pt x="50481" y="7516"/>
                    </a:lnTo>
                    <a:cubicBezTo>
                      <a:pt x="50704" y="2888"/>
                      <a:pt x="54663" y="-679"/>
                      <a:pt x="59290" y="-457"/>
                    </a:cubicBezTo>
                    <a:cubicBezTo>
                      <a:pt x="63862" y="-178"/>
                      <a:pt x="67430" y="3725"/>
                      <a:pt x="67207" y="8353"/>
                    </a:cubicBezTo>
                    <a:lnTo>
                      <a:pt x="64308" y="68287"/>
                    </a:lnTo>
                    <a:lnTo>
                      <a:pt x="15914" y="489560"/>
                    </a:lnTo>
                    <a:cubicBezTo>
                      <a:pt x="15413" y="493909"/>
                      <a:pt x="11621" y="497086"/>
                      <a:pt x="7272" y="496920"/>
                    </a:cubicBezTo>
                    <a:close/>
                  </a:path>
                </a:pathLst>
              </a:custGeom>
              <a:solidFill>
                <a:srgbClr val="30373B"/>
              </a:solidFill>
              <a:ln w="5573" cap="flat">
                <a:noFill/>
                <a:prstDash val="solid"/>
                <a:miter/>
              </a:ln>
            </p:spPr>
            <p:txBody>
              <a:bodyPr rtlCol="0" anchor="ctr"/>
              <a:lstStyle/>
              <a:p>
                <a:endParaRPr lang="en-GB"/>
              </a:p>
            </p:txBody>
          </p:sp>
          <p:sp>
            <p:nvSpPr>
              <p:cNvPr id="108" name="Graphic 6">
                <a:extLst>
                  <a:ext uri="{FF2B5EF4-FFF2-40B4-BE49-F238E27FC236}">
                    <a16:creationId xmlns:a16="http://schemas.microsoft.com/office/drawing/2014/main" id="{B2317B86-2716-6BFF-3571-8135CD4F2156}"/>
                  </a:ext>
                </a:extLst>
              </p:cNvPr>
              <p:cNvSpPr/>
              <p:nvPr/>
            </p:nvSpPr>
            <p:spPr>
              <a:xfrm>
                <a:off x="6174031" y="5582446"/>
                <a:ext cx="309926" cy="192429"/>
              </a:xfrm>
              <a:custGeom>
                <a:avLst/>
                <a:gdLst>
                  <a:gd name="connsiteX0" fmla="*/ 279336 w 309926"/>
                  <a:gd name="connsiteY0" fmla="*/ 191938 h 192429"/>
                  <a:gd name="connsiteX1" fmla="*/ 205241 w 309926"/>
                  <a:gd name="connsiteY1" fmla="*/ 166738 h 192429"/>
                  <a:gd name="connsiteX2" fmla="*/ 130363 w 309926"/>
                  <a:gd name="connsiteY2" fmla="*/ 136241 h 192429"/>
                  <a:gd name="connsiteX3" fmla="*/ 125401 w 309926"/>
                  <a:gd name="connsiteY3" fmla="*/ 125480 h 192429"/>
                  <a:gd name="connsiteX4" fmla="*/ 135549 w 309926"/>
                  <a:gd name="connsiteY4" fmla="*/ 120351 h 192429"/>
                  <a:gd name="connsiteX5" fmla="*/ 212098 w 309926"/>
                  <a:gd name="connsiteY5" fmla="*/ 151461 h 192429"/>
                  <a:gd name="connsiteX6" fmla="*/ 287365 w 309926"/>
                  <a:gd name="connsiteY6" fmla="*/ 172982 h 192429"/>
                  <a:gd name="connsiteX7" fmla="*/ 288424 w 309926"/>
                  <a:gd name="connsiteY7" fmla="*/ 122804 h 192429"/>
                  <a:gd name="connsiteX8" fmla="*/ 284912 w 309926"/>
                  <a:gd name="connsiteY8" fmla="*/ 105576 h 192429"/>
                  <a:gd name="connsiteX9" fmla="*/ 207192 w 309926"/>
                  <a:gd name="connsiteY9" fmla="*/ 16371 h 192429"/>
                  <a:gd name="connsiteX10" fmla="*/ 118878 w 309926"/>
                  <a:gd name="connsiteY10" fmla="*/ 16371 h 192429"/>
                  <a:gd name="connsiteX11" fmla="*/ 24599 w 309926"/>
                  <a:gd name="connsiteY11" fmla="*/ 82049 h 192429"/>
                  <a:gd name="connsiteX12" fmla="*/ 22146 w 309926"/>
                  <a:gd name="connsiteY12" fmla="*/ 164006 h 192429"/>
                  <a:gd name="connsiteX13" fmla="*/ 131256 w 309926"/>
                  <a:gd name="connsiteY13" fmla="*/ 37055 h 192429"/>
                  <a:gd name="connsiteX14" fmla="*/ 142406 w 309926"/>
                  <a:gd name="connsiteY14" fmla="*/ 33543 h 192429"/>
                  <a:gd name="connsiteX15" fmla="*/ 145919 w 309926"/>
                  <a:gd name="connsiteY15" fmla="*/ 44693 h 192429"/>
                  <a:gd name="connsiteX16" fmla="*/ 145919 w 309926"/>
                  <a:gd name="connsiteY16" fmla="*/ 44693 h 192429"/>
                  <a:gd name="connsiteX17" fmla="*/ 80687 w 309926"/>
                  <a:gd name="connsiteY17" fmla="*/ 141370 h 192429"/>
                  <a:gd name="connsiteX18" fmla="*/ 16236 w 309926"/>
                  <a:gd name="connsiteY18" fmla="*/ 179617 h 192429"/>
                  <a:gd name="connsiteX19" fmla="*/ 8208 w 309926"/>
                  <a:gd name="connsiteY19" fmla="*/ 78201 h 192429"/>
                  <a:gd name="connsiteX20" fmla="*/ 118767 w 309926"/>
                  <a:gd name="connsiteY20" fmla="*/ -467 h 192429"/>
                  <a:gd name="connsiteX21" fmla="*/ 207080 w 309926"/>
                  <a:gd name="connsiteY21" fmla="*/ -467 h 192429"/>
                  <a:gd name="connsiteX22" fmla="*/ 301192 w 309926"/>
                  <a:gd name="connsiteY22" fmla="*/ 102343 h 192429"/>
                  <a:gd name="connsiteX23" fmla="*/ 304704 w 309926"/>
                  <a:gd name="connsiteY23" fmla="*/ 119459 h 192429"/>
                  <a:gd name="connsiteX24" fmla="*/ 297735 w 309926"/>
                  <a:gd name="connsiteY24" fmla="*/ 186028 h 192429"/>
                  <a:gd name="connsiteX25" fmla="*/ 279336 w 309926"/>
                  <a:gd name="connsiteY25" fmla="*/ 191938 h 19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9926" h="192429">
                    <a:moveTo>
                      <a:pt x="279336" y="191938"/>
                    </a:moveTo>
                    <a:cubicBezTo>
                      <a:pt x="261161" y="191938"/>
                      <a:pt x="236295" y="180788"/>
                      <a:pt x="205241" y="166738"/>
                    </a:cubicBezTo>
                    <a:cubicBezTo>
                      <a:pt x="180820" y="155253"/>
                      <a:pt x="155843" y="145049"/>
                      <a:pt x="130363" y="136241"/>
                    </a:cubicBezTo>
                    <a:cubicBezTo>
                      <a:pt x="126014" y="134624"/>
                      <a:pt x="123785" y="129829"/>
                      <a:pt x="125401" y="125480"/>
                    </a:cubicBezTo>
                    <a:cubicBezTo>
                      <a:pt x="126907" y="121410"/>
                      <a:pt x="131367" y="119124"/>
                      <a:pt x="135549" y="120351"/>
                    </a:cubicBezTo>
                    <a:cubicBezTo>
                      <a:pt x="161585" y="129327"/>
                      <a:pt x="187176" y="139753"/>
                      <a:pt x="212098" y="151461"/>
                    </a:cubicBezTo>
                    <a:cubicBezTo>
                      <a:pt x="245550" y="166626"/>
                      <a:pt x="277497" y="180955"/>
                      <a:pt x="287365" y="172982"/>
                    </a:cubicBezTo>
                    <a:cubicBezTo>
                      <a:pt x="291045" y="170083"/>
                      <a:pt x="296062" y="159601"/>
                      <a:pt x="288424" y="122804"/>
                    </a:cubicBezTo>
                    <a:lnTo>
                      <a:pt x="284912" y="105576"/>
                    </a:lnTo>
                    <a:cubicBezTo>
                      <a:pt x="272256" y="42408"/>
                      <a:pt x="267015" y="16371"/>
                      <a:pt x="207192" y="16371"/>
                    </a:cubicBezTo>
                    <a:lnTo>
                      <a:pt x="118878" y="16371"/>
                    </a:lnTo>
                    <a:cubicBezTo>
                      <a:pt x="69927" y="16371"/>
                      <a:pt x="33854" y="41571"/>
                      <a:pt x="24599" y="82049"/>
                    </a:cubicBezTo>
                    <a:cubicBezTo>
                      <a:pt x="7371" y="157650"/>
                      <a:pt x="21533" y="163783"/>
                      <a:pt x="22146" y="164006"/>
                    </a:cubicBezTo>
                    <a:cubicBezTo>
                      <a:pt x="36252" y="169191"/>
                      <a:pt x="89385" y="117005"/>
                      <a:pt x="131256" y="37055"/>
                    </a:cubicBezTo>
                    <a:cubicBezTo>
                      <a:pt x="133374" y="33041"/>
                      <a:pt x="138336" y="31480"/>
                      <a:pt x="142406" y="33543"/>
                    </a:cubicBezTo>
                    <a:cubicBezTo>
                      <a:pt x="146476" y="35661"/>
                      <a:pt x="148037" y="40623"/>
                      <a:pt x="145919" y="44693"/>
                    </a:cubicBezTo>
                    <a:cubicBezTo>
                      <a:pt x="145919" y="44693"/>
                      <a:pt x="145919" y="44693"/>
                      <a:pt x="145919" y="44693"/>
                    </a:cubicBezTo>
                    <a:cubicBezTo>
                      <a:pt x="127966" y="79317"/>
                      <a:pt x="106055" y="111765"/>
                      <a:pt x="80687" y="141370"/>
                    </a:cubicBezTo>
                    <a:cubicBezTo>
                      <a:pt x="53257" y="172369"/>
                      <a:pt x="31569" y="185248"/>
                      <a:pt x="16236" y="179617"/>
                    </a:cubicBezTo>
                    <a:cubicBezTo>
                      <a:pt x="-3389" y="172369"/>
                      <a:pt x="-6065" y="140143"/>
                      <a:pt x="8208" y="78201"/>
                    </a:cubicBezTo>
                    <a:cubicBezTo>
                      <a:pt x="19359" y="29696"/>
                      <a:pt x="61620" y="-467"/>
                      <a:pt x="118767" y="-467"/>
                    </a:cubicBezTo>
                    <a:lnTo>
                      <a:pt x="207080" y="-467"/>
                    </a:lnTo>
                    <a:cubicBezTo>
                      <a:pt x="280619" y="-467"/>
                      <a:pt x="288815" y="40456"/>
                      <a:pt x="301192" y="102343"/>
                    </a:cubicBezTo>
                    <a:cubicBezTo>
                      <a:pt x="302307" y="107918"/>
                      <a:pt x="303478" y="113494"/>
                      <a:pt x="304704" y="119459"/>
                    </a:cubicBezTo>
                    <a:cubicBezTo>
                      <a:pt x="312231" y="155643"/>
                      <a:pt x="310280" y="176160"/>
                      <a:pt x="297735" y="186028"/>
                    </a:cubicBezTo>
                    <a:cubicBezTo>
                      <a:pt x="292495" y="190099"/>
                      <a:pt x="285971" y="192217"/>
                      <a:pt x="279336" y="191938"/>
                    </a:cubicBezTo>
                    <a:close/>
                  </a:path>
                </a:pathLst>
              </a:custGeom>
              <a:solidFill>
                <a:srgbClr val="30373B"/>
              </a:solidFill>
              <a:ln w="5573" cap="flat">
                <a:noFill/>
                <a:prstDash val="solid"/>
                <a:miter/>
              </a:ln>
            </p:spPr>
            <p:txBody>
              <a:bodyPr rtlCol="0" anchor="ctr"/>
              <a:lstStyle/>
              <a:p>
                <a:endParaRPr lang="en-GB"/>
              </a:p>
            </p:txBody>
          </p:sp>
          <p:sp>
            <p:nvSpPr>
              <p:cNvPr id="109" name="Graphic 6">
                <a:extLst>
                  <a:ext uri="{FF2B5EF4-FFF2-40B4-BE49-F238E27FC236}">
                    <a16:creationId xmlns:a16="http://schemas.microsoft.com/office/drawing/2014/main" id="{FE6EB57C-8782-8224-C270-1279A9462BCA}"/>
                  </a:ext>
                </a:extLst>
              </p:cNvPr>
              <p:cNvSpPr/>
              <p:nvPr/>
            </p:nvSpPr>
            <p:spPr>
              <a:xfrm>
                <a:off x="6250492" y="5415353"/>
                <a:ext cx="143189" cy="183762"/>
              </a:xfrm>
              <a:custGeom>
                <a:avLst/>
                <a:gdLst>
                  <a:gd name="connsiteX0" fmla="*/ 70797 w 143189"/>
                  <a:gd name="connsiteY0" fmla="*/ 183296 h 183762"/>
                  <a:gd name="connsiteX1" fmla="*/ -289 w 143189"/>
                  <a:gd name="connsiteY1" fmla="*/ 92140 h 183762"/>
                  <a:gd name="connsiteX2" fmla="*/ 19503 w 143189"/>
                  <a:gd name="connsiteY2" fmla="*/ 20608 h 183762"/>
                  <a:gd name="connsiteX3" fmla="*/ 122089 w 143189"/>
                  <a:gd name="connsiteY3" fmla="*/ 20608 h 183762"/>
                  <a:gd name="connsiteX4" fmla="*/ 141882 w 143189"/>
                  <a:gd name="connsiteY4" fmla="*/ 92140 h 183762"/>
                  <a:gd name="connsiteX5" fmla="*/ 131289 w 143189"/>
                  <a:gd name="connsiteY5" fmla="*/ 134289 h 183762"/>
                  <a:gd name="connsiteX6" fmla="*/ 120194 w 143189"/>
                  <a:gd name="connsiteY6" fmla="*/ 138526 h 183762"/>
                  <a:gd name="connsiteX7" fmla="*/ 120138 w 143189"/>
                  <a:gd name="connsiteY7" fmla="*/ 138526 h 183762"/>
                  <a:gd name="connsiteX8" fmla="*/ 115845 w 143189"/>
                  <a:gd name="connsiteY8" fmla="*/ 127487 h 183762"/>
                  <a:gd name="connsiteX9" fmla="*/ 115901 w 143189"/>
                  <a:gd name="connsiteY9" fmla="*/ 127375 h 183762"/>
                  <a:gd name="connsiteX10" fmla="*/ 125100 w 143189"/>
                  <a:gd name="connsiteY10" fmla="*/ 90578 h 183762"/>
                  <a:gd name="connsiteX11" fmla="*/ 109656 w 143189"/>
                  <a:gd name="connsiteY11" fmla="*/ 31759 h 183762"/>
                  <a:gd name="connsiteX12" fmla="*/ 31602 w 143189"/>
                  <a:gd name="connsiteY12" fmla="*/ 31759 h 183762"/>
                  <a:gd name="connsiteX13" fmla="*/ 16102 w 143189"/>
                  <a:gd name="connsiteY13" fmla="*/ 90522 h 183762"/>
                  <a:gd name="connsiteX14" fmla="*/ 70517 w 143189"/>
                  <a:gd name="connsiteY14" fmla="*/ 166403 h 183762"/>
                  <a:gd name="connsiteX15" fmla="*/ 78880 w 143189"/>
                  <a:gd name="connsiteY15" fmla="*/ 174766 h 183762"/>
                  <a:gd name="connsiteX16" fmla="*/ 70517 w 143189"/>
                  <a:gd name="connsiteY16" fmla="*/ 183129 h 18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189" h="183762">
                    <a:moveTo>
                      <a:pt x="70797" y="183296"/>
                    </a:moveTo>
                    <a:cubicBezTo>
                      <a:pt x="31769" y="183296"/>
                      <a:pt x="3558" y="136017"/>
                      <a:pt x="-289" y="92140"/>
                    </a:cubicBezTo>
                    <a:cubicBezTo>
                      <a:pt x="-2854" y="62813"/>
                      <a:pt x="4171" y="37389"/>
                      <a:pt x="19503" y="20608"/>
                    </a:cubicBezTo>
                    <a:cubicBezTo>
                      <a:pt x="47938" y="-7492"/>
                      <a:pt x="93655" y="-7492"/>
                      <a:pt x="122089" y="20608"/>
                    </a:cubicBezTo>
                    <a:cubicBezTo>
                      <a:pt x="137422" y="37334"/>
                      <a:pt x="144391" y="62813"/>
                      <a:pt x="141882" y="92140"/>
                    </a:cubicBezTo>
                    <a:cubicBezTo>
                      <a:pt x="140712" y="106691"/>
                      <a:pt x="137143" y="120908"/>
                      <a:pt x="131289" y="134289"/>
                    </a:cubicBezTo>
                    <a:cubicBezTo>
                      <a:pt x="129393" y="138526"/>
                      <a:pt x="124431" y="140422"/>
                      <a:pt x="120194" y="138526"/>
                    </a:cubicBezTo>
                    <a:cubicBezTo>
                      <a:pt x="120138" y="138526"/>
                      <a:pt x="120138" y="138526"/>
                      <a:pt x="120138" y="138526"/>
                    </a:cubicBezTo>
                    <a:cubicBezTo>
                      <a:pt x="115901" y="136686"/>
                      <a:pt x="114005" y="131724"/>
                      <a:pt x="115845" y="127487"/>
                    </a:cubicBezTo>
                    <a:cubicBezTo>
                      <a:pt x="115845" y="127487"/>
                      <a:pt x="115901" y="127431"/>
                      <a:pt x="115901" y="127375"/>
                    </a:cubicBezTo>
                    <a:cubicBezTo>
                      <a:pt x="120975" y="115723"/>
                      <a:pt x="124097" y="103290"/>
                      <a:pt x="125100" y="90578"/>
                    </a:cubicBezTo>
                    <a:cubicBezTo>
                      <a:pt x="127275" y="65936"/>
                      <a:pt x="121755" y="45083"/>
                      <a:pt x="109656" y="31759"/>
                    </a:cubicBezTo>
                    <a:cubicBezTo>
                      <a:pt x="87857" y="10795"/>
                      <a:pt x="53401" y="10795"/>
                      <a:pt x="31602" y="31759"/>
                    </a:cubicBezTo>
                    <a:cubicBezTo>
                      <a:pt x="19448" y="45028"/>
                      <a:pt x="13928" y="65880"/>
                      <a:pt x="16102" y="90522"/>
                    </a:cubicBezTo>
                    <a:cubicBezTo>
                      <a:pt x="20451" y="140031"/>
                      <a:pt x="50502" y="166403"/>
                      <a:pt x="70517" y="166403"/>
                    </a:cubicBezTo>
                    <a:cubicBezTo>
                      <a:pt x="75145" y="166403"/>
                      <a:pt x="78880" y="170138"/>
                      <a:pt x="78880" y="174766"/>
                    </a:cubicBezTo>
                    <a:cubicBezTo>
                      <a:pt x="78880" y="179394"/>
                      <a:pt x="75145" y="183129"/>
                      <a:pt x="70517" y="183129"/>
                    </a:cubicBezTo>
                    <a:close/>
                  </a:path>
                </a:pathLst>
              </a:custGeom>
              <a:solidFill>
                <a:srgbClr val="30373B"/>
              </a:solidFill>
              <a:ln w="5573" cap="flat">
                <a:noFill/>
                <a:prstDash val="solid"/>
                <a:miter/>
              </a:ln>
            </p:spPr>
            <p:txBody>
              <a:bodyPr rtlCol="0" anchor="ctr"/>
              <a:lstStyle/>
              <a:p>
                <a:endParaRPr lang="en-GB"/>
              </a:p>
            </p:txBody>
          </p:sp>
          <p:sp>
            <p:nvSpPr>
              <p:cNvPr id="110" name="Graphic 6">
                <a:extLst>
                  <a:ext uri="{FF2B5EF4-FFF2-40B4-BE49-F238E27FC236}">
                    <a16:creationId xmlns:a16="http://schemas.microsoft.com/office/drawing/2014/main" id="{D01AE15E-6057-0C79-9475-AD84391C8A37}"/>
                  </a:ext>
                </a:extLst>
              </p:cNvPr>
              <p:cNvSpPr/>
              <p:nvPr/>
            </p:nvSpPr>
            <p:spPr>
              <a:xfrm>
                <a:off x="6373644" y="5800148"/>
                <a:ext cx="47022" cy="474589"/>
              </a:xfrm>
              <a:custGeom>
                <a:avLst/>
                <a:gdLst>
                  <a:gd name="connsiteX0" fmla="*/ 7579 w 47022"/>
                  <a:gd name="connsiteY0" fmla="*/ 474122 h 474589"/>
                  <a:gd name="connsiteX1" fmla="*/ 6966 w 47022"/>
                  <a:gd name="connsiteY1" fmla="*/ 474122 h 474589"/>
                  <a:gd name="connsiteX2" fmla="*/ -784 w 47022"/>
                  <a:gd name="connsiteY2" fmla="*/ 465145 h 474589"/>
                  <a:gd name="connsiteX3" fmla="*/ 29434 w 47022"/>
                  <a:gd name="connsiteY3" fmla="*/ 44820 h 474589"/>
                  <a:gd name="connsiteX4" fmla="*/ 27427 w 47022"/>
                  <a:gd name="connsiteY4" fmla="*/ 8358 h 474589"/>
                  <a:gd name="connsiteX5" fmla="*/ 35344 w 47022"/>
                  <a:gd name="connsiteY5" fmla="*/ -451 h 474589"/>
                  <a:gd name="connsiteX6" fmla="*/ 44153 w 47022"/>
                  <a:gd name="connsiteY6" fmla="*/ 7409 h 474589"/>
                  <a:gd name="connsiteX7" fmla="*/ 46216 w 47022"/>
                  <a:gd name="connsiteY7" fmla="*/ 44430 h 474589"/>
                  <a:gd name="connsiteX8" fmla="*/ 46216 w 47022"/>
                  <a:gd name="connsiteY8" fmla="*/ 45489 h 474589"/>
                  <a:gd name="connsiteX9" fmla="*/ 15998 w 47022"/>
                  <a:gd name="connsiteY9" fmla="*/ 466372 h 474589"/>
                  <a:gd name="connsiteX10" fmla="*/ 7579 w 47022"/>
                  <a:gd name="connsiteY10" fmla="*/ 474122 h 47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22" h="474589">
                    <a:moveTo>
                      <a:pt x="7579" y="474122"/>
                    </a:moveTo>
                    <a:lnTo>
                      <a:pt x="6966" y="474122"/>
                    </a:lnTo>
                    <a:cubicBezTo>
                      <a:pt x="2338" y="473787"/>
                      <a:pt x="-1119" y="469773"/>
                      <a:pt x="-784" y="465145"/>
                    </a:cubicBezTo>
                    <a:lnTo>
                      <a:pt x="29434" y="44820"/>
                    </a:lnTo>
                    <a:lnTo>
                      <a:pt x="27427" y="8358"/>
                    </a:lnTo>
                    <a:cubicBezTo>
                      <a:pt x="27148" y="3730"/>
                      <a:pt x="30717" y="-229"/>
                      <a:pt x="35344" y="-451"/>
                    </a:cubicBezTo>
                    <a:cubicBezTo>
                      <a:pt x="39916" y="-730"/>
                      <a:pt x="43874" y="2782"/>
                      <a:pt x="44153" y="7409"/>
                    </a:cubicBezTo>
                    <a:lnTo>
                      <a:pt x="46216" y="44430"/>
                    </a:lnTo>
                    <a:lnTo>
                      <a:pt x="46216" y="45489"/>
                    </a:lnTo>
                    <a:lnTo>
                      <a:pt x="15998" y="466372"/>
                    </a:lnTo>
                    <a:cubicBezTo>
                      <a:pt x="15663" y="470776"/>
                      <a:pt x="11984" y="474177"/>
                      <a:pt x="7579" y="474122"/>
                    </a:cubicBezTo>
                    <a:close/>
                  </a:path>
                </a:pathLst>
              </a:custGeom>
              <a:solidFill>
                <a:srgbClr val="30373B"/>
              </a:solidFill>
              <a:ln w="5573" cap="flat">
                <a:noFill/>
                <a:prstDash val="solid"/>
                <a:miter/>
              </a:ln>
            </p:spPr>
            <p:txBody>
              <a:bodyPr rtlCol="0" anchor="ctr"/>
              <a:lstStyle/>
              <a:p>
                <a:endParaRPr lang="en-GB"/>
              </a:p>
            </p:txBody>
          </p:sp>
          <p:sp>
            <p:nvSpPr>
              <p:cNvPr id="111" name="Graphic 6">
                <a:extLst>
                  <a:ext uri="{FF2B5EF4-FFF2-40B4-BE49-F238E27FC236}">
                    <a16:creationId xmlns:a16="http://schemas.microsoft.com/office/drawing/2014/main" id="{79EEC0F6-A6E2-A4D5-5CC6-7AF98AEAA14F}"/>
                  </a:ext>
                </a:extLst>
              </p:cNvPr>
              <p:cNvSpPr/>
              <p:nvPr/>
            </p:nvSpPr>
            <p:spPr>
              <a:xfrm>
                <a:off x="6228344" y="5918566"/>
                <a:ext cx="102565" cy="357662"/>
              </a:xfrm>
              <a:custGeom>
                <a:avLst/>
                <a:gdLst>
                  <a:gd name="connsiteX0" fmla="*/ 7530 w 102565"/>
                  <a:gd name="connsiteY0" fmla="*/ 357153 h 357662"/>
                  <a:gd name="connsiteX1" fmla="*/ 5467 w 102565"/>
                  <a:gd name="connsiteY1" fmla="*/ 357153 h 357662"/>
                  <a:gd name="connsiteX2" fmla="*/ -554 w 102565"/>
                  <a:gd name="connsiteY2" fmla="*/ 347006 h 357662"/>
                  <a:gd name="connsiteX3" fmla="*/ 84972 w 102565"/>
                  <a:gd name="connsiteY3" fmla="*/ 6910 h 357662"/>
                  <a:gd name="connsiteX4" fmla="*/ 94394 w 102565"/>
                  <a:gd name="connsiteY4" fmla="*/ -393 h 357662"/>
                  <a:gd name="connsiteX5" fmla="*/ 101698 w 102565"/>
                  <a:gd name="connsiteY5" fmla="*/ 8973 h 357662"/>
                  <a:gd name="connsiteX6" fmla="*/ 101698 w 102565"/>
                  <a:gd name="connsiteY6" fmla="*/ 348735 h 357662"/>
                  <a:gd name="connsiteX7" fmla="*/ 93335 w 102565"/>
                  <a:gd name="connsiteY7" fmla="*/ 357098 h 357662"/>
                  <a:gd name="connsiteX8" fmla="*/ 84972 w 102565"/>
                  <a:gd name="connsiteY8" fmla="*/ 348735 h 357662"/>
                  <a:gd name="connsiteX9" fmla="*/ 84972 w 102565"/>
                  <a:gd name="connsiteY9" fmla="*/ 76434 h 357662"/>
                  <a:gd name="connsiteX10" fmla="*/ 15893 w 102565"/>
                  <a:gd name="connsiteY10" fmla="*/ 350797 h 357662"/>
                  <a:gd name="connsiteX11" fmla="*/ 7530 w 102565"/>
                  <a:gd name="connsiteY11" fmla="*/ 357153 h 35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565" h="357662">
                    <a:moveTo>
                      <a:pt x="7530" y="357153"/>
                    </a:moveTo>
                    <a:cubicBezTo>
                      <a:pt x="6861" y="357209"/>
                      <a:pt x="6136" y="357209"/>
                      <a:pt x="5467" y="357153"/>
                    </a:cubicBezTo>
                    <a:cubicBezTo>
                      <a:pt x="1007" y="355982"/>
                      <a:pt x="-1669" y="351466"/>
                      <a:pt x="-554" y="347006"/>
                    </a:cubicBezTo>
                    <a:lnTo>
                      <a:pt x="84972" y="6910"/>
                    </a:lnTo>
                    <a:cubicBezTo>
                      <a:pt x="85530" y="2283"/>
                      <a:pt x="89767" y="-1006"/>
                      <a:pt x="94394" y="-393"/>
                    </a:cubicBezTo>
                    <a:cubicBezTo>
                      <a:pt x="98966" y="164"/>
                      <a:pt x="102256" y="4346"/>
                      <a:pt x="101698" y="8973"/>
                    </a:cubicBezTo>
                    <a:lnTo>
                      <a:pt x="101698" y="348735"/>
                    </a:lnTo>
                    <a:cubicBezTo>
                      <a:pt x="101698" y="353362"/>
                      <a:pt x="97963" y="357098"/>
                      <a:pt x="93335" y="357098"/>
                    </a:cubicBezTo>
                    <a:cubicBezTo>
                      <a:pt x="88707" y="357098"/>
                      <a:pt x="84972" y="353362"/>
                      <a:pt x="84972" y="348735"/>
                    </a:cubicBezTo>
                    <a:lnTo>
                      <a:pt x="84972" y="76434"/>
                    </a:lnTo>
                    <a:lnTo>
                      <a:pt x="15893" y="350797"/>
                    </a:lnTo>
                    <a:cubicBezTo>
                      <a:pt x="14946" y="354588"/>
                      <a:pt x="11433" y="357264"/>
                      <a:pt x="7530" y="357153"/>
                    </a:cubicBezTo>
                    <a:close/>
                  </a:path>
                </a:pathLst>
              </a:custGeom>
              <a:solidFill>
                <a:srgbClr val="30373B"/>
              </a:solidFill>
              <a:ln w="5573" cap="flat">
                <a:noFill/>
                <a:prstDash val="solid"/>
                <a:miter/>
              </a:ln>
            </p:spPr>
            <p:txBody>
              <a:bodyPr rtlCol="0" anchor="ctr"/>
              <a:lstStyle/>
              <a:p>
                <a:endParaRPr lang="en-GB"/>
              </a:p>
            </p:txBody>
          </p:sp>
          <p:sp>
            <p:nvSpPr>
              <p:cNvPr id="112" name="Graphic 6">
                <a:extLst>
                  <a:ext uri="{FF2B5EF4-FFF2-40B4-BE49-F238E27FC236}">
                    <a16:creationId xmlns:a16="http://schemas.microsoft.com/office/drawing/2014/main" id="{E0BC5D10-3188-E318-77FB-F20F0E4AABCE}"/>
                  </a:ext>
                </a:extLst>
              </p:cNvPr>
              <p:cNvSpPr/>
              <p:nvPr/>
            </p:nvSpPr>
            <p:spPr>
              <a:xfrm>
                <a:off x="9575903" y="5824226"/>
                <a:ext cx="45922" cy="439024"/>
              </a:xfrm>
              <a:custGeom>
                <a:avLst/>
                <a:gdLst>
                  <a:gd name="connsiteX0" fmla="*/ 7572 w 45922"/>
                  <a:gd name="connsiteY0" fmla="*/ 438557 h 439024"/>
                  <a:gd name="connsiteX1" fmla="*/ 6959 w 45922"/>
                  <a:gd name="connsiteY1" fmla="*/ 438557 h 439024"/>
                  <a:gd name="connsiteX2" fmla="*/ -791 w 45922"/>
                  <a:gd name="connsiteY2" fmla="*/ 429637 h 439024"/>
                  <a:gd name="connsiteX3" fmla="*/ 28368 w 45922"/>
                  <a:gd name="connsiteY3" fmla="*/ 7361 h 439024"/>
                  <a:gd name="connsiteX4" fmla="*/ 37288 w 45922"/>
                  <a:gd name="connsiteY4" fmla="*/ -445 h 439024"/>
                  <a:gd name="connsiteX5" fmla="*/ 45094 w 45922"/>
                  <a:gd name="connsiteY5" fmla="*/ 8476 h 439024"/>
                  <a:gd name="connsiteX6" fmla="*/ 15935 w 45922"/>
                  <a:gd name="connsiteY6" fmla="*/ 430752 h 439024"/>
                  <a:gd name="connsiteX7" fmla="*/ 7572 w 45922"/>
                  <a:gd name="connsiteY7" fmla="*/ 438557 h 43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22" h="439024">
                    <a:moveTo>
                      <a:pt x="7572" y="438557"/>
                    </a:moveTo>
                    <a:lnTo>
                      <a:pt x="6959" y="438557"/>
                    </a:lnTo>
                    <a:cubicBezTo>
                      <a:pt x="2387" y="438223"/>
                      <a:pt x="-1069" y="434209"/>
                      <a:pt x="-791" y="429637"/>
                    </a:cubicBezTo>
                    <a:lnTo>
                      <a:pt x="28368" y="7361"/>
                    </a:lnTo>
                    <a:cubicBezTo>
                      <a:pt x="28703" y="2734"/>
                      <a:pt x="32661" y="-779"/>
                      <a:pt x="37288" y="-445"/>
                    </a:cubicBezTo>
                    <a:cubicBezTo>
                      <a:pt x="41916" y="-110"/>
                      <a:pt x="45429" y="3848"/>
                      <a:pt x="45094" y="8476"/>
                    </a:cubicBezTo>
                    <a:lnTo>
                      <a:pt x="15935" y="430752"/>
                    </a:lnTo>
                    <a:cubicBezTo>
                      <a:pt x="15657" y="435157"/>
                      <a:pt x="11977" y="438613"/>
                      <a:pt x="7572" y="438557"/>
                    </a:cubicBezTo>
                    <a:close/>
                  </a:path>
                </a:pathLst>
              </a:custGeom>
              <a:solidFill>
                <a:srgbClr val="30373B"/>
              </a:solidFill>
              <a:ln w="5573" cap="flat">
                <a:noFill/>
                <a:prstDash val="solid"/>
                <a:miter/>
              </a:ln>
            </p:spPr>
            <p:txBody>
              <a:bodyPr rtlCol="0" anchor="ctr"/>
              <a:lstStyle/>
              <a:p>
                <a:endParaRPr lang="en-GB"/>
              </a:p>
            </p:txBody>
          </p:sp>
          <p:sp>
            <p:nvSpPr>
              <p:cNvPr id="113" name="Graphic 6">
                <a:extLst>
                  <a:ext uri="{FF2B5EF4-FFF2-40B4-BE49-F238E27FC236}">
                    <a16:creationId xmlns:a16="http://schemas.microsoft.com/office/drawing/2014/main" id="{17420BC4-BB95-08F8-FC59-07CCFDC8E078}"/>
                  </a:ext>
                </a:extLst>
              </p:cNvPr>
              <p:cNvSpPr/>
              <p:nvPr/>
            </p:nvSpPr>
            <p:spPr>
              <a:xfrm>
                <a:off x="9428242" y="5557517"/>
                <a:ext cx="213968" cy="283462"/>
              </a:xfrm>
              <a:custGeom>
                <a:avLst/>
                <a:gdLst>
                  <a:gd name="connsiteX0" fmla="*/ 43114 w 213968"/>
                  <a:gd name="connsiteY0" fmla="*/ 282990 h 283462"/>
                  <a:gd name="connsiteX1" fmla="*/ 34416 w 213968"/>
                  <a:gd name="connsiteY1" fmla="*/ 274962 h 283462"/>
                  <a:gd name="connsiteX2" fmla="*/ 42500 w 213968"/>
                  <a:gd name="connsiteY2" fmla="*/ 266264 h 283462"/>
                  <a:gd name="connsiteX3" fmla="*/ 120555 w 213968"/>
                  <a:gd name="connsiteY3" fmla="*/ 243015 h 283462"/>
                  <a:gd name="connsiteX4" fmla="*/ 196435 w 213968"/>
                  <a:gd name="connsiteY4" fmla="*/ 118295 h 283462"/>
                  <a:gd name="connsiteX5" fmla="*/ 122785 w 213968"/>
                  <a:gd name="connsiteY5" fmla="*/ 16266 h 283462"/>
                  <a:gd name="connsiteX6" fmla="*/ 47852 w 213968"/>
                  <a:gd name="connsiteY6" fmla="*/ 16266 h 283462"/>
                  <a:gd name="connsiteX7" fmla="*/ 21649 w 213968"/>
                  <a:gd name="connsiteY7" fmla="*/ 25466 h 283462"/>
                  <a:gd name="connsiteX8" fmla="*/ 2302 w 213968"/>
                  <a:gd name="connsiteY8" fmla="*/ 20949 h 283462"/>
                  <a:gd name="connsiteX9" fmla="*/ 47852 w 213968"/>
                  <a:gd name="connsiteY9" fmla="*/ -460 h 283462"/>
                  <a:gd name="connsiteX10" fmla="*/ 122785 w 213968"/>
                  <a:gd name="connsiteY10" fmla="*/ -460 h 283462"/>
                  <a:gd name="connsiteX11" fmla="*/ 213161 w 213968"/>
                  <a:gd name="connsiteY11" fmla="*/ 118295 h 283462"/>
                  <a:gd name="connsiteX12" fmla="*/ 43783 w 213968"/>
                  <a:gd name="connsiteY12" fmla="*/ 282935 h 28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968" h="283462">
                    <a:moveTo>
                      <a:pt x="43114" y="282990"/>
                    </a:moveTo>
                    <a:cubicBezTo>
                      <a:pt x="38486" y="283158"/>
                      <a:pt x="34639" y="279534"/>
                      <a:pt x="34416" y="274962"/>
                    </a:cubicBezTo>
                    <a:cubicBezTo>
                      <a:pt x="34249" y="270334"/>
                      <a:pt x="37873" y="266432"/>
                      <a:pt x="42500" y="266264"/>
                    </a:cubicBezTo>
                    <a:cubicBezTo>
                      <a:pt x="69708" y="263254"/>
                      <a:pt x="96135" y="255393"/>
                      <a:pt x="120555" y="243015"/>
                    </a:cubicBezTo>
                    <a:cubicBezTo>
                      <a:pt x="170733" y="216644"/>
                      <a:pt x="196435" y="174717"/>
                      <a:pt x="196435" y="118295"/>
                    </a:cubicBezTo>
                    <a:cubicBezTo>
                      <a:pt x="196435" y="26357"/>
                      <a:pt x="172852" y="16266"/>
                      <a:pt x="122785" y="16266"/>
                    </a:cubicBezTo>
                    <a:lnTo>
                      <a:pt x="47852" y="16266"/>
                    </a:lnTo>
                    <a:cubicBezTo>
                      <a:pt x="38319" y="16099"/>
                      <a:pt x="29008" y="19388"/>
                      <a:pt x="21649" y="25466"/>
                    </a:cubicBezTo>
                    <a:cubicBezTo>
                      <a:pt x="9438" y="35389"/>
                      <a:pt x="-7957" y="32769"/>
                      <a:pt x="2302" y="20949"/>
                    </a:cubicBezTo>
                    <a:cubicBezTo>
                      <a:pt x="13397" y="7179"/>
                      <a:pt x="30179" y="-739"/>
                      <a:pt x="47852" y="-460"/>
                    </a:cubicBezTo>
                    <a:lnTo>
                      <a:pt x="122785" y="-460"/>
                    </a:lnTo>
                    <a:cubicBezTo>
                      <a:pt x="182720" y="-460"/>
                      <a:pt x="213161" y="17939"/>
                      <a:pt x="213161" y="118295"/>
                    </a:cubicBezTo>
                    <a:cubicBezTo>
                      <a:pt x="213161" y="268829"/>
                      <a:pt x="45455" y="282823"/>
                      <a:pt x="43783" y="282935"/>
                    </a:cubicBezTo>
                    <a:close/>
                  </a:path>
                </a:pathLst>
              </a:custGeom>
              <a:solidFill>
                <a:srgbClr val="30373B"/>
              </a:solidFill>
              <a:ln w="5573" cap="flat">
                <a:noFill/>
                <a:prstDash val="solid"/>
                <a:miter/>
              </a:ln>
            </p:spPr>
            <p:txBody>
              <a:bodyPr rtlCol="0" anchor="ctr"/>
              <a:lstStyle/>
              <a:p>
                <a:endParaRPr lang="en-GB"/>
              </a:p>
            </p:txBody>
          </p:sp>
          <p:sp>
            <p:nvSpPr>
              <p:cNvPr id="114" name="Graphic 6">
                <a:extLst>
                  <a:ext uri="{FF2B5EF4-FFF2-40B4-BE49-F238E27FC236}">
                    <a16:creationId xmlns:a16="http://schemas.microsoft.com/office/drawing/2014/main" id="{1A3A39E6-C1AC-3D63-B5C1-6D8D029B578C}"/>
                  </a:ext>
                </a:extLst>
              </p:cNvPr>
              <p:cNvSpPr/>
              <p:nvPr/>
            </p:nvSpPr>
            <p:spPr>
              <a:xfrm>
                <a:off x="9450556" y="5387964"/>
                <a:ext cx="145184" cy="186286"/>
              </a:xfrm>
              <a:custGeom>
                <a:avLst/>
                <a:gdLst>
                  <a:gd name="connsiteX0" fmla="*/ 71758 w 145184"/>
                  <a:gd name="connsiteY0" fmla="*/ 185820 h 186286"/>
                  <a:gd name="connsiteX1" fmla="*/ -276 w 145184"/>
                  <a:gd name="connsiteY1" fmla="*/ 93380 h 186286"/>
                  <a:gd name="connsiteX2" fmla="*/ 19795 w 145184"/>
                  <a:gd name="connsiteY2" fmla="*/ 20901 h 186286"/>
                  <a:gd name="connsiteX3" fmla="*/ 123776 w 145184"/>
                  <a:gd name="connsiteY3" fmla="*/ 20901 h 186286"/>
                  <a:gd name="connsiteX4" fmla="*/ 143847 w 145184"/>
                  <a:gd name="connsiteY4" fmla="*/ 93380 h 186286"/>
                  <a:gd name="connsiteX5" fmla="*/ 133087 w 145184"/>
                  <a:gd name="connsiteY5" fmla="*/ 136087 h 186286"/>
                  <a:gd name="connsiteX6" fmla="*/ 121936 w 145184"/>
                  <a:gd name="connsiteY6" fmla="*/ 140101 h 186286"/>
                  <a:gd name="connsiteX7" fmla="*/ 117810 w 145184"/>
                  <a:gd name="connsiteY7" fmla="*/ 129286 h 186286"/>
                  <a:gd name="connsiteX8" fmla="*/ 127177 w 145184"/>
                  <a:gd name="connsiteY8" fmla="*/ 91931 h 186286"/>
                  <a:gd name="connsiteX9" fmla="*/ 111399 w 145184"/>
                  <a:gd name="connsiteY9" fmla="*/ 32107 h 186286"/>
                  <a:gd name="connsiteX10" fmla="*/ 32173 w 145184"/>
                  <a:gd name="connsiteY10" fmla="*/ 32107 h 186286"/>
                  <a:gd name="connsiteX11" fmla="*/ 16395 w 145184"/>
                  <a:gd name="connsiteY11" fmla="*/ 91931 h 186286"/>
                  <a:gd name="connsiteX12" fmla="*/ 71758 w 145184"/>
                  <a:gd name="connsiteY12" fmla="*/ 169094 h 186286"/>
                  <a:gd name="connsiteX13" fmla="*/ 80121 w 145184"/>
                  <a:gd name="connsiteY13" fmla="*/ 177457 h 186286"/>
                  <a:gd name="connsiteX14" fmla="*/ 71758 w 145184"/>
                  <a:gd name="connsiteY14" fmla="*/ 185820 h 18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184" h="186286">
                    <a:moveTo>
                      <a:pt x="71758" y="185820"/>
                    </a:moveTo>
                    <a:cubicBezTo>
                      <a:pt x="32340" y="185820"/>
                      <a:pt x="3683" y="137872"/>
                      <a:pt x="-276" y="93380"/>
                    </a:cubicBezTo>
                    <a:cubicBezTo>
                      <a:pt x="-2896" y="63608"/>
                      <a:pt x="4241" y="37627"/>
                      <a:pt x="19795" y="20901"/>
                    </a:cubicBezTo>
                    <a:cubicBezTo>
                      <a:pt x="48620" y="-7589"/>
                      <a:pt x="94952" y="-7589"/>
                      <a:pt x="123776" y="20901"/>
                    </a:cubicBezTo>
                    <a:cubicBezTo>
                      <a:pt x="139331" y="37627"/>
                      <a:pt x="146468" y="63664"/>
                      <a:pt x="143847" y="93380"/>
                    </a:cubicBezTo>
                    <a:cubicBezTo>
                      <a:pt x="142620" y="108099"/>
                      <a:pt x="138996" y="122540"/>
                      <a:pt x="133087" y="136087"/>
                    </a:cubicBezTo>
                    <a:cubicBezTo>
                      <a:pt x="131136" y="140269"/>
                      <a:pt x="126118" y="142053"/>
                      <a:pt x="121936" y="140101"/>
                    </a:cubicBezTo>
                    <a:cubicBezTo>
                      <a:pt x="117922" y="138206"/>
                      <a:pt x="116082" y="133411"/>
                      <a:pt x="117810" y="129286"/>
                    </a:cubicBezTo>
                    <a:cubicBezTo>
                      <a:pt x="122995" y="117466"/>
                      <a:pt x="126173" y="104810"/>
                      <a:pt x="127177" y="91931"/>
                    </a:cubicBezTo>
                    <a:cubicBezTo>
                      <a:pt x="129407" y="66842"/>
                      <a:pt x="123776" y="45600"/>
                      <a:pt x="111399" y="32107"/>
                    </a:cubicBezTo>
                    <a:cubicBezTo>
                      <a:pt x="89265" y="10921"/>
                      <a:pt x="54307" y="10921"/>
                      <a:pt x="32173" y="32107"/>
                    </a:cubicBezTo>
                    <a:cubicBezTo>
                      <a:pt x="19795" y="45600"/>
                      <a:pt x="14165" y="66842"/>
                      <a:pt x="16395" y="91931"/>
                    </a:cubicBezTo>
                    <a:cubicBezTo>
                      <a:pt x="20855" y="142109"/>
                      <a:pt x="51408" y="169094"/>
                      <a:pt x="71758" y="169094"/>
                    </a:cubicBezTo>
                    <a:cubicBezTo>
                      <a:pt x="76385" y="169094"/>
                      <a:pt x="80121" y="172829"/>
                      <a:pt x="80121" y="177457"/>
                    </a:cubicBezTo>
                    <a:cubicBezTo>
                      <a:pt x="80121" y="182084"/>
                      <a:pt x="76385" y="185820"/>
                      <a:pt x="71758" y="185820"/>
                    </a:cubicBezTo>
                    <a:close/>
                  </a:path>
                </a:pathLst>
              </a:custGeom>
              <a:solidFill>
                <a:srgbClr val="30373B"/>
              </a:solidFill>
              <a:ln w="5573" cap="flat">
                <a:noFill/>
                <a:prstDash val="solid"/>
                <a:miter/>
              </a:ln>
            </p:spPr>
            <p:txBody>
              <a:bodyPr rtlCol="0" anchor="ctr"/>
              <a:lstStyle/>
              <a:p>
                <a:endParaRPr lang="en-GB"/>
              </a:p>
            </p:txBody>
          </p:sp>
          <p:sp>
            <p:nvSpPr>
              <p:cNvPr id="115" name="Graphic 6">
                <a:extLst>
                  <a:ext uri="{FF2B5EF4-FFF2-40B4-BE49-F238E27FC236}">
                    <a16:creationId xmlns:a16="http://schemas.microsoft.com/office/drawing/2014/main" id="{9B3C3A4D-132B-B3CF-0435-4C3EE90AA03A}"/>
                  </a:ext>
                </a:extLst>
              </p:cNvPr>
              <p:cNvSpPr/>
              <p:nvPr/>
            </p:nvSpPr>
            <p:spPr>
              <a:xfrm>
                <a:off x="9422988" y="5807690"/>
                <a:ext cx="47356" cy="459909"/>
              </a:xfrm>
              <a:custGeom>
                <a:avLst/>
                <a:gdLst>
                  <a:gd name="connsiteX0" fmla="*/ 38221 w 47356"/>
                  <a:gd name="connsiteY0" fmla="*/ 459387 h 459909"/>
                  <a:gd name="connsiteX1" fmla="*/ 29858 w 47356"/>
                  <a:gd name="connsiteY1" fmla="*/ 451582 h 459909"/>
                  <a:gd name="connsiteX2" fmla="*/ -807 w 47356"/>
                  <a:gd name="connsiteY2" fmla="*/ 7283 h 459909"/>
                  <a:gd name="connsiteX3" fmla="*/ -807 w 47356"/>
                  <a:gd name="connsiteY3" fmla="*/ 6335 h 459909"/>
                  <a:gd name="connsiteX4" fmla="*/ -807 w 47356"/>
                  <a:gd name="connsiteY4" fmla="*/ 760 h 459909"/>
                  <a:gd name="connsiteX5" fmla="*/ 15919 w 47356"/>
                  <a:gd name="connsiteY5" fmla="*/ -467 h 459909"/>
                  <a:gd name="connsiteX6" fmla="*/ 15919 w 47356"/>
                  <a:gd name="connsiteY6" fmla="*/ 6670 h 459909"/>
                  <a:gd name="connsiteX7" fmla="*/ 46528 w 47356"/>
                  <a:gd name="connsiteY7" fmla="*/ 450523 h 459909"/>
                  <a:gd name="connsiteX8" fmla="*/ 38778 w 47356"/>
                  <a:gd name="connsiteY8" fmla="*/ 459443 h 45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56" h="459909">
                    <a:moveTo>
                      <a:pt x="38221" y="459387"/>
                    </a:moveTo>
                    <a:cubicBezTo>
                      <a:pt x="33816" y="459387"/>
                      <a:pt x="30192" y="455986"/>
                      <a:pt x="29858" y="451582"/>
                    </a:cubicBezTo>
                    <a:lnTo>
                      <a:pt x="-807" y="7283"/>
                    </a:lnTo>
                    <a:lnTo>
                      <a:pt x="-807" y="6335"/>
                    </a:lnTo>
                    <a:lnTo>
                      <a:pt x="-807" y="760"/>
                    </a:lnTo>
                    <a:lnTo>
                      <a:pt x="15919" y="-467"/>
                    </a:lnTo>
                    <a:lnTo>
                      <a:pt x="15919" y="6670"/>
                    </a:lnTo>
                    <a:lnTo>
                      <a:pt x="46528" y="450523"/>
                    </a:lnTo>
                    <a:cubicBezTo>
                      <a:pt x="46862" y="455150"/>
                      <a:pt x="43405" y="459108"/>
                      <a:pt x="38778" y="459443"/>
                    </a:cubicBezTo>
                    <a:close/>
                  </a:path>
                </a:pathLst>
              </a:custGeom>
              <a:solidFill>
                <a:srgbClr val="30373B"/>
              </a:solidFill>
              <a:ln w="5573" cap="flat">
                <a:noFill/>
                <a:prstDash val="solid"/>
                <a:miter/>
              </a:ln>
            </p:spPr>
            <p:txBody>
              <a:bodyPr rtlCol="0" anchor="ctr"/>
              <a:lstStyle/>
              <a:p>
                <a:endParaRPr lang="en-GB"/>
              </a:p>
            </p:txBody>
          </p:sp>
          <p:sp>
            <p:nvSpPr>
              <p:cNvPr id="116" name="Graphic 6">
                <a:extLst>
                  <a:ext uri="{FF2B5EF4-FFF2-40B4-BE49-F238E27FC236}">
                    <a16:creationId xmlns:a16="http://schemas.microsoft.com/office/drawing/2014/main" id="{8EC854DA-7E22-0704-94E0-42F0F2108702}"/>
                  </a:ext>
                </a:extLst>
              </p:cNvPr>
              <p:cNvSpPr/>
              <p:nvPr/>
            </p:nvSpPr>
            <p:spPr>
              <a:xfrm>
                <a:off x="9507173" y="5866671"/>
                <a:ext cx="24313" cy="409514"/>
              </a:xfrm>
              <a:custGeom>
                <a:avLst/>
                <a:gdLst>
                  <a:gd name="connsiteX0" fmla="*/ 15141 w 24313"/>
                  <a:gd name="connsiteY0" fmla="*/ 409048 h 409514"/>
                  <a:gd name="connsiteX1" fmla="*/ 6834 w 24313"/>
                  <a:gd name="connsiteY1" fmla="*/ 400852 h 409514"/>
                  <a:gd name="connsiteX2" fmla="*/ -804 w 24313"/>
                  <a:gd name="connsiteY2" fmla="*/ 8069 h 409514"/>
                  <a:gd name="connsiteX3" fmla="*/ 7391 w 24313"/>
                  <a:gd name="connsiteY3" fmla="*/ -461 h 409514"/>
                  <a:gd name="connsiteX4" fmla="*/ 7391 w 24313"/>
                  <a:gd name="connsiteY4" fmla="*/ -461 h 409514"/>
                  <a:gd name="connsiteX5" fmla="*/ 15866 w 24313"/>
                  <a:gd name="connsiteY5" fmla="*/ 7456 h 409514"/>
                  <a:gd name="connsiteX6" fmla="*/ 15866 w 24313"/>
                  <a:gd name="connsiteY6" fmla="*/ 7734 h 409514"/>
                  <a:gd name="connsiteX7" fmla="*/ 23504 w 24313"/>
                  <a:gd name="connsiteY7" fmla="*/ 400518 h 409514"/>
                  <a:gd name="connsiteX8" fmla="*/ 15420 w 24313"/>
                  <a:gd name="connsiteY8" fmla="*/ 409048 h 409514"/>
                  <a:gd name="connsiteX9" fmla="*/ 15309 w 24313"/>
                  <a:gd name="connsiteY9" fmla="*/ 409048 h 4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13" h="409514">
                    <a:moveTo>
                      <a:pt x="15141" y="409048"/>
                    </a:moveTo>
                    <a:cubicBezTo>
                      <a:pt x="10569" y="409048"/>
                      <a:pt x="6890" y="405424"/>
                      <a:pt x="6834" y="400852"/>
                    </a:cubicBezTo>
                    <a:lnTo>
                      <a:pt x="-804" y="8069"/>
                    </a:lnTo>
                    <a:cubicBezTo>
                      <a:pt x="-916" y="3442"/>
                      <a:pt x="2764" y="-350"/>
                      <a:pt x="7391" y="-461"/>
                    </a:cubicBezTo>
                    <a:cubicBezTo>
                      <a:pt x="7391" y="-461"/>
                      <a:pt x="7391" y="-461"/>
                      <a:pt x="7391" y="-461"/>
                    </a:cubicBezTo>
                    <a:cubicBezTo>
                      <a:pt x="11908" y="-629"/>
                      <a:pt x="15699" y="2940"/>
                      <a:pt x="15866" y="7456"/>
                    </a:cubicBezTo>
                    <a:cubicBezTo>
                      <a:pt x="15866" y="7568"/>
                      <a:pt x="15866" y="7624"/>
                      <a:pt x="15866" y="7734"/>
                    </a:cubicBezTo>
                    <a:lnTo>
                      <a:pt x="23504" y="400518"/>
                    </a:lnTo>
                    <a:cubicBezTo>
                      <a:pt x="23616" y="405089"/>
                      <a:pt x="19992" y="408936"/>
                      <a:pt x="15420" y="409048"/>
                    </a:cubicBezTo>
                    <a:cubicBezTo>
                      <a:pt x="15364" y="409048"/>
                      <a:pt x="15364" y="409048"/>
                      <a:pt x="15309" y="409048"/>
                    </a:cubicBezTo>
                    <a:close/>
                  </a:path>
                </a:pathLst>
              </a:custGeom>
              <a:solidFill>
                <a:srgbClr val="30373B"/>
              </a:solidFill>
              <a:ln w="5573" cap="flat">
                <a:noFill/>
                <a:prstDash val="solid"/>
                <a:miter/>
              </a:ln>
            </p:spPr>
            <p:txBody>
              <a:bodyPr rtlCol="0" anchor="ctr"/>
              <a:lstStyle/>
              <a:p>
                <a:endParaRPr lang="en-GB"/>
              </a:p>
            </p:txBody>
          </p:sp>
          <p:sp>
            <p:nvSpPr>
              <p:cNvPr id="117" name="Graphic 6">
                <a:extLst>
                  <a:ext uri="{FF2B5EF4-FFF2-40B4-BE49-F238E27FC236}">
                    <a16:creationId xmlns:a16="http://schemas.microsoft.com/office/drawing/2014/main" id="{15FD71FF-E047-7449-0456-6F342A379FAA}"/>
                  </a:ext>
                </a:extLst>
              </p:cNvPr>
              <p:cNvSpPr/>
              <p:nvPr/>
            </p:nvSpPr>
            <p:spPr>
              <a:xfrm>
                <a:off x="7035611" y="2582920"/>
                <a:ext cx="46500" cy="522068"/>
              </a:xfrm>
              <a:custGeom>
                <a:avLst/>
                <a:gdLst>
                  <a:gd name="connsiteX0" fmla="*/ 7572 w 46500"/>
                  <a:gd name="connsiteY0" fmla="*/ 521601 h 522068"/>
                  <a:gd name="connsiteX1" fmla="*/ 7015 w 46500"/>
                  <a:gd name="connsiteY1" fmla="*/ 521601 h 522068"/>
                  <a:gd name="connsiteX2" fmla="*/ -791 w 46500"/>
                  <a:gd name="connsiteY2" fmla="*/ 512680 h 522068"/>
                  <a:gd name="connsiteX3" fmla="*/ 28870 w 46500"/>
                  <a:gd name="connsiteY3" fmla="*/ 83379 h 522068"/>
                  <a:gd name="connsiteX4" fmla="*/ 23685 w 46500"/>
                  <a:gd name="connsiteY4" fmla="*/ 8502 h 522068"/>
                  <a:gd name="connsiteX5" fmla="*/ 31490 w 46500"/>
                  <a:gd name="connsiteY5" fmla="*/ -446 h 522068"/>
                  <a:gd name="connsiteX6" fmla="*/ 40411 w 46500"/>
                  <a:gd name="connsiteY6" fmla="*/ 7332 h 522068"/>
                  <a:gd name="connsiteX7" fmla="*/ 45652 w 46500"/>
                  <a:gd name="connsiteY7" fmla="*/ 82766 h 522068"/>
                  <a:gd name="connsiteX8" fmla="*/ 45652 w 46500"/>
                  <a:gd name="connsiteY8" fmla="*/ 83937 h 522068"/>
                  <a:gd name="connsiteX9" fmla="*/ 16047 w 46500"/>
                  <a:gd name="connsiteY9" fmla="*/ 513851 h 522068"/>
                  <a:gd name="connsiteX10" fmla="*/ 7572 w 46500"/>
                  <a:gd name="connsiteY10" fmla="*/ 521601 h 5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00" h="522068">
                    <a:moveTo>
                      <a:pt x="7572" y="521601"/>
                    </a:moveTo>
                    <a:lnTo>
                      <a:pt x="7015" y="521601"/>
                    </a:lnTo>
                    <a:cubicBezTo>
                      <a:pt x="2387" y="521272"/>
                      <a:pt x="-1069" y="517291"/>
                      <a:pt x="-791" y="512680"/>
                    </a:cubicBezTo>
                    <a:lnTo>
                      <a:pt x="28870" y="83379"/>
                    </a:lnTo>
                    <a:lnTo>
                      <a:pt x="23685" y="8502"/>
                    </a:lnTo>
                    <a:cubicBezTo>
                      <a:pt x="23351" y="3886"/>
                      <a:pt x="26863" y="-123"/>
                      <a:pt x="31490" y="-446"/>
                    </a:cubicBezTo>
                    <a:cubicBezTo>
                      <a:pt x="36062" y="-769"/>
                      <a:pt x="40077" y="2715"/>
                      <a:pt x="40411" y="7332"/>
                    </a:cubicBezTo>
                    <a:lnTo>
                      <a:pt x="45652" y="82766"/>
                    </a:lnTo>
                    <a:cubicBezTo>
                      <a:pt x="45707" y="83156"/>
                      <a:pt x="45707" y="83547"/>
                      <a:pt x="45652" y="83937"/>
                    </a:cubicBezTo>
                    <a:lnTo>
                      <a:pt x="16047" y="513851"/>
                    </a:lnTo>
                    <a:cubicBezTo>
                      <a:pt x="15712" y="518273"/>
                      <a:pt x="12033" y="521674"/>
                      <a:pt x="7572" y="521601"/>
                    </a:cubicBezTo>
                    <a:close/>
                  </a:path>
                </a:pathLst>
              </a:custGeom>
              <a:solidFill>
                <a:srgbClr val="30373B"/>
              </a:solidFill>
              <a:ln w="5573" cap="flat">
                <a:noFill/>
                <a:prstDash val="solid"/>
                <a:miter/>
              </a:ln>
            </p:spPr>
            <p:txBody>
              <a:bodyPr rtlCol="0" anchor="ctr"/>
              <a:lstStyle/>
              <a:p>
                <a:endParaRPr lang="en-GB"/>
              </a:p>
            </p:txBody>
          </p:sp>
          <p:sp>
            <p:nvSpPr>
              <p:cNvPr id="118" name="Graphic 6">
                <a:extLst>
                  <a:ext uri="{FF2B5EF4-FFF2-40B4-BE49-F238E27FC236}">
                    <a16:creationId xmlns:a16="http://schemas.microsoft.com/office/drawing/2014/main" id="{0DD9E0FF-AD39-1C7A-40A8-7A8517F62713}"/>
                  </a:ext>
                </a:extLst>
              </p:cNvPr>
              <p:cNvSpPr/>
              <p:nvPr/>
            </p:nvSpPr>
            <p:spPr>
              <a:xfrm>
                <a:off x="6829373" y="2414761"/>
                <a:ext cx="191145" cy="368195"/>
              </a:xfrm>
              <a:custGeom>
                <a:avLst/>
                <a:gdLst>
                  <a:gd name="connsiteX0" fmla="*/ 17893 w 191145"/>
                  <a:gd name="connsiteY0" fmla="*/ 367729 h 368195"/>
                  <a:gd name="connsiteX1" fmla="*/ 9586 w 191145"/>
                  <a:gd name="connsiteY1" fmla="*/ 360481 h 368195"/>
                  <a:gd name="connsiteX2" fmla="*/ -561 w 191145"/>
                  <a:gd name="connsiteY2" fmla="*/ 257337 h 368195"/>
                  <a:gd name="connsiteX3" fmla="*/ 107879 w 191145"/>
                  <a:gd name="connsiteY3" fmla="*/ -467 h 368195"/>
                  <a:gd name="connsiteX4" fmla="*/ 181976 w 191145"/>
                  <a:gd name="connsiteY4" fmla="*/ -467 h 368195"/>
                  <a:gd name="connsiteX5" fmla="*/ 190339 w 191145"/>
                  <a:gd name="connsiteY5" fmla="*/ 7896 h 368195"/>
                  <a:gd name="connsiteX6" fmla="*/ 181976 w 191145"/>
                  <a:gd name="connsiteY6" fmla="*/ 16259 h 368195"/>
                  <a:gd name="connsiteX7" fmla="*/ 109161 w 191145"/>
                  <a:gd name="connsiteY7" fmla="*/ 16259 h 368195"/>
                  <a:gd name="connsiteX8" fmla="*/ 24974 w 191145"/>
                  <a:gd name="connsiteY8" fmla="*/ 138527 h 368195"/>
                  <a:gd name="connsiteX9" fmla="*/ 16221 w 191145"/>
                  <a:gd name="connsiteY9" fmla="*/ 257337 h 368195"/>
                  <a:gd name="connsiteX10" fmla="*/ 16221 w 191145"/>
                  <a:gd name="connsiteY10" fmla="*/ 259177 h 368195"/>
                  <a:gd name="connsiteX11" fmla="*/ 26368 w 191145"/>
                  <a:gd name="connsiteY11" fmla="*/ 358195 h 368195"/>
                  <a:gd name="connsiteX12" fmla="*/ 19231 w 191145"/>
                  <a:gd name="connsiteY12" fmla="*/ 367612 h 368195"/>
                  <a:gd name="connsiteX13" fmla="*/ 19175 w 191145"/>
                  <a:gd name="connsiteY13" fmla="*/ 367617 h 3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145" h="368195">
                    <a:moveTo>
                      <a:pt x="17893" y="367729"/>
                    </a:moveTo>
                    <a:cubicBezTo>
                      <a:pt x="13711" y="367712"/>
                      <a:pt x="10143" y="364623"/>
                      <a:pt x="9586" y="360481"/>
                    </a:cubicBezTo>
                    <a:cubicBezTo>
                      <a:pt x="7579" y="345762"/>
                      <a:pt x="-2178" y="273060"/>
                      <a:pt x="-561" y="257337"/>
                    </a:cubicBezTo>
                    <a:cubicBezTo>
                      <a:pt x="-1174" y="239886"/>
                      <a:pt x="-7419" y="11186"/>
                      <a:pt x="107879" y="-467"/>
                    </a:cubicBezTo>
                    <a:lnTo>
                      <a:pt x="181976" y="-467"/>
                    </a:lnTo>
                    <a:cubicBezTo>
                      <a:pt x="186603" y="-467"/>
                      <a:pt x="190339" y="3280"/>
                      <a:pt x="190339" y="7896"/>
                    </a:cubicBezTo>
                    <a:cubicBezTo>
                      <a:pt x="190339" y="12513"/>
                      <a:pt x="186603" y="16259"/>
                      <a:pt x="181976" y="16259"/>
                    </a:cubicBezTo>
                    <a:lnTo>
                      <a:pt x="109161" y="16259"/>
                    </a:lnTo>
                    <a:cubicBezTo>
                      <a:pt x="57367" y="21835"/>
                      <a:pt x="34786" y="85784"/>
                      <a:pt x="24974" y="138527"/>
                    </a:cubicBezTo>
                    <a:cubicBezTo>
                      <a:pt x="18116" y="177743"/>
                      <a:pt x="15217" y="217540"/>
                      <a:pt x="16221" y="257337"/>
                    </a:cubicBezTo>
                    <a:cubicBezTo>
                      <a:pt x="16277" y="257950"/>
                      <a:pt x="16277" y="258563"/>
                      <a:pt x="16221" y="259177"/>
                    </a:cubicBezTo>
                    <a:cubicBezTo>
                      <a:pt x="14994" y="266146"/>
                      <a:pt x="20402" y="314930"/>
                      <a:pt x="26368" y="358195"/>
                    </a:cubicBezTo>
                    <a:cubicBezTo>
                      <a:pt x="26981" y="362772"/>
                      <a:pt x="23803" y="366987"/>
                      <a:pt x="19231" y="367612"/>
                    </a:cubicBezTo>
                    <a:cubicBezTo>
                      <a:pt x="19175" y="367612"/>
                      <a:pt x="19175" y="367617"/>
                      <a:pt x="19175" y="367617"/>
                    </a:cubicBezTo>
                    <a:close/>
                  </a:path>
                </a:pathLst>
              </a:custGeom>
              <a:solidFill>
                <a:srgbClr val="30373B"/>
              </a:solidFill>
              <a:ln w="5573" cap="flat">
                <a:noFill/>
                <a:prstDash val="solid"/>
                <a:miter/>
              </a:ln>
            </p:spPr>
            <p:txBody>
              <a:bodyPr rtlCol="0" anchor="ctr"/>
              <a:lstStyle/>
              <a:p>
                <a:endParaRPr lang="en-GB"/>
              </a:p>
            </p:txBody>
          </p:sp>
          <p:sp>
            <p:nvSpPr>
              <p:cNvPr id="119" name="Graphic 6">
                <a:extLst>
                  <a:ext uri="{FF2B5EF4-FFF2-40B4-BE49-F238E27FC236}">
                    <a16:creationId xmlns:a16="http://schemas.microsoft.com/office/drawing/2014/main" id="{B0DC7713-DB5D-7AD4-4ED1-9B54C81884D8}"/>
                  </a:ext>
                </a:extLst>
              </p:cNvPr>
              <p:cNvSpPr/>
              <p:nvPr/>
            </p:nvSpPr>
            <p:spPr>
              <a:xfrm>
                <a:off x="6881436" y="2252854"/>
                <a:ext cx="148082" cy="178857"/>
              </a:xfrm>
              <a:custGeom>
                <a:avLst/>
                <a:gdLst>
                  <a:gd name="connsiteX0" fmla="*/ 90383 w 148082"/>
                  <a:gd name="connsiteY0" fmla="*/ 178389 h 178857"/>
                  <a:gd name="connsiteX1" fmla="*/ 9708 w 148082"/>
                  <a:gd name="connsiteY1" fmla="*/ 113604 h 178857"/>
                  <a:gd name="connsiteX2" fmla="*/ 4801 w 148082"/>
                  <a:gd name="connsiteY2" fmla="*/ 40009 h 178857"/>
                  <a:gd name="connsiteX3" fmla="*/ 100920 w 148082"/>
                  <a:gd name="connsiteY3" fmla="*/ 6557 h 178857"/>
                  <a:gd name="connsiteX4" fmla="*/ 143014 w 148082"/>
                  <a:gd name="connsiteY4" fmla="*/ 67161 h 178857"/>
                  <a:gd name="connsiteX5" fmla="*/ 146917 w 148082"/>
                  <a:gd name="connsiteY5" fmla="*/ 110091 h 178857"/>
                  <a:gd name="connsiteX6" fmla="*/ 137829 w 148082"/>
                  <a:gd name="connsiteY6" fmla="*/ 117757 h 178857"/>
                  <a:gd name="connsiteX7" fmla="*/ 130191 w 148082"/>
                  <a:gd name="connsiteY7" fmla="*/ 108697 h 178857"/>
                  <a:gd name="connsiteX8" fmla="*/ 126734 w 148082"/>
                  <a:gd name="connsiteY8" fmla="*/ 71287 h 178857"/>
                  <a:gd name="connsiteX9" fmla="*/ 93282 w 148082"/>
                  <a:gd name="connsiteY9" fmla="*/ 21109 h 178857"/>
                  <a:gd name="connsiteX10" fmla="*/ 20357 w 148082"/>
                  <a:gd name="connsiteY10" fmla="*/ 46588 h 178857"/>
                  <a:gd name="connsiteX11" fmla="*/ 25207 w 148082"/>
                  <a:gd name="connsiteY11" fmla="*/ 106746 h 178857"/>
                  <a:gd name="connsiteX12" fmla="*/ 100976 w 148082"/>
                  <a:gd name="connsiteY12" fmla="*/ 159935 h 178857"/>
                  <a:gd name="connsiteX13" fmla="*/ 111625 w 148082"/>
                  <a:gd name="connsiteY13" fmla="*/ 165036 h 178857"/>
                  <a:gd name="connsiteX14" fmla="*/ 106551 w 148082"/>
                  <a:gd name="connsiteY14" fmla="*/ 175713 h 178857"/>
                  <a:gd name="connsiteX15" fmla="*/ 90383 w 148082"/>
                  <a:gd name="connsiteY15" fmla="*/ 178389 h 17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082" h="178857">
                    <a:moveTo>
                      <a:pt x="90383" y="178389"/>
                    </a:moveTo>
                    <a:cubicBezTo>
                      <a:pt x="58269" y="178389"/>
                      <a:pt x="25151" y="147781"/>
                      <a:pt x="9708" y="113604"/>
                    </a:cubicBezTo>
                    <a:cubicBezTo>
                      <a:pt x="-2335" y="86954"/>
                      <a:pt x="-4119" y="60805"/>
                      <a:pt x="4801" y="40009"/>
                    </a:cubicBezTo>
                    <a:cubicBezTo>
                      <a:pt x="22308" y="4455"/>
                      <a:pt x="65127" y="-10442"/>
                      <a:pt x="100920" y="6557"/>
                    </a:cubicBezTo>
                    <a:cubicBezTo>
                      <a:pt x="120880" y="17262"/>
                      <a:pt x="135822" y="38783"/>
                      <a:pt x="143014" y="67161"/>
                    </a:cubicBezTo>
                    <a:cubicBezTo>
                      <a:pt x="146694" y="81155"/>
                      <a:pt x="147976" y="95662"/>
                      <a:pt x="146917" y="110091"/>
                    </a:cubicBezTo>
                    <a:cubicBezTo>
                      <a:pt x="146527" y="114708"/>
                      <a:pt x="142457" y="118142"/>
                      <a:pt x="137829" y="117757"/>
                    </a:cubicBezTo>
                    <a:cubicBezTo>
                      <a:pt x="133257" y="117373"/>
                      <a:pt x="129801" y="113314"/>
                      <a:pt x="130191" y="108697"/>
                    </a:cubicBezTo>
                    <a:cubicBezTo>
                      <a:pt x="131083" y="96119"/>
                      <a:pt x="129968" y="83480"/>
                      <a:pt x="126734" y="71287"/>
                    </a:cubicBezTo>
                    <a:cubicBezTo>
                      <a:pt x="120713" y="47480"/>
                      <a:pt x="108726" y="29751"/>
                      <a:pt x="93282" y="21109"/>
                    </a:cubicBezTo>
                    <a:cubicBezTo>
                      <a:pt x="66074" y="8659"/>
                      <a:pt x="33905" y="19905"/>
                      <a:pt x="20357" y="46588"/>
                    </a:cubicBezTo>
                    <a:cubicBezTo>
                      <a:pt x="13387" y="63035"/>
                      <a:pt x="15060" y="84389"/>
                      <a:pt x="25207" y="106746"/>
                    </a:cubicBezTo>
                    <a:cubicBezTo>
                      <a:pt x="45501" y="151628"/>
                      <a:pt x="82299" y="166514"/>
                      <a:pt x="100976" y="159935"/>
                    </a:cubicBezTo>
                    <a:cubicBezTo>
                      <a:pt x="105325" y="158396"/>
                      <a:pt x="110119" y="160682"/>
                      <a:pt x="111625" y="165036"/>
                    </a:cubicBezTo>
                    <a:cubicBezTo>
                      <a:pt x="113186" y="169396"/>
                      <a:pt x="110900" y="174174"/>
                      <a:pt x="106551" y="175713"/>
                    </a:cubicBezTo>
                    <a:cubicBezTo>
                      <a:pt x="101366" y="177525"/>
                      <a:pt x="95903" y="178434"/>
                      <a:pt x="90383" y="178389"/>
                    </a:cubicBezTo>
                    <a:close/>
                  </a:path>
                </a:pathLst>
              </a:custGeom>
              <a:solidFill>
                <a:srgbClr val="30373B"/>
              </a:solidFill>
              <a:ln w="5573" cap="flat">
                <a:noFill/>
                <a:prstDash val="solid"/>
                <a:miter/>
              </a:ln>
            </p:spPr>
            <p:txBody>
              <a:bodyPr rtlCol="0" anchor="ctr"/>
              <a:lstStyle/>
              <a:p>
                <a:endParaRPr lang="en-GB"/>
              </a:p>
            </p:txBody>
          </p:sp>
          <p:sp>
            <p:nvSpPr>
              <p:cNvPr id="120" name="Graphic 6">
                <a:extLst>
                  <a:ext uri="{FF2B5EF4-FFF2-40B4-BE49-F238E27FC236}">
                    <a16:creationId xmlns:a16="http://schemas.microsoft.com/office/drawing/2014/main" id="{2D30F67A-F440-AE2A-92CC-93555AD84E15}"/>
                  </a:ext>
                </a:extLst>
              </p:cNvPr>
              <p:cNvSpPr/>
              <p:nvPr/>
            </p:nvSpPr>
            <p:spPr>
              <a:xfrm>
                <a:off x="6885929" y="2591630"/>
                <a:ext cx="46799" cy="517483"/>
              </a:xfrm>
              <a:custGeom>
                <a:avLst/>
                <a:gdLst>
                  <a:gd name="connsiteX0" fmla="*/ 37496 w 46799"/>
                  <a:gd name="connsiteY0" fmla="*/ 517016 h 517483"/>
                  <a:gd name="connsiteX1" fmla="*/ 29133 w 46799"/>
                  <a:gd name="connsiteY1" fmla="*/ 509211 h 517483"/>
                  <a:gd name="connsiteX2" fmla="*/ -807 w 46799"/>
                  <a:gd name="connsiteY2" fmla="*/ 74836 h 517483"/>
                  <a:gd name="connsiteX3" fmla="*/ -807 w 46799"/>
                  <a:gd name="connsiteY3" fmla="*/ 73889 h 517483"/>
                  <a:gd name="connsiteX4" fmla="*/ 2148 w 46799"/>
                  <a:gd name="connsiteY4" fmla="*/ 7542 h 517483"/>
                  <a:gd name="connsiteX5" fmla="*/ 10846 w 46799"/>
                  <a:gd name="connsiteY5" fmla="*/ -459 h 517483"/>
                  <a:gd name="connsiteX6" fmla="*/ 18874 w 46799"/>
                  <a:gd name="connsiteY6" fmla="*/ 8267 h 517483"/>
                  <a:gd name="connsiteX7" fmla="*/ 15975 w 46799"/>
                  <a:gd name="connsiteY7" fmla="*/ 74167 h 517483"/>
                  <a:gd name="connsiteX8" fmla="*/ 45971 w 46799"/>
                  <a:gd name="connsiteY8" fmla="*/ 508040 h 517483"/>
                  <a:gd name="connsiteX9" fmla="*/ 38221 w 46799"/>
                  <a:gd name="connsiteY9" fmla="*/ 516961 h 517483"/>
                  <a:gd name="connsiteX10" fmla="*/ 38165 w 46799"/>
                  <a:gd name="connsiteY10" fmla="*/ 516961 h 51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9" h="517483">
                    <a:moveTo>
                      <a:pt x="37496" y="517016"/>
                    </a:moveTo>
                    <a:cubicBezTo>
                      <a:pt x="33091" y="517000"/>
                      <a:pt x="29468" y="513599"/>
                      <a:pt x="29133" y="509211"/>
                    </a:cubicBezTo>
                    <a:lnTo>
                      <a:pt x="-807" y="74836"/>
                    </a:lnTo>
                    <a:cubicBezTo>
                      <a:pt x="-807" y="74518"/>
                      <a:pt x="-807" y="74206"/>
                      <a:pt x="-807" y="73889"/>
                    </a:cubicBezTo>
                    <a:lnTo>
                      <a:pt x="2148" y="7542"/>
                    </a:lnTo>
                    <a:cubicBezTo>
                      <a:pt x="2371" y="2925"/>
                      <a:pt x="6274" y="-660"/>
                      <a:pt x="10846" y="-459"/>
                    </a:cubicBezTo>
                    <a:cubicBezTo>
                      <a:pt x="15474" y="-258"/>
                      <a:pt x="19097" y="3650"/>
                      <a:pt x="18874" y="8267"/>
                    </a:cubicBezTo>
                    <a:lnTo>
                      <a:pt x="15975" y="74167"/>
                    </a:lnTo>
                    <a:lnTo>
                      <a:pt x="45971" y="508040"/>
                    </a:lnTo>
                    <a:cubicBezTo>
                      <a:pt x="46305" y="512645"/>
                      <a:pt x="42792" y="516643"/>
                      <a:pt x="38221" y="516961"/>
                    </a:cubicBezTo>
                    <a:cubicBezTo>
                      <a:pt x="38165" y="516961"/>
                      <a:pt x="38165" y="516961"/>
                      <a:pt x="38165" y="516961"/>
                    </a:cubicBezTo>
                    <a:close/>
                  </a:path>
                </a:pathLst>
              </a:custGeom>
              <a:solidFill>
                <a:srgbClr val="30373B"/>
              </a:solidFill>
              <a:ln w="5573" cap="flat">
                <a:noFill/>
                <a:prstDash val="solid"/>
                <a:miter/>
              </a:ln>
            </p:spPr>
            <p:txBody>
              <a:bodyPr rtlCol="0" anchor="ctr"/>
              <a:lstStyle/>
              <a:p>
                <a:endParaRPr lang="en-GB"/>
              </a:p>
            </p:txBody>
          </p:sp>
          <p:sp>
            <p:nvSpPr>
              <p:cNvPr id="121" name="Graphic 6">
                <a:extLst>
                  <a:ext uri="{FF2B5EF4-FFF2-40B4-BE49-F238E27FC236}">
                    <a16:creationId xmlns:a16="http://schemas.microsoft.com/office/drawing/2014/main" id="{6B0615C6-1DD8-1E01-36D4-7753BE4FE07C}"/>
                  </a:ext>
                </a:extLst>
              </p:cNvPr>
              <p:cNvSpPr/>
              <p:nvPr/>
            </p:nvSpPr>
            <p:spPr>
              <a:xfrm>
                <a:off x="6853176" y="2399739"/>
                <a:ext cx="234981" cy="190421"/>
              </a:xfrm>
              <a:custGeom>
                <a:avLst/>
                <a:gdLst>
                  <a:gd name="connsiteX0" fmla="*/ 125501 w 234981"/>
                  <a:gd name="connsiteY0" fmla="*/ 189955 h 190421"/>
                  <a:gd name="connsiteX1" fmla="*/ 101638 w 234981"/>
                  <a:gd name="connsiteY1" fmla="*/ 185774 h 190421"/>
                  <a:gd name="connsiteX2" fmla="*/ -669 w 234981"/>
                  <a:gd name="connsiteY2" fmla="*/ 9537 h 190421"/>
                  <a:gd name="connsiteX3" fmla="*/ 6188 w 234981"/>
                  <a:gd name="connsiteY3" fmla="*/ -331 h 190421"/>
                  <a:gd name="connsiteX4" fmla="*/ 16057 w 234981"/>
                  <a:gd name="connsiteY4" fmla="*/ 6526 h 190421"/>
                  <a:gd name="connsiteX5" fmla="*/ 107548 w 234981"/>
                  <a:gd name="connsiteY5" fmla="*/ 170051 h 190421"/>
                  <a:gd name="connsiteX6" fmla="*/ 184878 w 234981"/>
                  <a:gd name="connsiteY6" fmla="*/ 146356 h 190421"/>
                  <a:gd name="connsiteX7" fmla="*/ 214204 w 234981"/>
                  <a:gd name="connsiteY7" fmla="*/ 70085 h 190421"/>
                  <a:gd name="connsiteX8" fmla="*/ 158451 w 234981"/>
                  <a:gd name="connsiteY8" fmla="*/ 31337 h 190421"/>
                  <a:gd name="connsiteX9" fmla="*/ 150088 w 234981"/>
                  <a:gd name="connsiteY9" fmla="*/ 22974 h 190421"/>
                  <a:gd name="connsiteX10" fmla="*/ 158451 w 234981"/>
                  <a:gd name="connsiteY10" fmla="*/ 14611 h 190421"/>
                  <a:gd name="connsiteX11" fmla="*/ 229871 w 234981"/>
                  <a:gd name="connsiteY11" fmla="*/ 64343 h 190421"/>
                  <a:gd name="connsiteX12" fmla="*/ 195694 w 234981"/>
                  <a:gd name="connsiteY12" fmla="*/ 159124 h 190421"/>
                  <a:gd name="connsiteX13" fmla="*/ 125501 w 234981"/>
                  <a:gd name="connsiteY13" fmla="*/ 189955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981" h="190421">
                    <a:moveTo>
                      <a:pt x="125501" y="189955"/>
                    </a:moveTo>
                    <a:cubicBezTo>
                      <a:pt x="117360" y="189950"/>
                      <a:pt x="109276" y="188539"/>
                      <a:pt x="101638" y="185774"/>
                    </a:cubicBezTo>
                    <a:cubicBezTo>
                      <a:pt x="27932" y="159458"/>
                      <a:pt x="501" y="15670"/>
                      <a:pt x="-669" y="9537"/>
                    </a:cubicBezTo>
                    <a:cubicBezTo>
                      <a:pt x="-1506" y="4921"/>
                      <a:pt x="1561" y="499"/>
                      <a:pt x="6188" y="-331"/>
                    </a:cubicBezTo>
                    <a:cubicBezTo>
                      <a:pt x="10816" y="-1162"/>
                      <a:pt x="15220" y="1910"/>
                      <a:pt x="16057" y="6526"/>
                    </a:cubicBezTo>
                    <a:cubicBezTo>
                      <a:pt x="16057" y="7920"/>
                      <a:pt x="42874" y="146969"/>
                      <a:pt x="107548" y="170051"/>
                    </a:cubicBezTo>
                    <a:cubicBezTo>
                      <a:pt x="130519" y="178247"/>
                      <a:pt x="156555" y="170051"/>
                      <a:pt x="184878" y="146356"/>
                    </a:cubicBezTo>
                    <a:cubicBezTo>
                      <a:pt x="213201" y="122661"/>
                      <a:pt x="223348" y="95119"/>
                      <a:pt x="214204" y="70085"/>
                    </a:cubicBezTo>
                    <a:cubicBezTo>
                      <a:pt x="205339" y="46937"/>
                      <a:pt x="183261" y="31560"/>
                      <a:pt x="158451" y="31337"/>
                    </a:cubicBezTo>
                    <a:cubicBezTo>
                      <a:pt x="153823" y="31337"/>
                      <a:pt x="150088" y="27590"/>
                      <a:pt x="150088" y="22974"/>
                    </a:cubicBezTo>
                    <a:cubicBezTo>
                      <a:pt x="150088" y="18357"/>
                      <a:pt x="153823" y="14611"/>
                      <a:pt x="158451" y="14611"/>
                    </a:cubicBezTo>
                    <a:cubicBezTo>
                      <a:pt x="190230" y="14917"/>
                      <a:pt x="218553" y="34648"/>
                      <a:pt x="229871" y="64343"/>
                    </a:cubicBezTo>
                    <a:cubicBezTo>
                      <a:pt x="241579" y="96345"/>
                      <a:pt x="229146" y="130912"/>
                      <a:pt x="195694" y="159124"/>
                    </a:cubicBezTo>
                    <a:cubicBezTo>
                      <a:pt x="171163" y="179641"/>
                      <a:pt x="147746" y="189916"/>
                      <a:pt x="125501" y="189955"/>
                    </a:cubicBezTo>
                    <a:close/>
                  </a:path>
                </a:pathLst>
              </a:custGeom>
              <a:solidFill>
                <a:srgbClr val="30373B"/>
              </a:solidFill>
              <a:ln w="5573" cap="flat">
                <a:noFill/>
                <a:prstDash val="solid"/>
                <a:miter/>
              </a:ln>
            </p:spPr>
            <p:txBody>
              <a:bodyPr rtlCol="0" anchor="ctr"/>
              <a:lstStyle/>
              <a:p>
                <a:endParaRPr lang="en-GB"/>
              </a:p>
            </p:txBody>
          </p:sp>
          <p:sp>
            <p:nvSpPr>
              <p:cNvPr id="122" name="Graphic 6">
                <a:extLst>
                  <a:ext uri="{FF2B5EF4-FFF2-40B4-BE49-F238E27FC236}">
                    <a16:creationId xmlns:a16="http://schemas.microsoft.com/office/drawing/2014/main" id="{19952567-3B83-D4AF-A6C9-B0095D1558FB}"/>
                  </a:ext>
                </a:extLst>
              </p:cNvPr>
              <p:cNvSpPr/>
              <p:nvPr/>
            </p:nvSpPr>
            <p:spPr>
              <a:xfrm>
                <a:off x="6623478" y="2339574"/>
                <a:ext cx="200197" cy="43295"/>
              </a:xfrm>
              <a:custGeom>
                <a:avLst/>
                <a:gdLst>
                  <a:gd name="connsiteX0" fmla="*/ 190392 w 200197"/>
                  <a:gd name="connsiteY0" fmla="*/ 42829 h 43295"/>
                  <a:gd name="connsiteX1" fmla="*/ 189221 w 200197"/>
                  <a:gd name="connsiteY1" fmla="*/ 42829 h 43295"/>
                  <a:gd name="connsiteX2" fmla="*/ 6461 w 200197"/>
                  <a:gd name="connsiteY2" fmla="*/ 16346 h 43295"/>
                  <a:gd name="connsiteX3" fmla="*/ -731 w 200197"/>
                  <a:gd name="connsiteY3" fmla="*/ 6784 h 43295"/>
                  <a:gd name="connsiteX4" fmla="*/ 8859 w 200197"/>
                  <a:gd name="connsiteY4" fmla="*/ -380 h 43295"/>
                  <a:gd name="connsiteX5" fmla="*/ 191618 w 200197"/>
                  <a:gd name="connsiteY5" fmla="*/ 26047 h 43295"/>
                  <a:gd name="connsiteX6" fmla="*/ 199368 w 200197"/>
                  <a:gd name="connsiteY6" fmla="*/ 35023 h 43295"/>
                  <a:gd name="connsiteX7" fmla="*/ 190392 w 200197"/>
                  <a:gd name="connsiteY7" fmla="*/ 42773 h 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197" h="43295">
                    <a:moveTo>
                      <a:pt x="190392" y="42829"/>
                    </a:moveTo>
                    <a:lnTo>
                      <a:pt x="189221" y="42829"/>
                    </a:lnTo>
                    <a:lnTo>
                      <a:pt x="6461" y="16346"/>
                    </a:lnTo>
                    <a:cubicBezTo>
                      <a:pt x="1834" y="15683"/>
                      <a:pt x="-1344" y="11401"/>
                      <a:pt x="-731" y="6784"/>
                    </a:cubicBezTo>
                    <a:cubicBezTo>
                      <a:pt x="-62" y="2168"/>
                      <a:pt x="4231" y="-1043"/>
                      <a:pt x="8859" y="-380"/>
                    </a:cubicBezTo>
                    <a:lnTo>
                      <a:pt x="191618" y="26047"/>
                    </a:lnTo>
                    <a:cubicBezTo>
                      <a:pt x="196246" y="26387"/>
                      <a:pt x="199703" y="30407"/>
                      <a:pt x="199368" y="35023"/>
                    </a:cubicBezTo>
                    <a:cubicBezTo>
                      <a:pt x="199034" y="39640"/>
                      <a:pt x="195020" y="43113"/>
                      <a:pt x="190392" y="42773"/>
                    </a:cubicBezTo>
                    <a:close/>
                  </a:path>
                </a:pathLst>
              </a:custGeom>
              <a:solidFill>
                <a:srgbClr val="30373B"/>
              </a:solidFill>
              <a:ln w="5573" cap="flat">
                <a:noFill/>
                <a:prstDash val="solid"/>
                <a:miter/>
              </a:ln>
            </p:spPr>
            <p:txBody>
              <a:bodyPr rtlCol="0" anchor="ctr"/>
              <a:lstStyle/>
              <a:p>
                <a:endParaRPr lang="en-GB"/>
              </a:p>
            </p:txBody>
          </p:sp>
          <p:sp>
            <p:nvSpPr>
              <p:cNvPr id="123" name="Graphic 6">
                <a:extLst>
                  <a:ext uri="{FF2B5EF4-FFF2-40B4-BE49-F238E27FC236}">
                    <a16:creationId xmlns:a16="http://schemas.microsoft.com/office/drawing/2014/main" id="{6E34AF7F-0C88-1009-1455-927DCB21F83F}"/>
                  </a:ext>
                </a:extLst>
              </p:cNvPr>
              <p:cNvSpPr/>
              <p:nvPr/>
            </p:nvSpPr>
            <p:spPr>
              <a:xfrm>
                <a:off x="6557182" y="2409840"/>
                <a:ext cx="247848" cy="150659"/>
              </a:xfrm>
              <a:custGeom>
                <a:avLst/>
                <a:gdLst>
                  <a:gd name="connsiteX0" fmla="*/ 7582 w 247848"/>
                  <a:gd name="connsiteY0" fmla="*/ 150193 h 150659"/>
                  <a:gd name="connsiteX1" fmla="*/ 333 w 247848"/>
                  <a:gd name="connsiteY1" fmla="*/ 146067 h 150659"/>
                  <a:gd name="connsiteX2" fmla="*/ 3344 w 247848"/>
                  <a:gd name="connsiteY2" fmla="*/ 134638 h 150659"/>
                  <a:gd name="connsiteX3" fmla="*/ 234219 w 247848"/>
                  <a:gd name="connsiteY3" fmla="*/ 829 h 150659"/>
                  <a:gd name="connsiteX4" fmla="*/ 245760 w 247848"/>
                  <a:gd name="connsiteY4" fmla="*/ 3428 h 150659"/>
                  <a:gd name="connsiteX5" fmla="*/ 243140 w 247848"/>
                  <a:gd name="connsiteY5" fmla="*/ 14963 h 150659"/>
                  <a:gd name="connsiteX6" fmla="*/ 242638 w 247848"/>
                  <a:gd name="connsiteY6" fmla="*/ 15270 h 150659"/>
                  <a:gd name="connsiteX7" fmla="*/ 11763 w 247848"/>
                  <a:gd name="connsiteY7" fmla="*/ 149078 h 150659"/>
                  <a:gd name="connsiteX8" fmla="*/ 7582 w 247848"/>
                  <a:gd name="connsiteY8" fmla="*/ 150193 h 15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848" h="150659">
                    <a:moveTo>
                      <a:pt x="7582" y="150193"/>
                    </a:moveTo>
                    <a:cubicBezTo>
                      <a:pt x="4627" y="150193"/>
                      <a:pt x="1839" y="148626"/>
                      <a:pt x="333" y="146067"/>
                    </a:cubicBezTo>
                    <a:cubicBezTo>
                      <a:pt x="-2008" y="142081"/>
                      <a:pt x="-615" y="136962"/>
                      <a:pt x="3344" y="134638"/>
                    </a:cubicBezTo>
                    <a:lnTo>
                      <a:pt x="234219" y="829"/>
                    </a:lnTo>
                    <a:cubicBezTo>
                      <a:pt x="238122" y="-1640"/>
                      <a:pt x="243307" y="-475"/>
                      <a:pt x="245760" y="3428"/>
                    </a:cubicBezTo>
                    <a:cubicBezTo>
                      <a:pt x="248213" y="7330"/>
                      <a:pt x="247042" y="12493"/>
                      <a:pt x="243140" y="14963"/>
                    </a:cubicBezTo>
                    <a:cubicBezTo>
                      <a:pt x="242972" y="15074"/>
                      <a:pt x="242805" y="15175"/>
                      <a:pt x="242638" y="15270"/>
                    </a:cubicBezTo>
                    <a:lnTo>
                      <a:pt x="11763" y="149078"/>
                    </a:lnTo>
                    <a:cubicBezTo>
                      <a:pt x="10480" y="149814"/>
                      <a:pt x="9031" y="150198"/>
                      <a:pt x="7582" y="150193"/>
                    </a:cubicBezTo>
                    <a:close/>
                  </a:path>
                </a:pathLst>
              </a:custGeom>
              <a:solidFill>
                <a:srgbClr val="30373B"/>
              </a:solidFill>
              <a:ln w="5573" cap="flat">
                <a:noFill/>
                <a:prstDash val="solid"/>
                <a:miter/>
              </a:ln>
            </p:spPr>
            <p:txBody>
              <a:bodyPr rtlCol="0" anchor="ctr"/>
              <a:lstStyle/>
              <a:p>
                <a:endParaRPr lang="en-GB"/>
              </a:p>
            </p:txBody>
          </p:sp>
          <p:sp>
            <p:nvSpPr>
              <p:cNvPr id="124" name="Graphic 6">
                <a:extLst>
                  <a:ext uri="{FF2B5EF4-FFF2-40B4-BE49-F238E27FC236}">
                    <a16:creationId xmlns:a16="http://schemas.microsoft.com/office/drawing/2014/main" id="{D13488E9-81DA-20E4-AE14-D6A80071DE60}"/>
                  </a:ext>
                </a:extLst>
              </p:cNvPr>
              <p:cNvSpPr/>
              <p:nvPr/>
            </p:nvSpPr>
            <p:spPr>
              <a:xfrm>
                <a:off x="6684900" y="2446293"/>
                <a:ext cx="157626" cy="250969"/>
              </a:xfrm>
              <a:custGeom>
                <a:avLst/>
                <a:gdLst>
                  <a:gd name="connsiteX0" fmla="*/ 7538 w 157626"/>
                  <a:gd name="connsiteY0" fmla="*/ 250503 h 250969"/>
                  <a:gd name="connsiteX1" fmla="*/ 3246 w 157626"/>
                  <a:gd name="connsiteY1" fmla="*/ 249276 h 250969"/>
                  <a:gd name="connsiteX2" fmla="*/ 402 w 157626"/>
                  <a:gd name="connsiteY2" fmla="*/ 237797 h 250969"/>
                  <a:gd name="connsiteX3" fmla="*/ 402 w 157626"/>
                  <a:gd name="connsiteY3" fmla="*/ 237791 h 250969"/>
                  <a:gd name="connsiteX4" fmla="*/ 141514 w 157626"/>
                  <a:gd name="connsiteY4" fmla="*/ 3237 h 250969"/>
                  <a:gd name="connsiteX5" fmla="*/ 153111 w 157626"/>
                  <a:gd name="connsiteY5" fmla="*/ 951 h 250969"/>
                  <a:gd name="connsiteX6" fmla="*/ 155843 w 157626"/>
                  <a:gd name="connsiteY6" fmla="*/ 11823 h 250969"/>
                  <a:gd name="connsiteX7" fmla="*/ 14731 w 157626"/>
                  <a:gd name="connsiteY7" fmla="*/ 246433 h 250969"/>
                  <a:gd name="connsiteX8" fmla="*/ 7538 w 157626"/>
                  <a:gd name="connsiteY8" fmla="*/ 250503 h 25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26" h="250969">
                    <a:moveTo>
                      <a:pt x="7538" y="250503"/>
                    </a:moveTo>
                    <a:cubicBezTo>
                      <a:pt x="6033" y="250503"/>
                      <a:pt x="4528" y="250079"/>
                      <a:pt x="3246" y="249276"/>
                    </a:cubicBezTo>
                    <a:cubicBezTo>
                      <a:pt x="-713" y="246890"/>
                      <a:pt x="-1995" y="241755"/>
                      <a:pt x="402" y="237797"/>
                    </a:cubicBezTo>
                    <a:cubicBezTo>
                      <a:pt x="402" y="237797"/>
                      <a:pt x="402" y="237791"/>
                      <a:pt x="402" y="237791"/>
                    </a:cubicBezTo>
                    <a:lnTo>
                      <a:pt x="141514" y="3237"/>
                    </a:lnTo>
                    <a:cubicBezTo>
                      <a:pt x="144079" y="-599"/>
                      <a:pt x="149264" y="-1619"/>
                      <a:pt x="153111" y="951"/>
                    </a:cubicBezTo>
                    <a:cubicBezTo>
                      <a:pt x="156679" y="3343"/>
                      <a:pt x="157850" y="8037"/>
                      <a:pt x="155843" y="11823"/>
                    </a:cubicBezTo>
                    <a:lnTo>
                      <a:pt x="14731" y="246433"/>
                    </a:lnTo>
                    <a:cubicBezTo>
                      <a:pt x="13225" y="248964"/>
                      <a:pt x="10493" y="250509"/>
                      <a:pt x="7538" y="250503"/>
                    </a:cubicBezTo>
                    <a:close/>
                  </a:path>
                </a:pathLst>
              </a:custGeom>
              <a:solidFill>
                <a:srgbClr val="30373B"/>
              </a:solidFill>
              <a:ln w="5573" cap="flat">
                <a:noFill/>
                <a:prstDash val="solid"/>
                <a:miter/>
              </a:ln>
            </p:spPr>
            <p:txBody>
              <a:bodyPr rtlCol="0" anchor="ctr"/>
              <a:lstStyle/>
              <a:p>
                <a:endParaRPr lang="en-GB"/>
              </a:p>
            </p:txBody>
          </p:sp>
          <p:sp>
            <p:nvSpPr>
              <p:cNvPr id="125" name="Graphic 6">
                <a:extLst>
                  <a:ext uri="{FF2B5EF4-FFF2-40B4-BE49-F238E27FC236}">
                    <a16:creationId xmlns:a16="http://schemas.microsoft.com/office/drawing/2014/main" id="{4B89330D-1F66-95B2-1504-7C222CB44CDC}"/>
                  </a:ext>
                </a:extLst>
              </p:cNvPr>
              <p:cNvSpPr/>
              <p:nvPr/>
            </p:nvSpPr>
            <p:spPr>
              <a:xfrm>
                <a:off x="6975859" y="2697040"/>
                <a:ext cx="16726" cy="407947"/>
              </a:xfrm>
              <a:custGeom>
                <a:avLst/>
                <a:gdLst>
                  <a:gd name="connsiteX0" fmla="*/ 7556 w 16726"/>
                  <a:gd name="connsiteY0" fmla="*/ 407481 h 407947"/>
                  <a:gd name="connsiteX1" fmla="*/ -807 w 16726"/>
                  <a:gd name="connsiteY1" fmla="*/ 399118 h 407947"/>
                  <a:gd name="connsiteX2" fmla="*/ -807 w 16726"/>
                  <a:gd name="connsiteY2" fmla="*/ 7896 h 407947"/>
                  <a:gd name="connsiteX3" fmla="*/ 7556 w 16726"/>
                  <a:gd name="connsiteY3" fmla="*/ -467 h 407947"/>
                  <a:gd name="connsiteX4" fmla="*/ 15919 w 16726"/>
                  <a:gd name="connsiteY4" fmla="*/ 7896 h 407947"/>
                  <a:gd name="connsiteX5" fmla="*/ 15919 w 16726"/>
                  <a:gd name="connsiteY5" fmla="*/ 399118 h 407947"/>
                  <a:gd name="connsiteX6" fmla="*/ 7556 w 16726"/>
                  <a:gd name="connsiteY6" fmla="*/ 407481 h 40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407947">
                    <a:moveTo>
                      <a:pt x="7556" y="407481"/>
                    </a:moveTo>
                    <a:cubicBezTo>
                      <a:pt x="2929" y="407481"/>
                      <a:pt x="-807" y="403734"/>
                      <a:pt x="-807" y="399118"/>
                    </a:cubicBezTo>
                    <a:lnTo>
                      <a:pt x="-807" y="7896"/>
                    </a:lnTo>
                    <a:cubicBezTo>
                      <a:pt x="-807" y="3280"/>
                      <a:pt x="2929" y="-467"/>
                      <a:pt x="7556" y="-467"/>
                    </a:cubicBezTo>
                    <a:cubicBezTo>
                      <a:pt x="12184" y="-467"/>
                      <a:pt x="15919" y="3280"/>
                      <a:pt x="15919" y="7896"/>
                    </a:cubicBezTo>
                    <a:lnTo>
                      <a:pt x="15919" y="399118"/>
                    </a:lnTo>
                    <a:cubicBezTo>
                      <a:pt x="15919" y="403734"/>
                      <a:pt x="12184" y="407481"/>
                      <a:pt x="7556" y="407481"/>
                    </a:cubicBezTo>
                    <a:close/>
                  </a:path>
                </a:pathLst>
              </a:custGeom>
              <a:solidFill>
                <a:srgbClr val="30373B"/>
              </a:solidFill>
              <a:ln w="5573" cap="flat">
                <a:noFill/>
                <a:prstDash val="solid"/>
                <a:miter/>
              </a:ln>
            </p:spPr>
            <p:txBody>
              <a:bodyPr rtlCol="0" anchor="ctr"/>
              <a:lstStyle/>
              <a:p>
                <a:endParaRPr lang="en-GB"/>
              </a:p>
            </p:txBody>
          </p:sp>
          <p:sp>
            <p:nvSpPr>
              <p:cNvPr id="126" name="Graphic 6">
                <a:extLst>
                  <a:ext uri="{FF2B5EF4-FFF2-40B4-BE49-F238E27FC236}">
                    <a16:creationId xmlns:a16="http://schemas.microsoft.com/office/drawing/2014/main" id="{4855A34A-43D3-37B5-AE77-69E47DBEE3F3}"/>
                  </a:ext>
                </a:extLst>
              </p:cNvPr>
              <p:cNvSpPr/>
              <p:nvPr/>
            </p:nvSpPr>
            <p:spPr>
              <a:xfrm>
                <a:off x="8938435" y="4877612"/>
                <a:ext cx="16726" cy="657332"/>
              </a:xfrm>
              <a:custGeom>
                <a:avLst/>
                <a:gdLst>
                  <a:gd name="connsiteX0" fmla="*/ 7556 w 16726"/>
                  <a:gd name="connsiteY0" fmla="*/ 656866 h 657332"/>
                  <a:gd name="connsiteX1" fmla="*/ -807 w 16726"/>
                  <a:gd name="connsiteY1" fmla="*/ 648503 h 657332"/>
                  <a:gd name="connsiteX2" fmla="*/ -807 w 16726"/>
                  <a:gd name="connsiteY2" fmla="*/ 7896 h 657332"/>
                  <a:gd name="connsiteX3" fmla="*/ 7556 w 16726"/>
                  <a:gd name="connsiteY3" fmla="*/ -467 h 657332"/>
                  <a:gd name="connsiteX4" fmla="*/ 15919 w 16726"/>
                  <a:gd name="connsiteY4" fmla="*/ 7896 h 657332"/>
                  <a:gd name="connsiteX5" fmla="*/ 15919 w 16726"/>
                  <a:gd name="connsiteY5" fmla="*/ 648503 h 657332"/>
                  <a:gd name="connsiteX6" fmla="*/ 7556 w 16726"/>
                  <a:gd name="connsiteY6" fmla="*/ 656866 h 6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657332">
                    <a:moveTo>
                      <a:pt x="7556" y="656866"/>
                    </a:moveTo>
                    <a:cubicBezTo>
                      <a:pt x="2928" y="656866"/>
                      <a:pt x="-807" y="653131"/>
                      <a:pt x="-807" y="648503"/>
                    </a:cubicBezTo>
                    <a:lnTo>
                      <a:pt x="-807" y="7896"/>
                    </a:lnTo>
                    <a:cubicBezTo>
                      <a:pt x="-807" y="3280"/>
                      <a:pt x="2928" y="-467"/>
                      <a:pt x="7556" y="-467"/>
                    </a:cubicBezTo>
                    <a:cubicBezTo>
                      <a:pt x="12184" y="-467"/>
                      <a:pt x="15919" y="3280"/>
                      <a:pt x="15919" y="7896"/>
                    </a:cubicBezTo>
                    <a:lnTo>
                      <a:pt x="15919" y="648503"/>
                    </a:lnTo>
                    <a:cubicBezTo>
                      <a:pt x="15919" y="653131"/>
                      <a:pt x="12184" y="656866"/>
                      <a:pt x="7556" y="656866"/>
                    </a:cubicBezTo>
                    <a:close/>
                  </a:path>
                </a:pathLst>
              </a:custGeom>
              <a:solidFill>
                <a:srgbClr val="30373B"/>
              </a:solidFill>
              <a:ln w="5573" cap="flat">
                <a:noFill/>
                <a:prstDash val="solid"/>
                <a:miter/>
              </a:ln>
            </p:spPr>
            <p:txBody>
              <a:bodyPr rtlCol="0" anchor="ctr"/>
              <a:lstStyle/>
              <a:p>
                <a:endParaRPr lang="en-GB"/>
              </a:p>
            </p:txBody>
          </p:sp>
          <p:sp>
            <p:nvSpPr>
              <p:cNvPr id="127" name="Graphic 6">
                <a:extLst>
                  <a:ext uri="{FF2B5EF4-FFF2-40B4-BE49-F238E27FC236}">
                    <a16:creationId xmlns:a16="http://schemas.microsoft.com/office/drawing/2014/main" id="{17F2EC53-A7E5-F083-4E89-F0CCCE844347}"/>
                  </a:ext>
                </a:extLst>
              </p:cNvPr>
              <p:cNvSpPr/>
              <p:nvPr/>
            </p:nvSpPr>
            <p:spPr>
              <a:xfrm>
                <a:off x="7928963" y="5690496"/>
                <a:ext cx="1026197" cy="174564"/>
              </a:xfrm>
              <a:custGeom>
                <a:avLst/>
                <a:gdLst>
                  <a:gd name="connsiteX0" fmla="*/ 911152 w 1026197"/>
                  <a:gd name="connsiteY0" fmla="*/ 174097 h 174564"/>
                  <a:gd name="connsiteX1" fmla="*/ 7556 w 1026197"/>
                  <a:gd name="connsiteY1" fmla="*/ 174097 h 174564"/>
                  <a:gd name="connsiteX2" fmla="*/ -807 w 1026197"/>
                  <a:gd name="connsiteY2" fmla="*/ 165734 h 174564"/>
                  <a:gd name="connsiteX3" fmla="*/ 7556 w 1026197"/>
                  <a:gd name="connsiteY3" fmla="*/ 157371 h 174564"/>
                  <a:gd name="connsiteX4" fmla="*/ 911152 w 1026197"/>
                  <a:gd name="connsiteY4" fmla="*/ 157371 h 174564"/>
                  <a:gd name="connsiteX5" fmla="*/ 1008665 w 1026197"/>
                  <a:gd name="connsiteY5" fmla="*/ 59858 h 174564"/>
                  <a:gd name="connsiteX6" fmla="*/ 1008665 w 1026197"/>
                  <a:gd name="connsiteY6" fmla="*/ 7896 h 174564"/>
                  <a:gd name="connsiteX7" fmla="*/ 1017028 w 1026197"/>
                  <a:gd name="connsiteY7" fmla="*/ -467 h 174564"/>
                  <a:gd name="connsiteX8" fmla="*/ 1025391 w 1026197"/>
                  <a:gd name="connsiteY8" fmla="*/ 7896 h 174564"/>
                  <a:gd name="connsiteX9" fmla="*/ 1025391 w 1026197"/>
                  <a:gd name="connsiteY9" fmla="*/ 60025 h 174564"/>
                  <a:gd name="connsiteX10" fmla="*/ 911152 w 1026197"/>
                  <a:gd name="connsiteY10" fmla="*/ 174097 h 17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6197" h="174564">
                    <a:moveTo>
                      <a:pt x="911152" y="174097"/>
                    </a:moveTo>
                    <a:lnTo>
                      <a:pt x="7556" y="174097"/>
                    </a:lnTo>
                    <a:cubicBezTo>
                      <a:pt x="2929" y="174097"/>
                      <a:pt x="-807" y="170362"/>
                      <a:pt x="-807" y="165734"/>
                    </a:cubicBezTo>
                    <a:cubicBezTo>
                      <a:pt x="-807" y="161106"/>
                      <a:pt x="2929" y="157371"/>
                      <a:pt x="7556" y="157371"/>
                    </a:cubicBezTo>
                    <a:lnTo>
                      <a:pt x="911152" y="157371"/>
                    </a:lnTo>
                    <a:cubicBezTo>
                      <a:pt x="964954" y="157316"/>
                      <a:pt x="1008609" y="113660"/>
                      <a:pt x="1008665" y="59858"/>
                    </a:cubicBezTo>
                    <a:lnTo>
                      <a:pt x="1008665" y="7896"/>
                    </a:lnTo>
                    <a:cubicBezTo>
                      <a:pt x="1008665" y="3269"/>
                      <a:pt x="1012400" y="-467"/>
                      <a:pt x="1017028" y="-467"/>
                    </a:cubicBezTo>
                    <a:cubicBezTo>
                      <a:pt x="1021655" y="-467"/>
                      <a:pt x="1025391" y="3269"/>
                      <a:pt x="1025391" y="7896"/>
                    </a:cubicBezTo>
                    <a:lnTo>
                      <a:pt x="1025391" y="60025"/>
                    </a:lnTo>
                    <a:cubicBezTo>
                      <a:pt x="1025223" y="123027"/>
                      <a:pt x="974153" y="174042"/>
                      <a:pt x="911152" y="174097"/>
                    </a:cubicBezTo>
                    <a:close/>
                  </a:path>
                </a:pathLst>
              </a:custGeom>
              <a:solidFill>
                <a:srgbClr val="30373B"/>
              </a:solidFill>
              <a:ln w="5573" cap="flat">
                <a:noFill/>
                <a:prstDash val="solid"/>
                <a:miter/>
              </a:ln>
            </p:spPr>
            <p:txBody>
              <a:bodyPr rtlCol="0" anchor="ctr"/>
              <a:lstStyle/>
              <a:p>
                <a:endParaRPr lang="en-GB"/>
              </a:p>
            </p:txBody>
          </p:sp>
          <p:sp>
            <p:nvSpPr>
              <p:cNvPr id="128" name="Graphic 6">
                <a:extLst>
                  <a:ext uri="{FF2B5EF4-FFF2-40B4-BE49-F238E27FC236}">
                    <a16:creationId xmlns:a16="http://schemas.microsoft.com/office/drawing/2014/main" id="{5C9CCC71-9426-10BA-D9BF-9F3E9EEB8E51}"/>
                  </a:ext>
                </a:extLst>
              </p:cNvPr>
              <p:cNvSpPr/>
              <p:nvPr/>
            </p:nvSpPr>
            <p:spPr>
              <a:xfrm>
                <a:off x="7431755" y="5848334"/>
                <a:ext cx="330840" cy="16726"/>
              </a:xfrm>
              <a:custGeom>
                <a:avLst/>
                <a:gdLst>
                  <a:gd name="connsiteX0" fmla="*/ 321671 w 330840"/>
                  <a:gd name="connsiteY0" fmla="*/ 16259 h 16726"/>
                  <a:gd name="connsiteX1" fmla="*/ 7556 w 330840"/>
                  <a:gd name="connsiteY1" fmla="*/ 16259 h 16726"/>
                  <a:gd name="connsiteX2" fmla="*/ -807 w 330840"/>
                  <a:gd name="connsiteY2" fmla="*/ 7896 h 16726"/>
                  <a:gd name="connsiteX3" fmla="*/ 7556 w 330840"/>
                  <a:gd name="connsiteY3" fmla="*/ -467 h 16726"/>
                  <a:gd name="connsiteX4" fmla="*/ 321671 w 330840"/>
                  <a:gd name="connsiteY4" fmla="*/ -467 h 16726"/>
                  <a:gd name="connsiteX5" fmla="*/ 330034 w 330840"/>
                  <a:gd name="connsiteY5" fmla="*/ 7896 h 16726"/>
                  <a:gd name="connsiteX6" fmla="*/ 321671 w 33084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840" h="16726">
                    <a:moveTo>
                      <a:pt x="321671" y="16259"/>
                    </a:moveTo>
                    <a:lnTo>
                      <a:pt x="7556" y="16259"/>
                    </a:lnTo>
                    <a:cubicBezTo>
                      <a:pt x="2928" y="16259"/>
                      <a:pt x="-807" y="12523"/>
                      <a:pt x="-807" y="7896"/>
                    </a:cubicBezTo>
                    <a:cubicBezTo>
                      <a:pt x="-807" y="3268"/>
                      <a:pt x="2928" y="-467"/>
                      <a:pt x="7556" y="-467"/>
                    </a:cubicBezTo>
                    <a:lnTo>
                      <a:pt x="321671" y="-467"/>
                    </a:lnTo>
                    <a:cubicBezTo>
                      <a:pt x="326298" y="-467"/>
                      <a:pt x="330034" y="3268"/>
                      <a:pt x="330034" y="7896"/>
                    </a:cubicBezTo>
                    <a:cubicBezTo>
                      <a:pt x="330034" y="12523"/>
                      <a:pt x="326298" y="16259"/>
                      <a:pt x="321671" y="16259"/>
                    </a:cubicBezTo>
                    <a:close/>
                  </a:path>
                </a:pathLst>
              </a:custGeom>
              <a:solidFill>
                <a:srgbClr val="30373B"/>
              </a:solidFill>
              <a:ln w="5573" cap="flat">
                <a:noFill/>
                <a:prstDash val="solid"/>
                <a:miter/>
              </a:ln>
            </p:spPr>
            <p:txBody>
              <a:bodyPr rtlCol="0" anchor="ctr"/>
              <a:lstStyle/>
              <a:p>
                <a:endParaRPr lang="en-GB"/>
              </a:p>
            </p:txBody>
          </p:sp>
          <p:sp>
            <p:nvSpPr>
              <p:cNvPr id="129" name="Graphic 6">
                <a:extLst>
                  <a:ext uri="{FF2B5EF4-FFF2-40B4-BE49-F238E27FC236}">
                    <a16:creationId xmlns:a16="http://schemas.microsoft.com/office/drawing/2014/main" id="{850CDA10-5619-79AB-F602-086A6E0975AD}"/>
                  </a:ext>
                </a:extLst>
              </p:cNvPr>
              <p:cNvSpPr/>
              <p:nvPr/>
            </p:nvSpPr>
            <p:spPr>
              <a:xfrm>
                <a:off x="6403885" y="5848334"/>
                <a:ext cx="880290" cy="16726"/>
              </a:xfrm>
              <a:custGeom>
                <a:avLst/>
                <a:gdLst>
                  <a:gd name="connsiteX0" fmla="*/ 871121 w 880290"/>
                  <a:gd name="connsiteY0" fmla="*/ 16259 h 16726"/>
                  <a:gd name="connsiteX1" fmla="*/ 7556 w 880290"/>
                  <a:gd name="connsiteY1" fmla="*/ 16259 h 16726"/>
                  <a:gd name="connsiteX2" fmla="*/ -807 w 880290"/>
                  <a:gd name="connsiteY2" fmla="*/ 7896 h 16726"/>
                  <a:gd name="connsiteX3" fmla="*/ 7556 w 880290"/>
                  <a:gd name="connsiteY3" fmla="*/ -467 h 16726"/>
                  <a:gd name="connsiteX4" fmla="*/ 871121 w 880290"/>
                  <a:gd name="connsiteY4" fmla="*/ -467 h 16726"/>
                  <a:gd name="connsiteX5" fmla="*/ 879484 w 880290"/>
                  <a:gd name="connsiteY5" fmla="*/ 7896 h 16726"/>
                  <a:gd name="connsiteX6" fmla="*/ 871121 w 88029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290" h="16726">
                    <a:moveTo>
                      <a:pt x="871121" y="16259"/>
                    </a:moveTo>
                    <a:lnTo>
                      <a:pt x="7556" y="16259"/>
                    </a:lnTo>
                    <a:cubicBezTo>
                      <a:pt x="2928" y="16259"/>
                      <a:pt x="-807" y="12523"/>
                      <a:pt x="-807" y="7896"/>
                    </a:cubicBezTo>
                    <a:cubicBezTo>
                      <a:pt x="-807" y="3268"/>
                      <a:pt x="2928" y="-467"/>
                      <a:pt x="7556" y="-467"/>
                    </a:cubicBezTo>
                    <a:lnTo>
                      <a:pt x="871121" y="-467"/>
                    </a:lnTo>
                    <a:cubicBezTo>
                      <a:pt x="875748" y="-467"/>
                      <a:pt x="879484" y="3268"/>
                      <a:pt x="879484" y="7896"/>
                    </a:cubicBezTo>
                    <a:cubicBezTo>
                      <a:pt x="879484" y="12523"/>
                      <a:pt x="875748" y="16259"/>
                      <a:pt x="871121" y="16259"/>
                    </a:cubicBezTo>
                    <a:close/>
                  </a:path>
                </a:pathLst>
              </a:custGeom>
              <a:solidFill>
                <a:srgbClr val="30373B"/>
              </a:solidFill>
              <a:ln w="5573" cap="flat">
                <a:noFill/>
                <a:prstDash val="solid"/>
                <a:miter/>
              </a:ln>
            </p:spPr>
            <p:txBody>
              <a:bodyPr rtlCol="0" anchor="ctr"/>
              <a:lstStyle/>
              <a:p>
                <a:endParaRPr lang="en-GB"/>
              </a:p>
            </p:txBody>
          </p:sp>
          <p:sp>
            <p:nvSpPr>
              <p:cNvPr id="130" name="Graphic 6">
                <a:extLst>
                  <a:ext uri="{FF2B5EF4-FFF2-40B4-BE49-F238E27FC236}">
                    <a16:creationId xmlns:a16="http://schemas.microsoft.com/office/drawing/2014/main" id="{71F4FB02-6C27-0ED6-8DA8-4271F7E8E229}"/>
                  </a:ext>
                </a:extLst>
              </p:cNvPr>
              <p:cNvSpPr/>
              <p:nvPr/>
            </p:nvSpPr>
            <p:spPr>
              <a:xfrm>
                <a:off x="5729158" y="4877612"/>
                <a:ext cx="509809" cy="987448"/>
              </a:xfrm>
              <a:custGeom>
                <a:avLst/>
                <a:gdLst>
                  <a:gd name="connsiteX0" fmla="*/ 500639 w 509809"/>
                  <a:gd name="connsiteY0" fmla="*/ 986982 h 987448"/>
                  <a:gd name="connsiteX1" fmla="*/ 113432 w 509809"/>
                  <a:gd name="connsiteY1" fmla="*/ 986982 h 987448"/>
                  <a:gd name="connsiteX2" fmla="*/ -807 w 509809"/>
                  <a:gd name="connsiteY2" fmla="*/ 872743 h 987448"/>
                  <a:gd name="connsiteX3" fmla="*/ -807 w 509809"/>
                  <a:gd name="connsiteY3" fmla="*/ 7896 h 987448"/>
                  <a:gd name="connsiteX4" fmla="*/ 7556 w 509809"/>
                  <a:gd name="connsiteY4" fmla="*/ -467 h 987448"/>
                  <a:gd name="connsiteX5" fmla="*/ 15919 w 509809"/>
                  <a:gd name="connsiteY5" fmla="*/ 7896 h 987448"/>
                  <a:gd name="connsiteX6" fmla="*/ 15919 w 509809"/>
                  <a:gd name="connsiteY6" fmla="*/ 872743 h 987448"/>
                  <a:gd name="connsiteX7" fmla="*/ 113432 w 509809"/>
                  <a:gd name="connsiteY7" fmla="*/ 970256 h 987448"/>
                  <a:gd name="connsiteX8" fmla="*/ 500639 w 509809"/>
                  <a:gd name="connsiteY8" fmla="*/ 970256 h 987448"/>
                  <a:gd name="connsiteX9" fmla="*/ 509003 w 509809"/>
                  <a:gd name="connsiteY9" fmla="*/ 978619 h 987448"/>
                  <a:gd name="connsiteX10" fmla="*/ 500639 w 509809"/>
                  <a:gd name="connsiteY10" fmla="*/ 986982 h 98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809" h="987448">
                    <a:moveTo>
                      <a:pt x="500639" y="986982"/>
                    </a:moveTo>
                    <a:lnTo>
                      <a:pt x="113432" y="986982"/>
                    </a:lnTo>
                    <a:cubicBezTo>
                      <a:pt x="50364" y="986926"/>
                      <a:pt x="-745" y="935800"/>
                      <a:pt x="-807" y="872743"/>
                    </a:cubicBezTo>
                    <a:lnTo>
                      <a:pt x="-807" y="7896"/>
                    </a:lnTo>
                    <a:cubicBezTo>
                      <a:pt x="-807" y="3280"/>
                      <a:pt x="2940" y="-467"/>
                      <a:pt x="7556" y="-467"/>
                    </a:cubicBezTo>
                    <a:cubicBezTo>
                      <a:pt x="12173" y="-467"/>
                      <a:pt x="15919" y="3280"/>
                      <a:pt x="15919" y="7896"/>
                    </a:cubicBezTo>
                    <a:lnTo>
                      <a:pt x="15919" y="872743"/>
                    </a:lnTo>
                    <a:cubicBezTo>
                      <a:pt x="15981" y="926545"/>
                      <a:pt x="59602" y="970200"/>
                      <a:pt x="113432" y="970256"/>
                    </a:cubicBezTo>
                    <a:lnTo>
                      <a:pt x="500639" y="970256"/>
                    </a:lnTo>
                    <a:cubicBezTo>
                      <a:pt x="505267" y="970256"/>
                      <a:pt x="509003" y="973991"/>
                      <a:pt x="509003" y="978619"/>
                    </a:cubicBezTo>
                    <a:cubicBezTo>
                      <a:pt x="509003" y="983246"/>
                      <a:pt x="505267" y="986982"/>
                      <a:pt x="500639" y="986982"/>
                    </a:cubicBezTo>
                    <a:close/>
                  </a:path>
                </a:pathLst>
              </a:custGeom>
              <a:solidFill>
                <a:srgbClr val="30373B"/>
              </a:solidFill>
              <a:ln w="5573" cap="flat">
                <a:noFill/>
                <a:prstDash val="solid"/>
                <a:miter/>
              </a:ln>
            </p:spPr>
            <p:txBody>
              <a:bodyPr rtlCol="0" anchor="ctr"/>
              <a:lstStyle/>
              <a:p>
                <a:endParaRPr lang="en-GB"/>
              </a:p>
            </p:txBody>
          </p:sp>
          <p:sp>
            <p:nvSpPr>
              <p:cNvPr id="131" name="Graphic 6">
                <a:extLst>
                  <a:ext uri="{FF2B5EF4-FFF2-40B4-BE49-F238E27FC236}">
                    <a16:creationId xmlns:a16="http://schemas.microsoft.com/office/drawing/2014/main" id="{53FC2B8F-212D-171A-E592-A2CCBED2B2C1}"/>
                  </a:ext>
                </a:extLst>
              </p:cNvPr>
              <p:cNvSpPr/>
              <p:nvPr/>
            </p:nvSpPr>
            <p:spPr>
              <a:xfrm>
                <a:off x="5729158" y="2810833"/>
                <a:ext cx="1178961" cy="1849451"/>
              </a:xfrm>
              <a:custGeom>
                <a:avLst/>
                <a:gdLst>
                  <a:gd name="connsiteX0" fmla="*/ 7556 w 1178961"/>
                  <a:gd name="connsiteY0" fmla="*/ 1848985 h 1849451"/>
                  <a:gd name="connsiteX1" fmla="*/ -807 w 1178961"/>
                  <a:gd name="connsiteY1" fmla="*/ 1840622 h 1849451"/>
                  <a:gd name="connsiteX2" fmla="*/ -807 w 1178961"/>
                  <a:gd name="connsiteY2" fmla="*/ 168912 h 1849451"/>
                  <a:gd name="connsiteX3" fmla="*/ 168405 w 1178961"/>
                  <a:gd name="connsiteY3" fmla="*/ -467 h 1849451"/>
                  <a:gd name="connsiteX4" fmla="*/ 1169792 w 1178961"/>
                  <a:gd name="connsiteY4" fmla="*/ -467 h 1849451"/>
                  <a:gd name="connsiteX5" fmla="*/ 1178155 w 1178961"/>
                  <a:gd name="connsiteY5" fmla="*/ 7896 h 1849451"/>
                  <a:gd name="connsiteX6" fmla="*/ 1169792 w 1178961"/>
                  <a:gd name="connsiteY6" fmla="*/ 16259 h 1849451"/>
                  <a:gd name="connsiteX7" fmla="*/ 168405 w 1178961"/>
                  <a:gd name="connsiteY7" fmla="*/ 16259 h 1849451"/>
                  <a:gd name="connsiteX8" fmla="*/ 15752 w 1178961"/>
                  <a:gd name="connsiteY8" fmla="*/ 168856 h 1849451"/>
                  <a:gd name="connsiteX9" fmla="*/ 15752 w 1178961"/>
                  <a:gd name="connsiteY9" fmla="*/ 1840622 h 1849451"/>
                  <a:gd name="connsiteX10" fmla="*/ 7556 w 1178961"/>
                  <a:gd name="connsiteY10" fmla="*/ 1848985 h 184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8961" h="1849451">
                    <a:moveTo>
                      <a:pt x="7556" y="1848985"/>
                    </a:moveTo>
                    <a:cubicBezTo>
                      <a:pt x="2940" y="1848985"/>
                      <a:pt x="-807" y="1845238"/>
                      <a:pt x="-807" y="1840622"/>
                    </a:cubicBezTo>
                    <a:lnTo>
                      <a:pt x="-807" y="168912"/>
                    </a:lnTo>
                    <a:cubicBezTo>
                      <a:pt x="-712" y="75469"/>
                      <a:pt x="74962" y="-283"/>
                      <a:pt x="168405" y="-467"/>
                    </a:cubicBezTo>
                    <a:lnTo>
                      <a:pt x="1169792" y="-467"/>
                    </a:lnTo>
                    <a:cubicBezTo>
                      <a:pt x="1174419" y="-467"/>
                      <a:pt x="1178155" y="3280"/>
                      <a:pt x="1178155" y="7896"/>
                    </a:cubicBezTo>
                    <a:cubicBezTo>
                      <a:pt x="1178155" y="12513"/>
                      <a:pt x="1174419" y="16259"/>
                      <a:pt x="1169792" y="16259"/>
                    </a:cubicBezTo>
                    <a:lnTo>
                      <a:pt x="168405" y="16259"/>
                    </a:lnTo>
                    <a:cubicBezTo>
                      <a:pt x="84156" y="16354"/>
                      <a:pt x="15875" y="84607"/>
                      <a:pt x="15752" y="168856"/>
                    </a:cubicBezTo>
                    <a:lnTo>
                      <a:pt x="15752" y="1840622"/>
                    </a:lnTo>
                    <a:cubicBezTo>
                      <a:pt x="15752" y="1845177"/>
                      <a:pt x="12111" y="1848896"/>
                      <a:pt x="7556" y="1848985"/>
                    </a:cubicBezTo>
                    <a:close/>
                  </a:path>
                </a:pathLst>
              </a:custGeom>
              <a:solidFill>
                <a:srgbClr val="30373B"/>
              </a:solidFill>
              <a:ln w="5573" cap="flat">
                <a:noFill/>
                <a:prstDash val="solid"/>
                <a:miter/>
              </a:ln>
            </p:spPr>
            <p:txBody>
              <a:bodyPr rtlCol="0" anchor="ctr"/>
              <a:lstStyle/>
              <a:p>
                <a:endParaRPr lang="en-GB"/>
              </a:p>
            </p:txBody>
          </p:sp>
          <p:sp>
            <p:nvSpPr>
              <p:cNvPr id="132" name="Graphic 6">
                <a:extLst>
                  <a:ext uri="{FF2B5EF4-FFF2-40B4-BE49-F238E27FC236}">
                    <a16:creationId xmlns:a16="http://schemas.microsoft.com/office/drawing/2014/main" id="{4B43CDB7-D61F-36C8-5DAF-064BB718372B}"/>
                  </a:ext>
                </a:extLst>
              </p:cNvPr>
              <p:cNvSpPr/>
              <p:nvPr/>
            </p:nvSpPr>
            <p:spPr>
              <a:xfrm>
                <a:off x="7060214" y="2810833"/>
                <a:ext cx="237397" cy="16726"/>
              </a:xfrm>
              <a:custGeom>
                <a:avLst/>
                <a:gdLst>
                  <a:gd name="connsiteX0" fmla="*/ 228228 w 237397"/>
                  <a:gd name="connsiteY0" fmla="*/ 16259 h 16726"/>
                  <a:gd name="connsiteX1" fmla="*/ 7556 w 237397"/>
                  <a:gd name="connsiteY1" fmla="*/ 16259 h 16726"/>
                  <a:gd name="connsiteX2" fmla="*/ -807 w 237397"/>
                  <a:gd name="connsiteY2" fmla="*/ 7896 h 16726"/>
                  <a:gd name="connsiteX3" fmla="*/ 7556 w 237397"/>
                  <a:gd name="connsiteY3" fmla="*/ -467 h 16726"/>
                  <a:gd name="connsiteX4" fmla="*/ 228228 w 237397"/>
                  <a:gd name="connsiteY4" fmla="*/ -467 h 16726"/>
                  <a:gd name="connsiteX5" fmla="*/ 236591 w 237397"/>
                  <a:gd name="connsiteY5" fmla="*/ 7896 h 16726"/>
                  <a:gd name="connsiteX6" fmla="*/ 228228 w 237397"/>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397" h="16726">
                    <a:moveTo>
                      <a:pt x="228228" y="16259"/>
                    </a:moveTo>
                    <a:lnTo>
                      <a:pt x="7556" y="16259"/>
                    </a:lnTo>
                    <a:cubicBezTo>
                      <a:pt x="2929" y="16259"/>
                      <a:pt x="-807" y="12513"/>
                      <a:pt x="-807" y="7896"/>
                    </a:cubicBezTo>
                    <a:cubicBezTo>
                      <a:pt x="-807" y="3280"/>
                      <a:pt x="2929" y="-467"/>
                      <a:pt x="7556" y="-467"/>
                    </a:cubicBezTo>
                    <a:lnTo>
                      <a:pt x="228228" y="-467"/>
                    </a:lnTo>
                    <a:cubicBezTo>
                      <a:pt x="232856" y="-467"/>
                      <a:pt x="236591" y="3280"/>
                      <a:pt x="236591" y="7896"/>
                    </a:cubicBezTo>
                    <a:cubicBezTo>
                      <a:pt x="236591" y="12513"/>
                      <a:pt x="232856" y="16259"/>
                      <a:pt x="228228" y="16259"/>
                    </a:cubicBezTo>
                    <a:close/>
                  </a:path>
                </a:pathLst>
              </a:custGeom>
              <a:solidFill>
                <a:srgbClr val="30373B"/>
              </a:solidFill>
              <a:ln w="5573" cap="flat">
                <a:noFill/>
                <a:prstDash val="solid"/>
                <a:miter/>
              </a:ln>
            </p:spPr>
            <p:txBody>
              <a:bodyPr rtlCol="0" anchor="ctr"/>
              <a:lstStyle/>
              <a:p>
                <a:endParaRPr lang="en-GB"/>
              </a:p>
            </p:txBody>
          </p:sp>
          <p:sp>
            <p:nvSpPr>
              <p:cNvPr id="133" name="Graphic 6">
                <a:extLst>
                  <a:ext uri="{FF2B5EF4-FFF2-40B4-BE49-F238E27FC236}">
                    <a16:creationId xmlns:a16="http://schemas.microsoft.com/office/drawing/2014/main" id="{24A65A9D-16F7-CC3A-9DE5-0F3717A3189D}"/>
                  </a:ext>
                </a:extLst>
              </p:cNvPr>
              <p:cNvSpPr/>
              <p:nvPr/>
            </p:nvSpPr>
            <p:spPr>
              <a:xfrm>
                <a:off x="7431755" y="2810833"/>
                <a:ext cx="1523405" cy="1847054"/>
              </a:xfrm>
              <a:custGeom>
                <a:avLst/>
                <a:gdLst>
                  <a:gd name="connsiteX0" fmla="*/ 1514236 w 1523405"/>
                  <a:gd name="connsiteY0" fmla="*/ 1846588 h 1847054"/>
                  <a:gd name="connsiteX1" fmla="*/ 1505873 w 1523405"/>
                  <a:gd name="connsiteY1" fmla="*/ 1838225 h 1847054"/>
                  <a:gd name="connsiteX2" fmla="*/ 1505873 w 1523405"/>
                  <a:gd name="connsiteY2" fmla="*/ 168912 h 1847054"/>
                  <a:gd name="connsiteX3" fmla="*/ 1353220 w 1523405"/>
                  <a:gd name="connsiteY3" fmla="*/ 16259 h 1847054"/>
                  <a:gd name="connsiteX4" fmla="*/ 7556 w 1523405"/>
                  <a:gd name="connsiteY4" fmla="*/ 16259 h 1847054"/>
                  <a:gd name="connsiteX5" fmla="*/ -807 w 1523405"/>
                  <a:gd name="connsiteY5" fmla="*/ 7896 h 1847054"/>
                  <a:gd name="connsiteX6" fmla="*/ 7556 w 1523405"/>
                  <a:gd name="connsiteY6" fmla="*/ -467 h 1847054"/>
                  <a:gd name="connsiteX7" fmla="*/ 1353220 w 1523405"/>
                  <a:gd name="connsiteY7" fmla="*/ -467 h 1847054"/>
                  <a:gd name="connsiteX8" fmla="*/ 1522599 w 1523405"/>
                  <a:gd name="connsiteY8" fmla="*/ 168856 h 1847054"/>
                  <a:gd name="connsiteX9" fmla="*/ 1522599 w 1523405"/>
                  <a:gd name="connsiteY9" fmla="*/ 1838225 h 1847054"/>
                  <a:gd name="connsiteX10" fmla="*/ 1514236 w 1523405"/>
                  <a:gd name="connsiteY10" fmla="*/ 1846588 h 184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3405" h="1847054">
                    <a:moveTo>
                      <a:pt x="1514236" y="1846588"/>
                    </a:moveTo>
                    <a:cubicBezTo>
                      <a:pt x="1509608" y="1846588"/>
                      <a:pt x="1505873" y="1842841"/>
                      <a:pt x="1505873" y="1838225"/>
                    </a:cubicBezTo>
                    <a:lnTo>
                      <a:pt x="1505873" y="168912"/>
                    </a:lnTo>
                    <a:cubicBezTo>
                      <a:pt x="1505762" y="84641"/>
                      <a:pt x="1437464" y="16354"/>
                      <a:pt x="1353220" y="16259"/>
                    </a:cubicBezTo>
                    <a:lnTo>
                      <a:pt x="7556" y="16259"/>
                    </a:lnTo>
                    <a:cubicBezTo>
                      <a:pt x="2928" y="16259"/>
                      <a:pt x="-807" y="12513"/>
                      <a:pt x="-807" y="7896"/>
                    </a:cubicBezTo>
                    <a:cubicBezTo>
                      <a:pt x="-807" y="3280"/>
                      <a:pt x="2928" y="-467"/>
                      <a:pt x="7556" y="-467"/>
                    </a:cubicBezTo>
                    <a:lnTo>
                      <a:pt x="1353220" y="-467"/>
                    </a:lnTo>
                    <a:cubicBezTo>
                      <a:pt x="1446719" y="-372"/>
                      <a:pt x="1522488" y="75369"/>
                      <a:pt x="1522599" y="168856"/>
                    </a:cubicBezTo>
                    <a:lnTo>
                      <a:pt x="1522599" y="1838225"/>
                    </a:lnTo>
                    <a:cubicBezTo>
                      <a:pt x="1522599" y="1842841"/>
                      <a:pt x="1518864" y="1846588"/>
                      <a:pt x="1514236" y="1846588"/>
                    </a:cubicBezTo>
                    <a:close/>
                  </a:path>
                </a:pathLst>
              </a:custGeom>
              <a:solidFill>
                <a:srgbClr val="30373B"/>
              </a:solidFill>
              <a:ln w="5573" cap="flat">
                <a:noFill/>
                <a:prstDash val="solid"/>
                <a:miter/>
              </a:ln>
            </p:spPr>
            <p:txBody>
              <a:bodyPr rtlCol="0" anchor="ctr"/>
              <a:lstStyle/>
              <a:p>
                <a:endParaRPr lang="en-GB"/>
              </a:p>
            </p:txBody>
          </p:sp>
          <p:sp>
            <p:nvSpPr>
              <p:cNvPr id="134" name="Graphic 6">
                <a:extLst>
                  <a:ext uri="{FF2B5EF4-FFF2-40B4-BE49-F238E27FC236}">
                    <a16:creationId xmlns:a16="http://schemas.microsoft.com/office/drawing/2014/main" id="{50ACB1D3-7A71-A8CC-A19A-6DEE811E1A97}"/>
                  </a:ext>
                </a:extLst>
              </p:cNvPr>
              <p:cNvSpPr/>
              <p:nvPr/>
            </p:nvSpPr>
            <p:spPr>
              <a:xfrm>
                <a:off x="8730738" y="4140125"/>
                <a:ext cx="47182" cy="573515"/>
              </a:xfrm>
              <a:custGeom>
                <a:avLst/>
                <a:gdLst>
                  <a:gd name="connsiteX0" fmla="*/ 7572 w 47182"/>
                  <a:gd name="connsiteY0" fmla="*/ 573049 h 573515"/>
                  <a:gd name="connsiteX1" fmla="*/ 6959 w 47182"/>
                  <a:gd name="connsiteY1" fmla="*/ 573049 h 573515"/>
                  <a:gd name="connsiteX2" fmla="*/ -791 w 47182"/>
                  <a:gd name="connsiteY2" fmla="*/ 564128 h 573515"/>
                  <a:gd name="connsiteX3" fmla="*/ 29650 w 47182"/>
                  <a:gd name="connsiteY3" fmla="*/ 123119 h 573515"/>
                  <a:gd name="connsiteX4" fmla="*/ 24577 w 47182"/>
                  <a:gd name="connsiteY4" fmla="*/ 8267 h 573515"/>
                  <a:gd name="connsiteX5" fmla="*/ 32605 w 47182"/>
                  <a:gd name="connsiteY5" fmla="*/ -459 h 573515"/>
                  <a:gd name="connsiteX6" fmla="*/ 41303 w 47182"/>
                  <a:gd name="connsiteY6" fmla="*/ 7542 h 573515"/>
                  <a:gd name="connsiteX7" fmla="*/ 46376 w 47182"/>
                  <a:gd name="connsiteY7" fmla="*/ 122840 h 573515"/>
                  <a:gd name="connsiteX8" fmla="*/ 46376 w 47182"/>
                  <a:gd name="connsiteY8" fmla="*/ 123788 h 573515"/>
                  <a:gd name="connsiteX9" fmla="*/ 15824 w 47182"/>
                  <a:gd name="connsiteY9" fmla="*/ 565243 h 573515"/>
                  <a:gd name="connsiteX10" fmla="*/ 7572 w 47182"/>
                  <a:gd name="connsiteY10" fmla="*/ 573049 h 573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2" h="573515">
                    <a:moveTo>
                      <a:pt x="7572" y="573049"/>
                    </a:moveTo>
                    <a:lnTo>
                      <a:pt x="6959" y="573049"/>
                    </a:lnTo>
                    <a:cubicBezTo>
                      <a:pt x="2387" y="572692"/>
                      <a:pt x="-1070" y="568717"/>
                      <a:pt x="-791" y="564128"/>
                    </a:cubicBezTo>
                    <a:lnTo>
                      <a:pt x="29650" y="123119"/>
                    </a:lnTo>
                    <a:lnTo>
                      <a:pt x="24577" y="8267"/>
                    </a:lnTo>
                    <a:cubicBezTo>
                      <a:pt x="24354" y="3650"/>
                      <a:pt x="27978" y="-258"/>
                      <a:pt x="32605" y="-459"/>
                    </a:cubicBezTo>
                    <a:cubicBezTo>
                      <a:pt x="37177" y="-660"/>
                      <a:pt x="41080" y="2925"/>
                      <a:pt x="41303" y="7542"/>
                    </a:cubicBezTo>
                    <a:lnTo>
                      <a:pt x="46376" y="122840"/>
                    </a:lnTo>
                    <a:lnTo>
                      <a:pt x="46376" y="123788"/>
                    </a:lnTo>
                    <a:lnTo>
                      <a:pt x="15824" y="565243"/>
                    </a:lnTo>
                    <a:cubicBezTo>
                      <a:pt x="15544" y="569603"/>
                      <a:pt x="11921" y="572999"/>
                      <a:pt x="7572" y="573049"/>
                    </a:cubicBezTo>
                    <a:close/>
                  </a:path>
                </a:pathLst>
              </a:custGeom>
              <a:solidFill>
                <a:srgbClr val="30373B"/>
              </a:solidFill>
              <a:ln w="5573" cap="flat">
                <a:noFill/>
                <a:prstDash val="solid"/>
                <a:miter/>
              </a:ln>
            </p:spPr>
            <p:txBody>
              <a:bodyPr rtlCol="0" anchor="ctr"/>
              <a:lstStyle/>
              <a:p>
                <a:endParaRPr lang="en-GB"/>
              </a:p>
            </p:txBody>
          </p:sp>
          <p:sp>
            <p:nvSpPr>
              <p:cNvPr id="135" name="Graphic 6">
                <a:extLst>
                  <a:ext uri="{FF2B5EF4-FFF2-40B4-BE49-F238E27FC236}">
                    <a16:creationId xmlns:a16="http://schemas.microsoft.com/office/drawing/2014/main" id="{70490746-F00E-9B9D-81E5-CF638E30FE9F}"/>
                  </a:ext>
                </a:extLst>
              </p:cNvPr>
              <p:cNvSpPr/>
              <p:nvPr/>
            </p:nvSpPr>
            <p:spPr>
              <a:xfrm>
                <a:off x="8498660" y="4140014"/>
                <a:ext cx="102810" cy="575021"/>
              </a:xfrm>
              <a:custGeom>
                <a:avLst/>
                <a:gdLst>
                  <a:gd name="connsiteX0" fmla="*/ 7548 w 102810"/>
                  <a:gd name="connsiteY0" fmla="*/ 574554 h 575021"/>
                  <a:gd name="connsiteX1" fmla="*/ 5931 w 102810"/>
                  <a:gd name="connsiteY1" fmla="*/ 574554 h 575021"/>
                  <a:gd name="connsiteX2" fmla="*/ -648 w 102810"/>
                  <a:gd name="connsiteY2" fmla="*/ 564741 h 575021"/>
                  <a:gd name="connsiteX3" fmla="*/ 78410 w 102810"/>
                  <a:gd name="connsiteY3" fmla="*/ 163317 h 575021"/>
                  <a:gd name="connsiteX4" fmla="*/ 85268 w 102810"/>
                  <a:gd name="connsiteY4" fmla="*/ 7542 h 575021"/>
                  <a:gd name="connsiteX5" fmla="*/ 93966 w 102810"/>
                  <a:gd name="connsiteY5" fmla="*/ -459 h 575021"/>
                  <a:gd name="connsiteX6" fmla="*/ 101994 w 102810"/>
                  <a:gd name="connsiteY6" fmla="*/ 8266 h 575021"/>
                  <a:gd name="connsiteX7" fmla="*/ 95136 w 102810"/>
                  <a:gd name="connsiteY7" fmla="*/ 164376 h 575021"/>
                  <a:gd name="connsiteX8" fmla="*/ 95136 w 102810"/>
                  <a:gd name="connsiteY8" fmla="*/ 165658 h 575021"/>
                  <a:gd name="connsiteX9" fmla="*/ 15967 w 102810"/>
                  <a:gd name="connsiteY9" fmla="*/ 567417 h 575021"/>
                  <a:gd name="connsiteX10" fmla="*/ 7548 w 102810"/>
                  <a:gd name="connsiteY10" fmla="*/ 574554 h 57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810" h="575021">
                    <a:moveTo>
                      <a:pt x="7548" y="574554"/>
                    </a:moveTo>
                    <a:lnTo>
                      <a:pt x="5931" y="574554"/>
                    </a:lnTo>
                    <a:cubicBezTo>
                      <a:pt x="1415" y="573656"/>
                      <a:pt x="-1540" y="569268"/>
                      <a:pt x="-648" y="564741"/>
                    </a:cubicBezTo>
                    <a:lnTo>
                      <a:pt x="78410" y="163317"/>
                    </a:lnTo>
                    <a:lnTo>
                      <a:pt x="85268" y="7542"/>
                    </a:lnTo>
                    <a:cubicBezTo>
                      <a:pt x="85491" y="2925"/>
                      <a:pt x="89394" y="-660"/>
                      <a:pt x="93966" y="-459"/>
                    </a:cubicBezTo>
                    <a:cubicBezTo>
                      <a:pt x="98593" y="-258"/>
                      <a:pt x="102217" y="3650"/>
                      <a:pt x="101994" y="8266"/>
                    </a:cubicBezTo>
                    <a:lnTo>
                      <a:pt x="95136" y="164376"/>
                    </a:lnTo>
                    <a:cubicBezTo>
                      <a:pt x="95192" y="164800"/>
                      <a:pt x="95192" y="165235"/>
                      <a:pt x="95136" y="165658"/>
                    </a:cubicBezTo>
                    <a:lnTo>
                      <a:pt x="15967" y="567417"/>
                    </a:lnTo>
                    <a:cubicBezTo>
                      <a:pt x="15354" y="571560"/>
                      <a:pt x="11729" y="574604"/>
                      <a:pt x="7548" y="574554"/>
                    </a:cubicBezTo>
                    <a:close/>
                  </a:path>
                </a:pathLst>
              </a:custGeom>
              <a:solidFill>
                <a:srgbClr val="30373B"/>
              </a:solidFill>
              <a:ln w="5573" cap="flat">
                <a:noFill/>
                <a:prstDash val="solid"/>
                <a:miter/>
              </a:ln>
            </p:spPr>
            <p:txBody>
              <a:bodyPr rtlCol="0" anchor="ctr"/>
              <a:lstStyle/>
              <a:p>
                <a:endParaRPr lang="en-GB"/>
              </a:p>
            </p:txBody>
          </p:sp>
          <p:sp>
            <p:nvSpPr>
              <p:cNvPr id="136" name="Graphic 6">
                <a:extLst>
                  <a:ext uri="{FF2B5EF4-FFF2-40B4-BE49-F238E27FC236}">
                    <a16:creationId xmlns:a16="http://schemas.microsoft.com/office/drawing/2014/main" id="{A0D34FDE-724C-8B6C-2DDD-3B4D10BCAABB}"/>
                  </a:ext>
                </a:extLst>
              </p:cNvPr>
              <p:cNvSpPr/>
              <p:nvPr/>
            </p:nvSpPr>
            <p:spPr>
              <a:xfrm>
                <a:off x="8553234" y="4337429"/>
                <a:ext cx="126801" cy="377605"/>
              </a:xfrm>
              <a:custGeom>
                <a:avLst/>
                <a:gdLst>
                  <a:gd name="connsiteX0" fmla="*/ 7612 w 126801"/>
                  <a:gd name="connsiteY0" fmla="*/ 377139 h 377605"/>
                  <a:gd name="connsiteX1" fmla="*/ 5160 w 126801"/>
                  <a:gd name="connsiteY1" fmla="*/ 376748 h 377605"/>
                  <a:gd name="connsiteX2" fmla="*/ -472 w 126801"/>
                  <a:gd name="connsiteY2" fmla="*/ 366423 h 377605"/>
                  <a:gd name="connsiteX3" fmla="*/ -416 w 126801"/>
                  <a:gd name="connsiteY3" fmla="*/ 366322 h 377605"/>
                  <a:gd name="connsiteX4" fmla="*/ 109697 w 126801"/>
                  <a:gd name="connsiteY4" fmla="*/ 5264 h 377605"/>
                  <a:gd name="connsiteX5" fmla="*/ 120290 w 126801"/>
                  <a:gd name="connsiteY5" fmla="*/ -39 h 377605"/>
                  <a:gd name="connsiteX6" fmla="*/ 125698 w 126801"/>
                  <a:gd name="connsiteY6" fmla="*/ 10114 h 377605"/>
                  <a:gd name="connsiteX7" fmla="*/ 15474 w 126801"/>
                  <a:gd name="connsiteY7" fmla="*/ 371229 h 377605"/>
                  <a:gd name="connsiteX8" fmla="*/ 7612 w 126801"/>
                  <a:gd name="connsiteY8" fmla="*/ 377139 h 37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801" h="377605">
                    <a:moveTo>
                      <a:pt x="7612" y="377139"/>
                    </a:moveTo>
                    <a:cubicBezTo>
                      <a:pt x="6777" y="377139"/>
                      <a:pt x="5940" y="377011"/>
                      <a:pt x="5160" y="376748"/>
                    </a:cubicBezTo>
                    <a:cubicBezTo>
                      <a:pt x="755" y="375444"/>
                      <a:pt x="-1754" y="370822"/>
                      <a:pt x="-472" y="366423"/>
                    </a:cubicBezTo>
                    <a:cubicBezTo>
                      <a:pt x="-416" y="366389"/>
                      <a:pt x="-416" y="366356"/>
                      <a:pt x="-416" y="366322"/>
                    </a:cubicBezTo>
                    <a:lnTo>
                      <a:pt x="109697" y="5264"/>
                    </a:lnTo>
                    <a:cubicBezTo>
                      <a:pt x="111147" y="881"/>
                      <a:pt x="115886" y="-1494"/>
                      <a:pt x="120290" y="-39"/>
                    </a:cubicBezTo>
                    <a:cubicBezTo>
                      <a:pt x="124472" y="1366"/>
                      <a:pt x="126869" y="5826"/>
                      <a:pt x="125698" y="10114"/>
                    </a:cubicBezTo>
                    <a:lnTo>
                      <a:pt x="15474" y="371229"/>
                    </a:lnTo>
                    <a:cubicBezTo>
                      <a:pt x="14415" y="374697"/>
                      <a:pt x="11237" y="377083"/>
                      <a:pt x="7612" y="377139"/>
                    </a:cubicBezTo>
                    <a:close/>
                  </a:path>
                </a:pathLst>
              </a:custGeom>
              <a:solidFill>
                <a:srgbClr val="30373B"/>
              </a:solidFill>
              <a:ln w="5573" cap="flat">
                <a:noFill/>
                <a:prstDash val="solid"/>
                <a:miter/>
              </a:ln>
            </p:spPr>
            <p:txBody>
              <a:bodyPr rtlCol="0" anchor="ctr"/>
              <a:lstStyle/>
              <a:p>
                <a:endParaRPr lang="en-GB"/>
              </a:p>
            </p:txBody>
          </p:sp>
          <p:sp>
            <p:nvSpPr>
              <p:cNvPr id="137" name="Graphic 6">
                <a:extLst>
                  <a:ext uri="{FF2B5EF4-FFF2-40B4-BE49-F238E27FC236}">
                    <a16:creationId xmlns:a16="http://schemas.microsoft.com/office/drawing/2014/main" id="{1B525BE5-DD1E-7937-ABF5-57DA7A123578}"/>
                  </a:ext>
                </a:extLst>
              </p:cNvPr>
              <p:cNvSpPr/>
              <p:nvPr/>
            </p:nvSpPr>
            <p:spPr>
              <a:xfrm>
                <a:off x="8663735" y="4337249"/>
                <a:ext cx="23700" cy="376391"/>
              </a:xfrm>
              <a:custGeom>
                <a:avLst/>
                <a:gdLst>
                  <a:gd name="connsiteX0" fmla="*/ 14249 w 23700"/>
                  <a:gd name="connsiteY0" fmla="*/ 375924 h 376391"/>
                  <a:gd name="connsiteX1" fmla="*/ 5886 w 23700"/>
                  <a:gd name="connsiteY1" fmla="*/ 367729 h 376391"/>
                  <a:gd name="connsiteX2" fmla="*/ -804 w 23700"/>
                  <a:gd name="connsiteY2" fmla="*/ 8064 h 376391"/>
                  <a:gd name="connsiteX3" fmla="*/ 7391 w 23700"/>
                  <a:gd name="connsiteY3" fmla="*/ -467 h 376391"/>
                  <a:gd name="connsiteX4" fmla="*/ 7391 w 23700"/>
                  <a:gd name="connsiteY4" fmla="*/ -467 h 376391"/>
                  <a:gd name="connsiteX5" fmla="*/ 15922 w 23700"/>
                  <a:gd name="connsiteY5" fmla="*/ 7729 h 376391"/>
                  <a:gd name="connsiteX6" fmla="*/ 22891 w 23700"/>
                  <a:gd name="connsiteY6" fmla="*/ 367394 h 376391"/>
                  <a:gd name="connsiteX7" fmla="*/ 14695 w 23700"/>
                  <a:gd name="connsiteY7" fmla="*/ 375924 h 376391"/>
                  <a:gd name="connsiteX8" fmla="*/ 14695 w 23700"/>
                  <a:gd name="connsiteY8" fmla="*/ 375924 h 37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00" h="376391">
                    <a:moveTo>
                      <a:pt x="14249" y="375924"/>
                    </a:moveTo>
                    <a:cubicBezTo>
                      <a:pt x="9678" y="375924"/>
                      <a:pt x="5998" y="372284"/>
                      <a:pt x="5886" y="367729"/>
                    </a:cubicBezTo>
                    <a:lnTo>
                      <a:pt x="-804" y="8064"/>
                    </a:lnTo>
                    <a:cubicBezTo>
                      <a:pt x="-916" y="3447"/>
                      <a:pt x="2764" y="-372"/>
                      <a:pt x="7391" y="-467"/>
                    </a:cubicBezTo>
                    <a:cubicBezTo>
                      <a:pt x="7391" y="-467"/>
                      <a:pt x="7391" y="-467"/>
                      <a:pt x="7391" y="-467"/>
                    </a:cubicBezTo>
                    <a:cubicBezTo>
                      <a:pt x="11964" y="-500"/>
                      <a:pt x="15754" y="3135"/>
                      <a:pt x="15922" y="7729"/>
                    </a:cubicBezTo>
                    <a:lnTo>
                      <a:pt x="22891" y="367394"/>
                    </a:lnTo>
                    <a:cubicBezTo>
                      <a:pt x="23003" y="372011"/>
                      <a:pt x="19323" y="375830"/>
                      <a:pt x="14695" y="375924"/>
                    </a:cubicBezTo>
                    <a:cubicBezTo>
                      <a:pt x="14695" y="375924"/>
                      <a:pt x="14695" y="375924"/>
                      <a:pt x="14695" y="375924"/>
                    </a:cubicBezTo>
                    <a:close/>
                  </a:path>
                </a:pathLst>
              </a:custGeom>
              <a:solidFill>
                <a:srgbClr val="30373B"/>
              </a:solidFill>
              <a:ln w="5573" cap="flat">
                <a:noFill/>
                <a:prstDash val="solid"/>
                <a:miter/>
              </a:ln>
            </p:spPr>
            <p:txBody>
              <a:bodyPr rtlCol="0" anchor="ctr"/>
              <a:lstStyle/>
              <a:p>
                <a:endParaRPr lang="en-GB"/>
              </a:p>
            </p:txBody>
          </p:sp>
          <p:sp>
            <p:nvSpPr>
              <p:cNvPr id="138" name="Graphic 6">
                <a:extLst>
                  <a:ext uri="{FF2B5EF4-FFF2-40B4-BE49-F238E27FC236}">
                    <a16:creationId xmlns:a16="http://schemas.microsoft.com/office/drawing/2014/main" id="{8E4B648A-5460-A8C7-BC4B-C6D897E0834C}"/>
                  </a:ext>
                </a:extLst>
              </p:cNvPr>
              <p:cNvSpPr/>
              <p:nvPr/>
            </p:nvSpPr>
            <p:spPr>
              <a:xfrm>
                <a:off x="8366659" y="4005517"/>
                <a:ext cx="468743" cy="380853"/>
              </a:xfrm>
              <a:custGeom>
                <a:avLst/>
                <a:gdLst>
                  <a:gd name="connsiteX0" fmla="*/ 458793 w 468743"/>
                  <a:gd name="connsiteY0" fmla="*/ 380385 h 380853"/>
                  <a:gd name="connsiteX1" fmla="*/ 458793 w 468743"/>
                  <a:gd name="connsiteY1" fmla="*/ 380385 h 380853"/>
                  <a:gd name="connsiteX2" fmla="*/ 450486 w 468743"/>
                  <a:gd name="connsiteY2" fmla="*/ 371966 h 380853"/>
                  <a:gd name="connsiteX3" fmla="*/ 450486 w 468743"/>
                  <a:gd name="connsiteY3" fmla="*/ 371966 h 380853"/>
                  <a:gd name="connsiteX4" fmla="*/ 450486 w 468743"/>
                  <a:gd name="connsiteY4" fmla="*/ 109646 h 380853"/>
                  <a:gd name="connsiteX5" fmla="*/ 357545 w 468743"/>
                  <a:gd name="connsiteY5" fmla="*/ 16482 h 380853"/>
                  <a:gd name="connsiteX6" fmla="*/ 271629 w 468743"/>
                  <a:gd name="connsiteY6" fmla="*/ 16482 h 380853"/>
                  <a:gd name="connsiteX7" fmla="*/ 192627 w 468743"/>
                  <a:gd name="connsiteY7" fmla="*/ 111263 h 380853"/>
                  <a:gd name="connsiteX8" fmla="*/ 123882 w 468743"/>
                  <a:gd name="connsiteY8" fmla="*/ 198238 h 380853"/>
                  <a:gd name="connsiteX9" fmla="*/ 611 w 468743"/>
                  <a:gd name="connsiteY9" fmla="*/ 115444 h 380853"/>
                  <a:gd name="connsiteX10" fmla="*/ 2898 w 468743"/>
                  <a:gd name="connsiteY10" fmla="*/ 103836 h 380853"/>
                  <a:gd name="connsiteX11" fmla="*/ 14494 w 468743"/>
                  <a:gd name="connsiteY11" fmla="*/ 106111 h 380853"/>
                  <a:gd name="connsiteX12" fmla="*/ 15107 w 468743"/>
                  <a:gd name="connsiteY12" fmla="*/ 107193 h 380853"/>
                  <a:gd name="connsiteX13" fmla="*/ 123882 w 468743"/>
                  <a:gd name="connsiteY13" fmla="*/ 181512 h 380853"/>
                  <a:gd name="connsiteX14" fmla="*/ 176570 w 468743"/>
                  <a:gd name="connsiteY14" fmla="*/ 106524 h 380853"/>
                  <a:gd name="connsiteX15" fmla="*/ 271350 w 468743"/>
                  <a:gd name="connsiteY15" fmla="*/ -467 h 380853"/>
                  <a:gd name="connsiteX16" fmla="*/ 357601 w 468743"/>
                  <a:gd name="connsiteY16" fmla="*/ -467 h 380853"/>
                  <a:gd name="connsiteX17" fmla="*/ 467268 w 468743"/>
                  <a:gd name="connsiteY17" fmla="*/ 108921 h 380853"/>
                  <a:gd name="connsiteX18" fmla="*/ 467268 w 468743"/>
                  <a:gd name="connsiteY18" fmla="*/ 371854 h 380853"/>
                  <a:gd name="connsiteX19" fmla="*/ 459183 w 468743"/>
                  <a:gd name="connsiteY19" fmla="*/ 380385 h 380853"/>
                  <a:gd name="connsiteX20" fmla="*/ 458793 w 468743"/>
                  <a:gd name="connsiteY20" fmla="*/ 380385 h 38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8743" h="380853">
                    <a:moveTo>
                      <a:pt x="458793" y="380385"/>
                    </a:moveTo>
                    <a:lnTo>
                      <a:pt x="458793" y="380385"/>
                    </a:lnTo>
                    <a:cubicBezTo>
                      <a:pt x="454165" y="380357"/>
                      <a:pt x="450430" y="376588"/>
                      <a:pt x="450486" y="371966"/>
                    </a:cubicBezTo>
                    <a:cubicBezTo>
                      <a:pt x="450486" y="371966"/>
                      <a:pt x="450486" y="371966"/>
                      <a:pt x="450486" y="371966"/>
                    </a:cubicBezTo>
                    <a:cubicBezTo>
                      <a:pt x="450486" y="369847"/>
                      <a:pt x="451936" y="161329"/>
                      <a:pt x="450486" y="109646"/>
                    </a:cubicBezTo>
                    <a:cubicBezTo>
                      <a:pt x="449036" y="59133"/>
                      <a:pt x="406496" y="16482"/>
                      <a:pt x="357545" y="16482"/>
                    </a:cubicBezTo>
                    <a:lnTo>
                      <a:pt x="271629" y="16482"/>
                    </a:lnTo>
                    <a:cubicBezTo>
                      <a:pt x="220559" y="16482"/>
                      <a:pt x="206955" y="62646"/>
                      <a:pt x="192627" y="111263"/>
                    </a:cubicBezTo>
                    <a:cubicBezTo>
                      <a:pt x="180026" y="154026"/>
                      <a:pt x="167035" y="198238"/>
                      <a:pt x="123882" y="198238"/>
                    </a:cubicBezTo>
                    <a:cubicBezTo>
                      <a:pt x="48448" y="198238"/>
                      <a:pt x="2508" y="118845"/>
                      <a:pt x="611" y="115444"/>
                    </a:cubicBezTo>
                    <a:cubicBezTo>
                      <a:pt x="-1953" y="111609"/>
                      <a:pt x="-950" y="106412"/>
                      <a:pt x="2898" y="103836"/>
                    </a:cubicBezTo>
                    <a:cubicBezTo>
                      <a:pt x="6744" y="101261"/>
                      <a:pt x="11930" y="102281"/>
                      <a:pt x="14494" y="106111"/>
                    </a:cubicBezTo>
                    <a:cubicBezTo>
                      <a:pt x="14717" y="106457"/>
                      <a:pt x="14940" y="106819"/>
                      <a:pt x="15107" y="107193"/>
                    </a:cubicBezTo>
                    <a:cubicBezTo>
                      <a:pt x="15554" y="107917"/>
                      <a:pt x="58261" y="181512"/>
                      <a:pt x="123882" y="181512"/>
                    </a:cubicBezTo>
                    <a:cubicBezTo>
                      <a:pt x="152484" y="181512"/>
                      <a:pt x="162910" y="153190"/>
                      <a:pt x="176570" y="106524"/>
                    </a:cubicBezTo>
                    <a:cubicBezTo>
                      <a:pt x="191288" y="56346"/>
                      <a:pt x="208015" y="-467"/>
                      <a:pt x="271350" y="-467"/>
                    </a:cubicBezTo>
                    <a:lnTo>
                      <a:pt x="357601" y="-467"/>
                    </a:lnTo>
                    <a:cubicBezTo>
                      <a:pt x="415361" y="-467"/>
                      <a:pt x="465539" y="49711"/>
                      <a:pt x="467268" y="108921"/>
                    </a:cubicBezTo>
                    <a:cubicBezTo>
                      <a:pt x="468773" y="160883"/>
                      <a:pt x="467268" y="369736"/>
                      <a:pt x="467268" y="371854"/>
                    </a:cubicBezTo>
                    <a:cubicBezTo>
                      <a:pt x="467379" y="376443"/>
                      <a:pt x="463755" y="380262"/>
                      <a:pt x="459183" y="380385"/>
                    </a:cubicBezTo>
                    <a:cubicBezTo>
                      <a:pt x="459072" y="380385"/>
                      <a:pt x="458905" y="380390"/>
                      <a:pt x="458793" y="380385"/>
                    </a:cubicBezTo>
                    <a:close/>
                  </a:path>
                </a:pathLst>
              </a:custGeom>
              <a:solidFill>
                <a:srgbClr val="30373B"/>
              </a:solidFill>
              <a:ln w="5573" cap="flat">
                <a:noFill/>
                <a:prstDash val="solid"/>
                <a:miter/>
              </a:ln>
            </p:spPr>
            <p:txBody>
              <a:bodyPr rtlCol="0" anchor="ctr"/>
              <a:lstStyle/>
              <a:p>
                <a:endParaRPr lang="en-GB"/>
              </a:p>
            </p:txBody>
          </p:sp>
          <p:sp>
            <p:nvSpPr>
              <p:cNvPr id="139" name="Graphic 6">
                <a:extLst>
                  <a:ext uri="{FF2B5EF4-FFF2-40B4-BE49-F238E27FC236}">
                    <a16:creationId xmlns:a16="http://schemas.microsoft.com/office/drawing/2014/main" id="{FD1F8E36-A071-56BF-7EB2-545F8B342CA7}"/>
                  </a:ext>
                </a:extLst>
              </p:cNvPr>
              <p:cNvSpPr/>
              <p:nvPr/>
            </p:nvSpPr>
            <p:spPr>
              <a:xfrm>
                <a:off x="8605167" y="3835795"/>
                <a:ext cx="145574" cy="186615"/>
              </a:xfrm>
              <a:custGeom>
                <a:avLst/>
                <a:gdLst>
                  <a:gd name="connsiteX0" fmla="*/ 71814 w 145574"/>
                  <a:gd name="connsiteY0" fmla="*/ 186148 h 186615"/>
                  <a:gd name="connsiteX1" fmla="*/ 63451 w 145574"/>
                  <a:gd name="connsiteY1" fmla="*/ 177785 h 186615"/>
                  <a:gd name="connsiteX2" fmla="*/ 71814 w 145574"/>
                  <a:gd name="connsiteY2" fmla="*/ 169422 h 186615"/>
                  <a:gd name="connsiteX3" fmla="*/ 127567 w 145574"/>
                  <a:gd name="connsiteY3" fmla="*/ 91981 h 186615"/>
                  <a:gd name="connsiteX4" fmla="*/ 111733 w 145574"/>
                  <a:gd name="connsiteY4" fmla="*/ 31934 h 186615"/>
                  <a:gd name="connsiteX5" fmla="*/ 32173 w 145574"/>
                  <a:gd name="connsiteY5" fmla="*/ 31934 h 186615"/>
                  <a:gd name="connsiteX6" fmla="*/ 16394 w 145574"/>
                  <a:gd name="connsiteY6" fmla="*/ 91981 h 186615"/>
                  <a:gd name="connsiteX7" fmla="*/ 25761 w 145574"/>
                  <a:gd name="connsiteY7" fmla="*/ 129447 h 186615"/>
                  <a:gd name="connsiteX8" fmla="*/ 21580 w 145574"/>
                  <a:gd name="connsiteY8" fmla="*/ 140514 h 186615"/>
                  <a:gd name="connsiteX9" fmla="*/ 10485 w 145574"/>
                  <a:gd name="connsiteY9" fmla="*/ 136305 h 186615"/>
                  <a:gd name="connsiteX10" fmla="*/ -276 w 145574"/>
                  <a:gd name="connsiteY10" fmla="*/ 93430 h 186615"/>
                  <a:gd name="connsiteX11" fmla="*/ 19851 w 145574"/>
                  <a:gd name="connsiteY11" fmla="*/ 20951 h 186615"/>
                  <a:gd name="connsiteX12" fmla="*/ 124110 w 145574"/>
                  <a:gd name="connsiteY12" fmla="*/ 20951 h 186615"/>
                  <a:gd name="connsiteX13" fmla="*/ 144237 w 145574"/>
                  <a:gd name="connsiteY13" fmla="*/ 93430 h 186615"/>
                  <a:gd name="connsiteX14" fmla="*/ 71814 w 145574"/>
                  <a:gd name="connsiteY14" fmla="*/ 186148 h 18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74" h="186615">
                    <a:moveTo>
                      <a:pt x="71814" y="186148"/>
                    </a:moveTo>
                    <a:cubicBezTo>
                      <a:pt x="67186" y="186148"/>
                      <a:pt x="63451" y="182402"/>
                      <a:pt x="63451" y="177785"/>
                    </a:cubicBezTo>
                    <a:cubicBezTo>
                      <a:pt x="63451" y="173169"/>
                      <a:pt x="67186" y="169422"/>
                      <a:pt x="71814" y="169422"/>
                    </a:cubicBezTo>
                    <a:cubicBezTo>
                      <a:pt x="92220" y="169422"/>
                      <a:pt x="122939" y="142493"/>
                      <a:pt x="127567" y="91981"/>
                    </a:cubicBezTo>
                    <a:cubicBezTo>
                      <a:pt x="129797" y="66836"/>
                      <a:pt x="124166" y="45483"/>
                      <a:pt x="111733" y="31934"/>
                    </a:cubicBezTo>
                    <a:cubicBezTo>
                      <a:pt x="89487" y="10675"/>
                      <a:pt x="54419" y="10675"/>
                      <a:pt x="32173" y="31934"/>
                    </a:cubicBezTo>
                    <a:cubicBezTo>
                      <a:pt x="19795" y="45483"/>
                      <a:pt x="14165" y="66836"/>
                      <a:pt x="16394" y="91981"/>
                    </a:cubicBezTo>
                    <a:cubicBezTo>
                      <a:pt x="17398" y="104904"/>
                      <a:pt x="20576" y="117560"/>
                      <a:pt x="25761" y="129447"/>
                    </a:cubicBezTo>
                    <a:cubicBezTo>
                      <a:pt x="27657" y="133667"/>
                      <a:pt x="25761" y="138618"/>
                      <a:pt x="21580" y="140514"/>
                    </a:cubicBezTo>
                    <a:cubicBezTo>
                      <a:pt x="17343" y="142410"/>
                      <a:pt x="12380" y="140525"/>
                      <a:pt x="10485" y="136305"/>
                    </a:cubicBezTo>
                    <a:cubicBezTo>
                      <a:pt x="4519" y="122707"/>
                      <a:pt x="896" y="108222"/>
                      <a:pt x="-276" y="93430"/>
                    </a:cubicBezTo>
                    <a:cubicBezTo>
                      <a:pt x="-2896" y="63547"/>
                      <a:pt x="4241" y="37677"/>
                      <a:pt x="19851" y="20951"/>
                    </a:cubicBezTo>
                    <a:cubicBezTo>
                      <a:pt x="48732" y="-7606"/>
                      <a:pt x="95230" y="-7606"/>
                      <a:pt x="124110" y="20951"/>
                    </a:cubicBezTo>
                    <a:cubicBezTo>
                      <a:pt x="139721" y="37677"/>
                      <a:pt x="146858" y="63825"/>
                      <a:pt x="144237" y="93430"/>
                    </a:cubicBezTo>
                    <a:cubicBezTo>
                      <a:pt x="140112" y="138033"/>
                      <a:pt x="111399" y="186148"/>
                      <a:pt x="71814" y="186148"/>
                    </a:cubicBezTo>
                    <a:close/>
                  </a:path>
                </a:pathLst>
              </a:custGeom>
              <a:solidFill>
                <a:srgbClr val="30373B"/>
              </a:solidFill>
              <a:ln w="5573" cap="flat">
                <a:noFill/>
                <a:prstDash val="solid"/>
                <a:miter/>
              </a:ln>
            </p:spPr>
            <p:txBody>
              <a:bodyPr rtlCol="0" anchor="ctr"/>
              <a:lstStyle/>
              <a:p>
                <a:endParaRPr lang="en-GB"/>
              </a:p>
            </p:txBody>
          </p:sp>
          <p:sp>
            <p:nvSpPr>
              <p:cNvPr id="140" name="Graphic 6">
                <a:extLst>
                  <a:ext uri="{FF2B5EF4-FFF2-40B4-BE49-F238E27FC236}">
                    <a16:creationId xmlns:a16="http://schemas.microsoft.com/office/drawing/2014/main" id="{9DF74694-D977-6C32-ECBC-48DE77049F24}"/>
                  </a:ext>
                </a:extLst>
              </p:cNvPr>
              <p:cNvSpPr/>
              <p:nvPr/>
            </p:nvSpPr>
            <p:spPr>
              <a:xfrm>
                <a:off x="7898500" y="5644664"/>
                <a:ext cx="47189" cy="630128"/>
              </a:xfrm>
              <a:custGeom>
                <a:avLst/>
                <a:gdLst>
                  <a:gd name="connsiteX0" fmla="*/ 7523 w 47189"/>
                  <a:gd name="connsiteY0" fmla="*/ 629661 h 630128"/>
                  <a:gd name="connsiteX1" fmla="*/ 6966 w 47189"/>
                  <a:gd name="connsiteY1" fmla="*/ 629661 h 630128"/>
                  <a:gd name="connsiteX2" fmla="*/ -784 w 47189"/>
                  <a:gd name="connsiteY2" fmla="*/ 620740 h 630128"/>
                  <a:gd name="connsiteX3" fmla="*/ 29657 w 47189"/>
                  <a:gd name="connsiteY3" fmla="*/ 179675 h 630128"/>
                  <a:gd name="connsiteX4" fmla="*/ 24584 w 47189"/>
                  <a:gd name="connsiteY4" fmla="*/ 8177 h 630128"/>
                  <a:gd name="connsiteX5" fmla="*/ 32724 w 47189"/>
                  <a:gd name="connsiteY5" fmla="*/ -464 h 630128"/>
                  <a:gd name="connsiteX6" fmla="*/ 41310 w 47189"/>
                  <a:gd name="connsiteY6" fmla="*/ 7675 h 630128"/>
                  <a:gd name="connsiteX7" fmla="*/ 46383 w 47189"/>
                  <a:gd name="connsiteY7" fmla="*/ 179563 h 630128"/>
                  <a:gd name="connsiteX8" fmla="*/ 46383 w 47189"/>
                  <a:gd name="connsiteY8" fmla="*/ 180399 h 630128"/>
                  <a:gd name="connsiteX9" fmla="*/ 15886 w 47189"/>
                  <a:gd name="connsiteY9" fmla="*/ 621855 h 630128"/>
                  <a:gd name="connsiteX10" fmla="*/ 7523 w 47189"/>
                  <a:gd name="connsiteY10" fmla="*/ 629661 h 63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9" h="630128">
                    <a:moveTo>
                      <a:pt x="7523" y="629661"/>
                    </a:moveTo>
                    <a:lnTo>
                      <a:pt x="6966" y="629661"/>
                    </a:lnTo>
                    <a:cubicBezTo>
                      <a:pt x="2338" y="629326"/>
                      <a:pt x="-1119" y="625368"/>
                      <a:pt x="-784" y="620740"/>
                    </a:cubicBezTo>
                    <a:lnTo>
                      <a:pt x="29657" y="179675"/>
                    </a:lnTo>
                    <a:lnTo>
                      <a:pt x="24584" y="8177"/>
                    </a:lnTo>
                    <a:cubicBezTo>
                      <a:pt x="24472" y="3550"/>
                      <a:pt x="28096" y="-297"/>
                      <a:pt x="32724" y="-464"/>
                    </a:cubicBezTo>
                    <a:cubicBezTo>
                      <a:pt x="37295" y="-576"/>
                      <a:pt x="41198" y="3048"/>
                      <a:pt x="41310" y="7675"/>
                    </a:cubicBezTo>
                    <a:lnTo>
                      <a:pt x="46383" y="179563"/>
                    </a:lnTo>
                    <a:lnTo>
                      <a:pt x="46383" y="180399"/>
                    </a:lnTo>
                    <a:lnTo>
                      <a:pt x="15886" y="621855"/>
                    </a:lnTo>
                    <a:cubicBezTo>
                      <a:pt x="15607" y="626259"/>
                      <a:pt x="11928" y="629717"/>
                      <a:pt x="7523" y="629661"/>
                    </a:cubicBezTo>
                    <a:close/>
                  </a:path>
                </a:pathLst>
              </a:custGeom>
              <a:solidFill>
                <a:srgbClr val="30373B"/>
              </a:solidFill>
              <a:ln w="5573" cap="flat">
                <a:noFill/>
                <a:prstDash val="solid"/>
                <a:miter/>
              </a:ln>
            </p:spPr>
            <p:txBody>
              <a:bodyPr rtlCol="0" anchor="ctr"/>
              <a:lstStyle/>
              <a:p>
                <a:endParaRPr lang="en-GB"/>
              </a:p>
            </p:txBody>
          </p:sp>
          <p:sp>
            <p:nvSpPr>
              <p:cNvPr id="141" name="Graphic 6">
                <a:extLst>
                  <a:ext uri="{FF2B5EF4-FFF2-40B4-BE49-F238E27FC236}">
                    <a16:creationId xmlns:a16="http://schemas.microsoft.com/office/drawing/2014/main" id="{38981A45-28E8-16A8-68C2-9BEF1BCC945C}"/>
                  </a:ext>
                </a:extLst>
              </p:cNvPr>
              <p:cNvSpPr/>
              <p:nvPr/>
            </p:nvSpPr>
            <p:spPr>
              <a:xfrm>
                <a:off x="7666429" y="5644887"/>
                <a:ext cx="102747" cy="631340"/>
              </a:xfrm>
              <a:custGeom>
                <a:avLst/>
                <a:gdLst>
                  <a:gd name="connsiteX0" fmla="*/ 7548 w 102747"/>
                  <a:gd name="connsiteY0" fmla="*/ 630832 h 631340"/>
                  <a:gd name="connsiteX1" fmla="*/ 5931 w 102747"/>
                  <a:gd name="connsiteY1" fmla="*/ 630832 h 631340"/>
                  <a:gd name="connsiteX2" fmla="*/ -648 w 102747"/>
                  <a:gd name="connsiteY2" fmla="*/ 621019 h 631340"/>
                  <a:gd name="connsiteX3" fmla="*/ 78354 w 102747"/>
                  <a:gd name="connsiteY3" fmla="*/ 219929 h 631340"/>
                  <a:gd name="connsiteX4" fmla="*/ 85213 w 102747"/>
                  <a:gd name="connsiteY4" fmla="*/ 7620 h 631340"/>
                  <a:gd name="connsiteX5" fmla="*/ 93854 w 102747"/>
                  <a:gd name="connsiteY5" fmla="*/ -464 h 631340"/>
                  <a:gd name="connsiteX6" fmla="*/ 101939 w 102747"/>
                  <a:gd name="connsiteY6" fmla="*/ 8066 h 631340"/>
                  <a:gd name="connsiteX7" fmla="*/ 101939 w 102747"/>
                  <a:gd name="connsiteY7" fmla="*/ 8122 h 631340"/>
                  <a:gd name="connsiteX8" fmla="*/ 95080 w 102747"/>
                  <a:gd name="connsiteY8" fmla="*/ 221155 h 631340"/>
                  <a:gd name="connsiteX9" fmla="*/ 95080 w 102747"/>
                  <a:gd name="connsiteY9" fmla="*/ 222494 h 631340"/>
                  <a:gd name="connsiteX10" fmla="*/ 15911 w 102747"/>
                  <a:gd name="connsiteY10" fmla="*/ 624253 h 631340"/>
                  <a:gd name="connsiteX11" fmla="*/ 7548 w 102747"/>
                  <a:gd name="connsiteY11" fmla="*/ 630832 h 63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747" h="631340">
                    <a:moveTo>
                      <a:pt x="7548" y="630832"/>
                    </a:moveTo>
                    <a:cubicBezTo>
                      <a:pt x="6991" y="630888"/>
                      <a:pt x="6489" y="630888"/>
                      <a:pt x="5931" y="630832"/>
                    </a:cubicBezTo>
                    <a:cubicBezTo>
                      <a:pt x="1415" y="629940"/>
                      <a:pt x="-1540" y="625535"/>
                      <a:pt x="-648" y="621019"/>
                    </a:cubicBezTo>
                    <a:lnTo>
                      <a:pt x="78354" y="219929"/>
                    </a:lnTo>
                    <a:lnTo>
                      <a:pt x="85213" y="7620"/>
                    </a:lnTo>
                    <a:cubicBezTo>
                      <a:pt x="85379" y="2992"/>
                      <a:pt x="89227" y="-575"/>
                      <a:pt x="93854" y="-464"/>
                    </a:cubicBezTo>
                    <a:cubicBezTo>
                      <a:pt x="98426" y="-353"/>
                      <a:pt x="102050" y="3495"/>
                      <a:pt x="101939" y="8066"/>
                    </a:cubicBezTo>
                    <a:cubicBezTo>
                      <a:pt x="101939" y="8066"/>
                      <a:pt x="101939" y="8122"/>
                      <a:pt x="101939" y="8122"/>
                    </a:cubicBezTo>
                    <a:lnTo>
                      <a:pt x="95080" y="221155"/>
                    </a:lnTo>
                    <a:lnTo>
                      <a:pt x="95080" y="222494"/>
                    </a:lnTo>
                    <a:lnTo>
                      <a:pt x="15911" y="624253"/>
                    </a:lnTo>
                    <a:cubicBezTo>
                      <a:pt x="15074" y="628155"/>
                      <a:pt x="11562" y="630943"/>
                      <a:pt x="7548" y="630832"/>
                    </a:cubicBezTo>
                    <a:close/>
                  </a:path>
                </a:pathLst>
              </a:custGeom>
              <a:solidFill>
                <a:srgbClr val="30373B"/>
              </a:solidFill>
              <a:ln w="5573" cap="flat">
                <a:noFill/>
                <a:prstDash val="solid"/>
                <a:miter/>
              </a:ln>
            </p:spPr>
            <p:txBody>
              <a:bodyPr rtlCol="0" anchor="ctr"/>
              <a:lstStyle/>
              <a:p>
                <a:endParaRPr lang="en-GB"/>
              </a:p>
            </p:txBody>
          </p:sp>
          <p:sp>
            <p:nvSpPr>
              <p:cNvPr id="142" name="Graphic 6">
                <a:extLst>
                  <a:ext uri="{FF2B5EF4-FFF2-40B4-BE49-F238E27FC236}">
                    <a16:creationId xmlns:a16="http://schemas.microsoft.com/office/drawing/2014/main" id="{153E743C-FCFC-2A8A-C41A-C42669C50627}"/>
                  </a:ext>
                </a:extLst>
              </p:cNvPr>
              <p:cNvSpPr/>
              <p:nvPr/>
            </p:nvSpPr>
            <p:spPr>
              <a:xfrm>
                <a:off x="7721034" y="5898375"/>
                <a:ext cx="126894" cy="377810"/>
              </a:xfrm>
              <a:custGeom>
                <a:avLst/>
                <a:gdLst>
                  <a:gd name="connsiteX0" fmla="*/ 7582 w 126894"/>
                  <a:gd name="connsiteY0" fmla="*/ 377344 h 377810"/>
                  <a:gd name="connsiteX1" fmla="*/ 5129 w 126894"/>
                  <a:gd name="connsiteY1" fmla="*/ 377009 h 377810"/>
                  <a:gd name="connsiteX2" fmla="*/ -447 w 126894"/>
                  <a:gd name="connsiteY2" fmla="*/ 366528 h 377810"/>
                  <a:gd name="connsiteX3" fmla="*/ 109722 w 126894"/>
                  <a:gd name="connsiteY3" fmla="*/ 5469 h 377810"/>
                  <a:gd name="connsiteX4" fmla="*/ 120148 w 126894"/>
                  <a:gd name="connsiteY4" fmla="*/ -107 h 377810"/>
                  <a:gd name="connsiteX5" fmla="*/ 125723 w 126894"/>
                  <a:gd name="connsiteY5" fmla="*/ 10375 h 377810"/>
                  <a:gd name="connsiteX6" fmla="*/ 15555 w 126894"/>
                  <a:gd name="connsiteY6" fmla="*/ 371434 h 377810"/>
                  <a:gd name="connsiteX7" fmla="*/ 7582 w 126894"/>
                  <a:gd name="connsiteY7" fmla="*/ 377344 h 37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94" h="377810">
                    <a:moveTo>
                      <a:pt x="7582" y="377344"/>
                    </a:moveTo>
                    <a:cubicBezTo>
                      <a:pt x="6746" y="377344"/>
                      <a:pt x="5909" y="377233"/>
                      <a:pt x="5129" y="377009"/>
                    </a:cubicBezTo>
                    <a:cubicBezTo>
                      <a:pt x="724" y="375615"/>
                      <a:pt x="-1785" y="370988"/>
                      <a:pt x="-447" y="366528"/>
                    </a:cubicBezTo>
                    <a:lnTo>
                      <a:pt x="109722" y="5469"/>
                    </a:lnTo>
                    <a:cubicBezTo>
                      <a:pt x="111060" y="1064"/>
                      <a:pt x="115743" y="-1445"/>
                      <a:pt x="120148" y="-107"/>
                    </a:cubicBezTo>
                    <a:cubicBezTo>
                      <a:pt x="124609" y="1287"/>
                      <a:pt x="127061" y="5970"/>
                      <a:pt x="125723" y="10375"/>
                    </a:cubicBezTo>
                    <a:lnTo>
                      <a:pt x="15555" y="371434"/>
                    </a:lnTo>
                    <a:cubicBezTo>
                      <a:pt x="14496" y="374946"/>
                      <a:pt x="11262" y="377344"/>
                      <a:pt x="7582" y="377344"/>
                    </a:cubicBezTo>
                    <a:close/>
                  </a:path>
                </a:pathLst>
              </a:custGeom>
              <a:solidFill>
                <a:srgbClr val="30373B"/>
              </a:solidFill>
              <a:ln w="5573" cap="flat">
                <a:noFill/>
                <a:prstDash val="solid"/>
                <a:miter/>
              </a:ln>
            </p:spPr>
            <p:txBody>
              <a:bodyPr rtlCol="0" anchor="ctr"/>
              <a:lstStyle/>
              <a:p>
                <a:endParaRPr lang="en-GB"/>
              </a:p>
            </p:txBody>
          </p:sp>
          <p:sp>
            <p:nvSpPr>
              <p:cNvPr id="143" name="Graphic 6">
                <a:extLst>
                  <a:ext uri="{FF2B5EF4-FFF2-40B4-BE49-F238E27FC236}">
                    <a16:creationId xmlns:a16="http://schemas.microsoft.com/office/drawing/2014/main" id="{F5D58B6F-BE0C-22D4-D086-9FBBB397B808}"/>
                  </a:ext>
                </a:extLst>
              </p:cNvPr>
              <p:cNvSpPr/>
              <p:nvPr/>
            </p:nvSpPr>
            <p:spPr>
              <a:xfrm>
                <a:off x="7831226" y="5898400"/>
                <a:ext cx="23698" cy="376392"/>
              </a:xfrm>
              <a:custGeom>
                <a:avLst/>
                <a:gdLst>
                  <a:gd name="connsiteX0" fmla="*/ 14528 w 23698"/>
                  <a:gd name="connsiteY0" fmla="*/ 375925 h 376392"/>
                  <a:gd name="connsiteX1" fmla="*/ 6165 w 23698"/>
                  <a:gd name="connsiteY1" fmla="*/ 367729 h 376392"/>
                  <a:gd name="connsiteX2" fmla="*/ -804 w 23698"/>
                  <a:gd name="connsiteY2" fmla="*/ 8064 h 376392"/>
                  <a:gd name="connsiteX3" fmla="*/ 7391 w 23698"/>
                  <a:gd name="connsiteY3" fmla="*/ -466 h 376392"/>
                  <a:gd name="connsiteX4" fmla="*/ 7391 w 23698"/>
                  <a:gd name="connsiteY4" fmla="*/ -466 h 376392"/>
                  <a:gd name="connsiteX5" fmla="*/ 15922 w 23698"/>
                  <a:gd name="connsiteY5" fmla="*/ 7729 h 376392"/>
                  <a:gd name="connsiteX6" fmla="*/ 22891 w 23698"/>
                  <a:gd name="connsiteY6" fmla="*/ 367395 h 376392"/>
                  <a:gd name="connsiteX7" fmla="*/ 14639 w 23698"/>
                  <a:gd name="connsiteY7" fmla="*/ 375925 h 37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8" h="376392">
                    <a:moveTo>
                      <a:pt x="14528" y="375925"/>
                    </a:moveTo>
                    <a:cubicBezTo>
                      <a:pt x="9956" y="375981"/>
                      <a:pt x="6220" y="372301"/>
                      <a:pt x="6165" y="367729"/>
                    </a:cubicBezTo>
                    <a:lnTo>
                      <a:pt x="-804" y="8064"/>
                    </a:lnTo>
                    <a:cubicBezTo>
                      <a:pt x="-916" y="3436"/>
                      <a:pt x="2763" y="-355"/>
                      <a:pt x="7391" y="-466"/>
                    </a:cubicBezTo>
                    <a:cubicBezTo>
                      <a:pt x="7391" y="-466"/>
                      <a:pt x="7391" y="-466"/>
                      <a:pt x="7391" y="-466"/>
                    </a:cubicBezTo>
                    <a:cubicBezTo>
                      <a:pt x="11963" y="-522"/>
                      <a:pt x="15754" y="3157"/>
                      <a:pt x="15922" y="7729"/>
                    </a:cubicBezTo>
                    <a:lnTo>
                      <a:pt x="22891" y="367395"/>
                    </a:lnTo>
                    <a:cubicBezTo>
                      <a:pt x="22946" y="372022"/>
                      <a:pt x="19267" y="375813"/>
                      <a:pt x="14639" y="375925"/>
                    </a:cubicBezTo>
                    <a:close/>
                  </a:path>
                </a:pathLst>
              </a:custGeom>
              <a:solidFill>
                <a:srgbClr val="30373B"/>
              </a:solidFill>
              <a:ln w="5573" cap="flat">
                <a:noFill/>
                <a:prstDash val="solid"/>
                <a:miter/>
              </a:ln>
            </p:spPr>
            <p:txBody>
              <a:bodyPr rtlCol="0" anchor="ctr"/>
              <a:lstStyle/>
              <a:p>
                <a:endParaRPr lang="en-GB"/>
              </a:p>
            </p:txBody>
          </p:sp>
          <p:sp>
            <p:nvSpPr>
              <p:cNvPr id="144" name="Graphic 6">
                <a:extLst>
                  <a:ext uri="{FF2B5EF4-FFF2-40B4-BE49-F238E27FC236}">
                    <a16:creationId xmlns:a16="http://schemas.microsoft.com/office/drawing/2014/main" id="{416F12BD-2951-1CE6-DCFC-380B53097E9A}"/>
                  </a:ext>
                </a:extLst>
              </p:cNvPr>
              <p:cNvSpPr/>
              <p:nvPr/>
            </p:nvSpPr>
            <p:spPr>
              <a:xfrm>
                <a:off x="7566210" y="5240663"/>
                <a:ext cx="491907" cy="365674"/>
              </a:xfrm>
              <a:custGeom>
                <a:avLst/>
                <a:gdLst>
                  <a:gd name="connsiteX0" fmla="*/ 325094 w 491907"/>
                  <a:gd name="connsiteY0" fmla="*/ 365179 h 365674"/>
                  <a:gd name="connsiteX1" fmla="*/ 233101 w 491907"/>
                  <a:gd name="connsiteY1" fmla="*/ 365179 h 365674"/>
                  <a:gd name="connsiteX2" fmla="*/ -784 w 491907"/>
                  <a:gd name="connsiteY2" fmla="*/ 70243 h 365674"/>
                  <a:gd name="connsiteX3" fmla="*/ 6966 w 491907"/>
                  <a:gd name="connsiteY3" fmla="*/ 61267 h 365674"/>
                  <a:gd name="connsiteX4" fmla="*/ 15942 w 491907"/>
                  <a:gd name="connsiteY4" fmla="*/ 69017 h 365674"/>
                  <a:gd name="connsiteX5" fmla="*/ 233380 w 491907"/>
                  <a:gd name="connsiteY5" fmla="*/ 348453 h 365674"/>
                  <a:gd name="connsiteX6" fmla="*/ 325373 w 491907"/>
                  <a:gd name="connsiteY6" fmla="*/ 348453 h 365674"/>
                  <a:gd name="connsiteX7" fmla="*/ 443013 w 491907"/>
                  <a:gd name="connsiteY7" fmla="*/ 288685 h 365674"/>
                  <a:gd name="connsiteX8" fmla="*/ 439946 w 491907"/>
                  <a:gd name="connsiteY8" fmla="*/ 10921 h 365674"/>
                  <a:gd name="connsiteX9" fmla="*/ 444741 w 491907"/>
                  <a:gd name="connsiteY9" fmla="*/ 105 h 365674"/>
                  <a:gd name="connsiteX10" fmla="*/ 455557 w 491907"/>
                  <a:gd name="connsiteY10" fmla="*/ 4845 h 365674"/>
                  <a:gd name="connsiteX11" fmla="*/ 455613 w 491907"/>
                  <a:gd name="connsiteY11" fmla="*/ 5067 h 365674"/>
                  <a:gd name="connsiteX12" fmla="*/ 456728 w 491907"/>
                  <a:gd name="connsiteY12" fmla="*/ 298219 h 365674"/>
                  <a:gd name="connsiteX13" fmla="*/ 325094 w 491907"/>
                  <a:gd name="connsiteY13" fmla="*/ 365179 h 36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907" h="365674">
                    <a:moveTo>
                      <a:pt x="325094" y="365179"/>
                    </a:moveTo>
                    <a:lnTo>
                      <a:pt x="233101" y="365179"/>
                    </a:lnTo>
                    <a:cubicBezTo>
                      <a:pt x="90484" y="365179"/>
                      <a:pt x="13935" y="268725"/>
                      <a:pt x="-784" y="70243"/>
                    </a:cubicBezTo>
                    <a:cubicBezTo>
                      <a:pt x="-1119" y="65616"/>
                      <a:pt x="2338" y="61601"/>
                      <a:pt x="6966" y="61267"/>
                    </a:cubicBezTo>
                    <a:cubicBezTo>
                      <a:pt x="11593" y="60932"/>
                      <a:pt x="15607" y="64389"/>
                      <a:pt x="15942" y="69017"/>
                    </a:cubicBezTo>
                    <a:cubicBezTo>
                      <a:pt x="29936" y="257073"/>
                      <a:pt x="100966" y="348453"/>
                      <a:pt x="233380" y="348453"/>
                    </a:cubicBezTo>
                    <a:lnTo>
                      <a:pt x="325373" y="348453"/>
                    </a:lnTo>
                    <a:cubicBezTo>
                      <a:pt x="372095" y="349345"/>
                      <a:pt x="416195" y="326932"/>
                      <a:pt x="443013" y="288685"/>
                    </a:cubicBezTo>
                    <a:cubicBezTo>
                      <a:pt x="485274" y="227747"/>
                      <a:pt x="484159" y="129119"/>
                      <a:pt x="439946" y="10921"/>
                    </a:cubicBezTo>
                    <a:cubicBezTo>
                      <a:pt x="438274" y="6629"/>
                      <a:pt x="440392" y="1778"/>
                      <a:pt x="444741" y="105"/>
                    </a:cubicBezTo>
                    <a:cubicBezTo>
                      <a:pt x="449034" y="-1567"/>
                      <a:pt x="453884" y="551"/>
                      <a:pt x="455557" y="4845"/>
                    </a:cubicBezTo>
                    <a:cubicBezTo>
                      <a:pt x="455557" y="4956"/>
                      <a:pt x="455613" y="5012"/>
                      <a:pt x="455613" y="5067"/>
                    </a:cubicBezTo>
                    <a:cubicBezTo>
                      <a:pt x="514823" y="163295"/>
                      <a:pt x="489065" y="251832"/>
                      <a:pt x="456728" y="298219"/>
                    </a:cubicBezTo>
                    <a:cubicBezTo>
                      <a:pt x="426732" y="341093"/>
                      <a:pt x="377391" y="366182"/>
                      <a:pt x="325094" y="365179"/>
                    </a:cubicBezTo>
                    <a:close/>
                  </a:path>
                </a:pathLst>
              </a:custGeom>
              <a:solidFill>
                <a:srgbClr val="30373B"/>
              </a:solidFill>
              <a:ln w="5573" cap="flat">
                <a:noFill/>
                <a:prstDash val="solid"/>
                <a:miter/>
              </a:ln>
            </p:spPr>
            <p:txBody>
              <a:bodyPr rtlCol="0" anchor="ctr"/>
              <a:lstStyle/>
              <a:p>
                <a:endParaRPr lang="en-GB"/>
              </a:p>
            </p:txBody>
          </p:sp>
          <p:sp>
            <p:nvSpPr>
              <p:cNvPr id="145" name="Graphic 6">
                <a:extLst>
                  <a:ext uri="{FF2B5EF4-FFF2-40B4-BE49-F238E27FC236}">
                    <a16:creationId xmlns:a16="http://schemas.microsoft.com/office/drawing/2014/main" id="{0964D3E6-C939-4DAC-45BF-65928CCF393B}"/>
                  </a:ext>
                </a:extLst>
              </p:cNvPr>
              <p:cNvSpPr/>
              <p:nvPr/>
            </p:nvSpPr>
            <p:spPr>
              <a:xfrm>
                <a:off x="7772825" y="5419702"/>
                <a:ext cx="145591" cy="186606"/>
              </a:xfrm>
              <a:custGeom>
                <a:avLst/>
                <a:gdLst>
                  <a:gd name="connsiteX0" fmla="*/ 71869 w 145591"/>
                  <a:gd name="connsiteY0" fmla="*/ 186140 h 186606"/>
                  <a:gd name="connsiteX1" fmla="*/ 63506 w 145591"/>
                  <a:gd name="connsiteY1" fmla="*/ 177777 h 186606"/>
                  <a:gd name="connsiteX2" fmla="*/ 71869 w 145591"/>
                  <a:gd name="connsiteY2" fmla="*/ 169414 h 186606"/>
                  <a:gd name="connsiteX3" fmla="*/ 127622 w 145591"/>
                  <a:gd name="connsiteY3" fmla="*/ 91972 h 186606"/>
                  <a:gd name="connsiteX4" fmla="*/ 111789 w 145591"/>
                  <a:gd name="connsiteY4" fmla="*/ 31926 h 186606"/>
                  <a:gd name="connsiteX5" fmla="*/ 32228 w 145591"/>
                  <a:gd name="connsiteY5" fmla="*/ 31926 h 186606"/>
                  <a:gd name="connsiteX6" fmla="*/ 16395 w 145591"/>
                  <a:gd name="connsiteY6" fmla="*/ 91972 h 186606"/>
                  <a:gd name="connsiteX7" fmla="*/ 25817 w 145591"/>
                  <a:gd name="connsiteY7" fmla="*/ 129494 h 186606"/>
                  <a:gd name="connsiteX8" fmla="*/ 21357 w 145591"/>
                  <a:gd name="connsiteY8" fmla="*/ 140422 h 186606"/>
                  <a:gd name="connsiteX9" fmla="*/ 10540 w 145591"/>
                  <a:gd name="connsiteY9" fmla="*/ 136296 h 186606"/>
                  <a:gd name="connsiteX10" fmla="*/ -276 w 145591"/>
                  <a:gd name="connsiteY10" fmla="*/ 93422 h 186606"/>
                  <a:gd name="connsiteX11" fmla="*/ 19907 w 145591"/>
                  <a:gd name="connsiteY11" fmla="*/ 20942 h 186606"/>
                  <a:gd name="connsiteX12" fmla="*/ 124110 w 145591"/>
                  <a:gd name="connsiteY12" fmla="*/ 20942 h 186606"/>
                  <a:gd name="connsiteX13" fmla="*/ 144237 w 145591"/>
                  <a:gd name="connsiteY13" fmla="*/ 93422 h 186606"/>
                  <a:gd name="connsiteX14" fmla="*/ 71869 w 145591"/>
                  <a:gd name="connsiteY14" fmla="*/ 186140 h 18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91" h="186606">
                    <a:moveTo>
                      <a:pt x="71869" y="186140"/>
                    </a:moveTo>
                    <a:cubicBezTo>
                      <a:pt x="67242" y="186140"/>
                      <a:pt x="63506" y="182404"/>
                      <a:pt x="63506" y="177777"/>
                    </a:cubicBezTo>
                    <a:cubicBezTo>
                      <a:pt x="63506" y="173149"/>
                      <a:pt x="67242" y="169414"/>
                      <a:pt x="71869" y="169414"/>
                    </a:cubicBezTo>
                    <a:cubicBezTo>
                      <a:pt x="92331" y="169414"/>
                      <a:pt x="123051" y="142484"/>
                      <a:pt x="127622" y="91972"/>
                    </a:cubicBezTo>
                    <a:cubicBezTo>
                      <a:pt x="129797" y="66827"/>
                      <a:pt x="124221" y="45474"/>
                      <a:pt x="111789" y="31926"/>
                    </a:cubicBezTo>
                    <a:cubicBezTo>
                      <a:pt x="89543" y="10684"/>
                      <a:pt x="54474" y="10684"/>
                      <a:pt x="32228" y="31926"/>
                    </a:cubicBezTo>
                    <a:cubicBezTo>
                      <a:pt x="19795" y="45474"/>
                      <a:pt x="14220" y="66827"/>
                      <a:pt x="16395" y="91972"/>
                    </a:cubicBezTo>
                    <a:cubicBezTo>
                      <a:pt x="17454" y="104907"/>
                      <a:pt x="20632" y="117563"/>
                      <a:pt x="25817" y="129494"/>
                    </a:cubicBezTo>
                    <a:cubicBezTo>
                      <a:pt x="27601" y="133732"/>
                      <a:pt x="25593" y="138638"/>
                      <a:pt x="21357" y="140422"/>
                    </a:cubicBezTo>
                    <a:cubicBezTo>
                      <a:pt x="17230" y="142206"/>
                      <a:pt x="12436" y="140366"/>
                      <a:pt x="10540" y="136296"/>
                    </a:cubicBezTo>
                    <a:cubicBezTo>
                      <a:pt x="4631" y="122692"/>
                      <a:pt x="951" y="108197"/>
                      <a:pt x="-276" y="93422"/>
                    </a:cubicBezTo>
                    <a:cubicBezTo>
                      <a:pt x="-2897" y="63538"/>
                      <a:pt x="4240" y="37668"/>
                      <a:pt x="19907" y="20942"/>
                    </a:cubicBezTo>
                    <a:cubicBezTo>
                      <a:pt x="48787" y="-7603"/>
                      <a:pt x="95230" y="-7603"/>
                      <a:pt x="124110" y="20942"/>
                    </a:cubicBezTo>
                    <a:cubicBezTo>
                      <a:pt x="139721" y="38003"/>
                      <a:pt x="146913" y="63817"/>
                      <a:pt x="144237" y="93422"/>
                    </a:cubicBezTo>
                    <a:cubicBezTo>
                      <a:pt x="140223" y="138025"/>
                      <a:pt x="111454" y="186140"/>
                      <a:pt x="71869" y="186140"/>
                    </a:cubicBezTo>
                    <a:close/>
                  </a:path>
                </a:pathLst>
              </a:custGeom>
              <a:solidFill>
                <a:srgbClr val="30373B"/>
              </a:solidFill>
              <a:ln w="5573" cap="flat">
                <a:noFill/>
                <a:prstDash val="solid"/>
                <a:miter/>
              </a:ln>
            </p:spPr>
            <p:txBody>
              <a:bodyPr rtlCol="0" anchor="ctr"/>
              <a:lstStyle/>
              <a:p>
                <a:endParaRPr lang="en-GB"/>
              </a:p>
            </p:txBody>
          </p:sp>
          <p:sp>
            <p:nvSpPr>
              <p:cNvPr id="146" name="Graphic 6">
                <a:extLst>
                  <a:ext uri="{FF2B5EF4-FFF2-40B4-BE49-F238E27FC236}">
                    <a16:creationId xmlns:a16="http://schemas.microsoft.com/office/drawing/2014/main" id="{AFC62D7A-80DF-C129-7E1A-8968FB8E0F6B}"/>
                  </a:ext>
                </a:extLst>
              </p:cNvPr>
              <p:cNvSpPr/>
              <p:nvPr/>
            </p:nvSpPr>
            <p:spPr>
              <a:xfrm>
                <a:off x="5239414" y="5623084"/>
                <a:ext cx="64012" cy="416150"/>
              </a:xfrm>
              <a:custGeom>
                <a:avLst/>
                <a:gdLst>
                  <a:gd name="connsiteX0" fmla="*/ 7561 w 64012"/>
                  <a:gd name="connsiteY0" fmla="*/ 415683 h 416150"/>
                  <a:gd name="connsiteX1" fmla="*/ 6558 w 64012"/>
                  <a:gd name="connsiteY1" fmla="*/ 415683 h 416150"/>
                  <a:gd name="connsiteX2" fmla="*/ -752 w 64012"/>
                  <a:gd name="connsiteY2" fmla="*/ 406483 h 416150"/>
                  <a:gd name="connsiteX3" fmla="*/ -746 w 64012"/>
                  <a:gd name="connsiteY3" fmla="*/ 406427 h 416150"/>
                  <a:gd name="connsiteX4" fmla="*/ 46422 w 64012"/>
                  <a:gd name="connsiteY4" fmla="*/ 6954 h 416150"/>
                  <a:gd name="connsiteX5" fmla="*/ 55760 w 64012"/>
                  <a:gd name="connsiteY5" fmla="*/ -405 h 416150"/>
                  <a:gd name="connsiteX6" fmla="*/ 63148 w 64012"/>
                  <a:gd name="connsiteY6" fmla="*/ 8905 h 416150"/>
                  <a:gd name="connsiteX7" fmla="*/ 15980 w 64012"/>
                  <a:gd name="connsiteY7" fmla="*/ 408379 h 416150"/>
                  <a:gd name="connsiteX8" fmla="*/ 7561 w 64012"/>
                  <a:gd name="connsiteY8" fmla="*/ 415683 h 4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12" h="416150">
                    <a:moveTo>
                      <a:pt x="7561" y="415683"/>
                    </a:moveTo>
                    <a:lnTo>
                      <a:pt x="6558" y="415683"/>
                    </a:lnTo>
                    <a:cubicBezTo>
                      <a:pt x="1997" y="415180"/>
                      <a:pt x="-1276" y="411055"/>
                      <a:pt x="-752" y="406483"/>
                    </a:cubicBezTo>
                    <a:cubicBezTo>
                      <a:pt x="-752" y="406483"/>
                      <a:pt x="-746" y="406427"/>
                      <a:pt x="-746" y="406427"/>
                    </a:cubicBezTo>
                    <a:lnTo>
                      <a:pt x="46422" y="6954"/>
                    </a:lnTo>
                    <a:cubicBezTo>
                      <a:pt x="46962" y="2327"/>
                      <a:pt x="51144" y="-963"/>
                      <a:pt x="55760" y="-405"/>
                    </a:cubicBezTo>
                    <a:cubicBezTo>
                      <a:pt x="60377" y="96"/>
                      <a:pt x="63688" y="4278"/>
                      <a:pt x="63148" y="8905"/>
                    </a:cubicBezTo>
                    <a:lnTo>
                      <a:pt x="15980" y="408379"/>
                    </a:lnTo>
                    <a:cubicBezTo>
                      <a:pt x="15440" y="412616"/>
                      <a:pt x="11815" y="415738"/>
                      <a:pt x="7561" y="415683"/>
                    </a:cubicBezTo>
                    <a:close/>
                  </a:path>
                </a:pathLst>
              </a:custGeom>
              <a:solidFill>
                <a:srgbClr val="30373B"/>
              </a:solidFill>
              <a:ln w="5573" cap="flat">
                <a:noFill/>
                <a:prstDash val="solid"/>
                <a:miter/>
              </a:ln>
            </p:spPr>
            <p:txBody>
              <a:bodyPr rtlCol="0" anchor="ctr"/>
              <a:lstStyle/>
              <a:p>
                <a:endParaRPr lang="en-GB"/>
              </a:p>
            </p:txBody>
          </p:sp>
          <p:sp>
            <p:nvSpPr>
              <p:cNvPr id="147" name="Graphic 6">
                <a:extLst>
                  <a:ext uri="{FF2B5EF4-FFF2-40B4-BE49-F238E27FC236}">
                    <a16:creationId xmlns:a16="http://schemas.microsoft.com/office/drawing/2014/main" id="{A152EACF-9EAB-FAE0-D5E5-9B760435190C}"/>
                  </a:ext>
                </a:extLst>
              </p:cNvPr>
              <p:cNvSpPr/>
              <p:nvPr/>
            </p:nvSpPr>
            <p:spPr>
              <a:xfrm>
                <a:off x="5438052" y="5485927"/>
                <a:ext cx="46961" cy="551856"/>
              </a:xfrm>
              <a:custGeom>
                <a:avLst/>
                <a:gdLst>
                  <a:gd name="connsiteX0" fmla="*/ 7573 w 46961"/>
                  <a:gd name="connsiteY0" fmla="*/ 551390 h 551856"/>
                  <a:gd name="connsiteX1" fmla="*/ 6960 w 46961"/>
                  <a:gd name="connsiteY1" fmla="*/ 551390 h 551856"/>
                  <a:gd name="connsiteX2" fmla="*/ -790 w 46961"/>
                  <a:gd name="connsiteY2" fmla="*/ 542414 h 551856"/>
                  <a:gd name="connsiteX3" fmla="*/ 29429 w 46961"/>
                  <a:gd name="connsiteY3" fmla="*/ 122089 h 551856"/>
                  <a:gd name="connsiteX4" fmla="*/ 24411 w 46961"/>
                  <a:gd name="connsiteY4" fmla="*/ 8296 h 551856"/>
                  <a:gd name="connsiteX5" fmla="*/ 32384 w 46961"/>
                  <a:gd name="connsiteY5" fmla="*/ -457 h 551856"/>
                  <a:gd name="connsiteX6" fmla="*/ 41137 w 46961"/>
                  <a:gd name="connsiteY6" fmla="*/ 7515 h 551856"/>
                  <a:gd name="connsiteX7" fmla="*/ 46155 w 46961"/>
                  <a:gd name="connsiteY7" fmla="*/ 121810 h 551856"/>
                  <a:gd name="connsiteX8" fmla="*/ 46155 w 46961"/>
                  <a:gd name="connsiteY8" fmla="*/ 122758 h 551856"/>
                  <a:gd name="connsiteX9" fmla="*/ 15936 w 46961"/>
                  <a:gd name="connsiteY9" fmla="*/ 543640 h 551856"/>
                  <a:gd name="connsiteX10" fmla="*/ 7573 w 46961"/>
                  <a:gd name="connsiteY10" fmla="*/ 551390 h 55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961" h="551856">
                    <a:moveTo>
                      <a:pt x="7573" y="551390"/>
                    </a:moveTo>
                    <a:lnTo>
                      <a:pt x="6960" y="551390"/>
                    </a:lnTo>
                    <a:cubicBezTo>
                      <a:pt x="2366" y="551000"/>
                      <a:pt x="-1080" y="547041"/>
                      <a:pt x="-790" y="542414"/>
                    </a:cubicBezTo>
                    <a:lnTo>
                      <a:pt x="29429" y="122089"/>
                    </a:lnTo>
                    <a:lnTo>
                      <a:pt x="24411" y="8296"/>
                    </a:lnTo>
                    <a:cubicBezTo>
                      <a:pt x="24194" y="3669"/>
                      <a:pt x="27767" y="-234"/>
                      <a:pt x="32384" y="-457"/>
                    </a:cubicBezTo>
                    <a:cubicBezTo>
                      <a:pt x="37000" y="-680"/>
                      <a:pt x="40920" y="2888"/>
                      <a:pt x="41137" y="7515"/>
                    </a:cubicBezTo>
                    <a:lnTo>
                      <a:pt x="46155" y="121810"/>
                    </a:lnTo>
                    <a:lnTo>
                      <a:pt x="46155" y="122758"/>
                    </a:lnTo>
                    <a:lnTo>
                      <a:pt x="15936" y="543640"/>
                    </a:lnTo>
                    <a:cubicBezTo>
                      <a:pt x="15613" y="548044"/>
                      <a:pt x="11961" y="551390"/>
                      <a:pt x="7573" y="551390"/>
                    </a:cubicBezTo>
                    <a:close/>
                  </a:path>
                </a:pathLst>
              </a:custGeom>
              <a:solidFill>
                <a:srgbClr val="30373B"/>
              </a:solidFill>
              <a:ln w="5573" cap="flat">
                <a:noFill/>
                <a:prstDash val="solid"/>
                <a:miter/>
              </a:ln>
            </p:spPr>
            <p:txBody>
              <a:bodyPr rtlCol="0" anchor="ctr"/>
              <a:lstStyle/>
              <a:p>
                <a:endParaRPr lang="en-GB"/>
              </a:p>
            </p:txBody>
          </p:sp>
          <p:sp>
            <p:nvSpPr>
              <p:cNvPr id="148" name="Graphic 6">
                <a:extLst>
                  <a:ext uri="{FF2B5EF4-FFF2-40B4-BE49-F238E27FC236}">
                    <a16:creationId xmlns:a16="http://schemas.microsoft.com/office/drawing/2014/main" id="{ACEA9D10-A952-4615-9E48-43E3C94883C8}"/>
                  </a:ext>
                </a:extLst>
              </p:cNvPr>
              <p:cNvSpPr/>
              <p:nvPr/>
            </p:nvSpPr>
            <p:spPr>
              <a:xfrm>
                <a:off x="5292744" y="5682686"/>
                <a:ext cx="102283" cy="356589"/>
              </a:xfrm>
              <a:custGeom>
                <a:avLst/>
                <a:gdLst>
                  <a:gd name="connsiteX0" fmla="*/ 7532 w 102283"/>
                  <a:gd name="connsiteY0" fmla="*/ 356081 h 356589"/>
                  <a:gd name="connsiteX1" fmla="*/ 5525 w 102283"/>
                  <a:gd name="connsiteY1" fmla="*/ 356081 h 356589"/>
                  <a:gd name="connsiteX2" fmla="*/ -552 w 102283"/>
                  <a:gd name="connsiteY2" fmla="*/ 345934 h 356589"/>
                  <a:gd name="connsiteX3" fmla="*/ -552 w 102283"/>
                  <a:gd name="connsiteY3" fmla="*/ 345934 h 356589"/>
                  <a:gd name="connsiteX4" fmla="*/ 84973 w 102283"/>
                  <a:gd name="connsiteY4" fmla="*/ 5838 h 356589"/>
                  <a:gd name="connsiteX5" fmla="*/ 94117 w 102283"/>
                  <a:gd name="connsiteY5" fmla="*/ -407 h 356589"/>
                  <a:gd name="connsiteX6" fmla="*/ 101476 w 102283"/>
                  <a:gd name="connsiteY6" fmla="*/ 7901 h 356589"/>
                  <a:gd name="connsiteX7" fmla="*/ 101476 w 102283"/>
                  <a:gd name="connsiteY7" fmla="*/ 347662 h 356589"/>
                  <a:gd name="connsiteX8" fmla="*/ 93113 w 102283"/>
                  <a:gd name="connsiteY8" fmla="*/ 356025 h 356589"/>
                  <a:gd name="connsiteX9" fmla="*/ 84750 w 102283"/>
                  <a:gd name="connsiteY9" fmla="*/ 347662 h 356589"/>
                  <a:gd name="connsiteX10" fmla="*/ 84750 w 102283"/>
                  <a:gd name="connsiteY10" fmla="*/ 75362 h 356589"/>
                  <a:gd name="connsiteX11" fmla="*/ 15672 w 102283"/>
                  <a:gd name="connsiteY11" fmla="*/ 349725 h 356589"/>
                  <a:gd name="connsiteX12" fmla="*/ 7532 w 102283"/>
                  <a:gd name="connsiteY12" fmla="*/ 356081 h 35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83" h="356589">
                    <a:moveTo>
                      <a:pt x="7532" y="356081"/>
                    </a:moveTo>
                    <a:cubicBezTo>
                      <a:pt x="6863" y="356137"/>
                      <a:pt x="6194" y="356137"/>
                      <a:pt x="5525" y="356081"/>
                    </a:cubicBezTo>
                    <a:cubicBezTo>
                      <a:pt x="1042" y="354966"/>
                      <a:pt x="-1678" y="350394"/>
                      <a:pt x="-552" y="345934"/>
                    </a:cubicBezTo>
                    <a:cubicBezTo>
                      <a:pt x="-552" y="345934"/>
                      <a:pt x="-552" y="345934"/>
                      <a:pt x="-552" y="345934"/>
                    </a:cubicBezTo>
                    <a:lnTo>
                      <a:pt x="84973" y="5838"/>
                    </a:lnTo>
                    <a:cubicBezTo>
                      <a:pt x="86033" y="1768"/>
                      <a:pt x="89936" y="-908"/>
                      <a:pt x="94117" y="-407"/>
                    </a:cubicBezTo>
                    <a:cubicBezTo>
                      <a:pt x="98332" y="95"/>
                      <a:pt x="101504" y="3663"/>
                      <a:pt x="101476" y="7901"/>
                    </a:cubicBezTo>
                    <a:lnTo>
                      <a:pt x="101476" y="347662"/>
                    </a:lnTo>
                    <a:cubicBezTo>
                      <a:pt x="101476" y="352290"/>
                      <a:pt x="97730" y="356025"/>
                      <a:pt x="93113" y="356025"/>
                    </a:cubicBezTo>
                    <a:cubicBezTo>
                      <a:pt x="88497" y="356025"/>
                      <a:pt x="84750" y="352290"/>
                      <a:pt x="84750" y="347662"/>
                    </a:cubicBezTo>
                    <a:lnTo>
                      <a:pt x="84750" y="75362"/>
                    </a:lnTo>
                    <a:lnTo>
                      <a:pt x="15672" y="349725"/>
                    </a:lnTo>
                    <a:cubicBezTo>
                      <a:pt x="14746" y="353460"/>
                      <a:pt x="11384" y="356081"/>
                      <a:pt x="7532" y="356081"/>
                    </a:cubicBezTo>
                    <a:close/>
                  </a:path>
                </a:pathLst>
              </a:custGeom>
              <a:solidFill>
                <a:srgbClr val="30373B"/>
              </a:solidFill>
              <a:ln w="5573" cap="flat">
                <a:noFill/>
                <a:prstDash val="solid"/>
                <a:miter/>
              </a:ln>
            </p:spPr>
            <p:txBody>
              <a:bodyPr rtlCol="0" anchor="ctr"/>
              <a:lstStyle/>
              <a:p>
                <a:endParaRPr lang="en-GB"/>
              </a:p>
            </p:txBody>
          </p:sp>
          <p:sp>
            <p:nvSpPr>
              <p:cNvPr id="149" name="Graphic 6">
                <a:extLst>
                  <a:ext uri="{FF2B5EF4-FFF2-40B4-BE49-F238E27FC236}">
                    <a16:creationId xmlns:a16="http://schemas.microsoft.com/office/drawing/2014/main" id="{DD820316-7EB2-0F60-46A9-04D1C3160273}"/>
                  </a:ext>
                </a:extLst>
              </p:cNvPr>
              <p:cNvSpPr/>
              <p:nvPr/>
            </p:nvSpPr>
            <p:spPr>
              <a:xfrm>
                <a:off x="5342665" y="5197150"/>
                <a:ext cx="155283" cy="171258"/>
              </a:xfrm>
              <a:custGeom>
                <a:avLst/>
                <a:gdLst>
                  <a:gd name="connsiteX0" fmla="*/ 51110 w 155283"/>
                  <a:gd name="connsiteY0" fmla="*/ 170792 h 171258"/>
                  <a:gd name="connsiteX1" fmla="*/ 44754 w 155283"/>
                  <a:gd name="connsiteY1" fmla="*/ 170458 h 171258"/>
                  <a:gd name="connsiteX2" fmla="*/ 37255 w 155283"/>
                  <a:gd name="connsiteY2" fmla="*/ 161202 h 171258"/>
                  <a:gd name="connsiteX3" fmla="*/ 46482 w 155283"/>
                  <a:gd name="connsiteY3" fmla="*/ 153731 h 171258"/>
                  <a:gd name="connsiteX4" fmla="*/ 117791 w 155283"/>
                  <a:gd name="connsiteY4" fmla="*/ 116600 h 171258"/>
                  <a:gd name="connsiteX5" fmla="*/ 137528 w 155283"/>
                  <a:gd name="connsiteY5" fmla="*/ 59954 h 171258"/>
                  <a:gd name="connsiteX6" fmla="*/ 73857 w 155283"/>
                  <a:gd name="connsiteY6" fmla="*/ 17024 h 171258"/>
                  <a:gd name="connsiteX7" fmla="*/ 28809 w 155283"/>
                  <a:gd name="connsiteY7" fmla="*/ 56609 h 171258"/>
                  <a:gd name="connsiteX8" fmla="*/ 16041 w 155283"/>
                  <a:gd name="connsiteY8" fmla="*/ 91789 h 171258"/>
                  <a:gd name="connsiteX9" fmla="*/ 6256 w 155283"/>
                  <a:gd name="connsiteY9" fmla="*/ 98703 h 171258"/>
                  <a:gd name="connsiteX10" fmla="*/ -685 w 155283"/>
                  <a:gd name="connsiteY10" fmla="*/ 88946 h 171258"/>
                  <a:gd name="connsiteX11" fmla="*/ 13867 w 155283"/>
                  <a:gd name="connsiteY11" fmla="*/ 48525 h 171258"/>
                  <a:gd name="connsiteX12" fmla="*/ 69620 w 155283"/>
                  <a:gd name="connsiteY12" fmla="*/ 800 h 171258"/>
                  <a:gd name="connsiteX13" fmla="*/ 153752 w 155283"/>
                  <a:gd name="connsiteY13" fmla="*/ 57501 h 171258"/>
                  <a:gd name="connsiteX14" fmla="*/ 130447 w 155283"/>
                  <a:gd name="connsiteY14" fmla="*/ 127137 h 171258"/>
                  <a:gd name="connsiteX15" fmla="*/ 51110 w 155283"/>
                  <a:gd name="connsiteY15" fmla="*/ 170792 h 17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283" h="171258">
                    <a:moveTo>
                      <a:pt x="51110" y="170792"/>
                    </a:moveTo>
                    <a:cubicBezTo>
                      <a:pt x="48986" y="170792"/>
                      <a:pt x="46867" y="170680"/>
                      <a:pt x="44754" y="170458"/>
                    </a:cubicBezTo>
                    <a:cubicBezTo>
                      <a:pt x="40138" y="169955"/>
                      <a:pt x="36776" y="165830"/>
                      <a:pt x="37255" y="161202"/>
                    </a:cubicBezTo>
                    <a:cubicBezTo>
                      <a:pt x="37735" y="156631"/>
                      <a:pt x="41866" y="153230"/>
                      <a:pt x="46482" y="153731"/>
                    </a:cubicBezTo>
                    <a:cubicBezTo>
                      <a:pt x="64045" y="155515"/>
                      <a:pt x="93260" y="146874"/>
                      <a:pt x="117791" y="116600"/>
                    </a:cubicBezTo>
                    <a:cubicBezTo>
                      <a:pt x="133123" y="97643"/>
                      <a:pt x="140092" y="77572"/>
                      <a:pt x="137528" y="59954"/>
                    </a:cubicBezTo>
                    <a:cubicBezTo>
                      <a:pt x="131111" y="30963"/>
                      <a:pt x="103122" y="12107"/>
                      <a:pt x="73857" y="17024"/>
                    </a:cubicBezTo>
                    <a:cubicBezTo>
                      <a:pt x="56630" y="21206"/>
                      <a:pt x="40405" y="35255"/>
                      <a:pt x="28809" y="56609"/>
                    </a:cubicBezTo>
                    <a:cubicBezTo>
                      <a:pt x="22648" y="67537"/>
                      <a:pt x="18332" y="79468"/>
                      <a:pt x="16041" y="91789"/>
                    </a:cubicBezTo>
                    <a:cubicBezTo>
                      <a:pt x="15255" y="96417"/>
                      <a:pt x="10873" y="99539"/>
                      <a:pt x="6256" y="98703"/>
                    </a:cubicBezTo>
                    <a:cubicBezTo>
                      <a:pt x="1640" y="97922"/>
                      <a:pt x="-1471" y="93573"/>
                      <a:pt x="-685" y="88946"/>
                    </a:cubicBezTo>
                    <a:cubicBezTo>
                      <a:pt x="1908" y="74785"/>
                      <a:pt x="6819" y="61125"/>
                      <a:pt x="13867" y="48525"/>
                    </a:cubicBezTo>
                    <a:cubicBezTo>
                      <a:pt x="27972" y="22989"/>
                      <a:pt x="47765" y="6041"/>
                      <a:pt x="69620" y="800"/>
                    </a:cubicBezTo>
                    <a:cubicBezTo>
                      <a:pt x="108463" y="-6537"/>
                      <a:pt x="145980" y="18741"/>
                      <a:pt x="153752" y="57501"/>
                    </a:cubicBezTo>
                    <a:cubicBezTo>
                      <a:pt x="157097" y="79802"/>
                      <a:pt x="148790" y="104445"/>
                      <a:pt x="130447" y="127137"/>
                    </a:cubicBezTo>
                    <a:cubicBezTo>
                      <a:pt x="104633" y="159474"/>
                      <a:pt x="73634" y="170792"/>
                      <a:pt x="51110" y="170792"/>
                    </a:cubicBezTo>
                    <a:close/>
                  </a:path>
                </a:pathLst>
              </a:custGeom>
              <a:solidFill>
                <a:srgbClr val="30373B"/>
              </a:solidFill>
              <a:ln w="5573" cap="flat">
                <a:noFill/>
                <a:prstDash val="solid"/>
                <a:miter/>
              </a:ln>
            </p:spPr>
            <p:txBody>
              <a:bodyPr rtlCol="0" anchor="ctr"/>
              <a:lstStyle/>
              <a:p>
                <a:endParaRPr lang="en-GB"/>
              </a:p>
            </p:txBody>
          </p:sp>
          <p:sp>
            <p:nvSpPr>
              <p:cNvPr id="150" name="Graphic 6">
                <a:extLst>
                  <a:ext uri="{FF2B5EF4-FFF2-40B4-BE49-F238E27FC236}">
                    <a16:creationId xmlns:a16="http://schemas.microsoft.com/office/drawing/2014/main" id="{A98354E0-1BCA-1AA0-18A8-7D509B8A2B50}"/>
                  </a:ext>
                </a:extLst>
              </p:cNvPr>
              <p:cNvSpPr/>
              <p:nvPr/>
            </p:nvSpPr>
            <p:spPr>
              <a:xfrm>
                <a:off x="5254811" y="5227363"/>
                <a:ext cx="332633" cy="392326"/>
              </a:xfrm>
              <a:custGeom>
                <a:avLst/>
                <a:gdLst>
                  <a:gd name="connsiteX0" fmla="*/ 134670 w 332633"/>
                  <a:gd name="connsiteY0" fmla="*/ 391860 h 392326"/>
                  <a:gd name="connsiteX1" fmla="*/ 47806 w 332633"/>
                  <a:gd name="connsiteY1" fmla="*/ 365153 h 392326"/>
                  <a:gd name="connsiteX2" fmla="*/ -532 w 332633"/>
                  <a:gd name="connsiteY2" fmla="*/ 214619 h 392326"/>
                  <a:gd name="connsiteX3" fmla="*/ 19930 w 332633"/>
                  <a:gd name="connsiteY3" fmla="*/ 144760 h 392326"/>
                  <a:gd name="connsiteX4" fmla="*/ 100717 w 332633"/>
                  <a:gd name="connsiteY4" fmla="*/ 120954 h 392326"/>
                  <a:gd name="connsiteX5" fmla="*/ 179384 w 332633"/>
                  <a:gd name="connsiteY5" fmla="*/ 127532 h 392326"/>
                  <a:gd name="connsiteX6" fmla="*/ 239486 w 332633"/>
                  <a:gd name="connsiteY6" fmla="*/ 169347 h 392326"/>
                  <a:gd name="connsiteX7" fmla="*/ 297024 w 332633"/>
                  <a:gd name="connsiteY7" fmla="*/ 189530 h 392326"/>
                  <a:gd name="connsiteX8" fmla="*/ 315032 w 332633"/>
                  <a:gd name="connsiteY8" fmla="*/ 157081 h 392326"/>
                  <a:gd name="connsiteX9" fmla="*/ 262234 w 332633"/>
                  <a:gd name="connsiteY9" fmla="*/ 71166 h 392326"/>
                  <a:gd name="connsiteX10" fmla="*/ 218300 w 332633"/>
                  <a:gd name="connsiteY10" fmla="*/ 10673 h 392326"/>
                  <a:gd name="connsiteX11" fmla="*/ 223413 w 332633"/>
                  <a:gd name="connsiteY11" fmla="*/ 24 h 392326"/>
                  <a:gd name="connsiteX12" fmla="*/ 234079 w 332633"/>
                  <a:gd name="connsiteY12" fmla="*/ 5098 h 392326"/>
                  <a:gd name="connsiteX13" fmla="*/ 234357 w 332633"/>
                  <a:gd name="connsiteY13" fmla="*/ 6101 h 392326"/>
                  <a:gd name="connsiteX14" fmla="*/ 274500 w 332633"/>
                  <a:gd name="connsiteY14" fmla="*/ 59792 h 392326"/>
                  <a:gd name="connsiteX15" fmla="*/ 331758 w 332633"/>
                  <a:gd name="connsiteY15" fmla="*/ 157974 h 392326"/>
                  <a:gd name="connsiteX16" fmla="*/ 308063 w 332633"/>
                  <a:gd name="connsiteY16" fmla="*/ 202075 h 392326"/>
                  <a:gd name="connsiteX17" fmla="*/ 227054 w 332633"/>
                  <a:gd name="connsiteY17" fmla="*/ 180610 h 392326"/>
                  <a:gd name="connsiteX18" fmla="*/ 177489 w 332633"/>
                  <a:gd name="connsiteY18" fmla="*/ 144147 h 392326"/>
                  <a:gd name="connsiteX19" fmla="*/ 99713 w 332633"/>
                  <a:gd name="connsiteY19" fmla="*/ 137679 h 392326"/>
                  <a:gd name="connsiteX20" fmla="*/ 31917 w 332633"/>
                  <a:gd name="connsiteY20" fmla="*/ 156468 h 392326"/>
                  <a:gd name="connsiteX21" fmla="*/ 16194 w 332633"/>
                  <a:gd name="connsiteY21" fmla="*/ 213671 h 392326"/>
                  <a:gd name="connsiteX22" fmla="*/ 58846 w 332633"/>
                  <a:gd name="connsiteY22" fmla="*/ 352441 h 392326"/>
                  <a:gd name="connsiteX23" fmla="*/ 153626 w 332633"/>
                  <a:gd name="connsiteY23" fmla="*/ 374353 h 392326"/>
                  <a:gd name="connsiteX24" fmla="*/ 162575 w 332633"/>
                  <a:gd name="connsiteY24" fmla="*/ 382158 h 392326"/>
                  <a:gd name="connsiteX25" fmla="*/ 154797 w 332633"/>
                  <a:gd name="connsiteY25" fmla="*/ 391079 h 392326"/>
                  <a:gd name="connsiteX26" fmla="*/ 134670 w 332633"/>
                  <a:gd name="connsiteY26" fmla="*/ 391860 h 39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2633" h="392326">
                    <a:moveTo>
                      <a:pt x="134670" y="391860"/>
                    </a:moveTo>
                    <a:cubicBezTo>
                      <a:pt x="96200" y="391860"/>
                      <a:pt x="68323" y="383217"/>
                      <a:pt x="47806" y="365153"/>
                    </a:cubicBezTo>
                    <a:cubicBezTo>
                      <a:pt x="18647" y="339451"/>
                      <a:pt x="4152" y="294458"/>
                      <a:pt x="-532" y="214619"/>
                    </a:cubicBezTo>
                    <a:cubicBezTo>
                      <a:pt x="-2316" y="183955"/>
                      <a:pt x="4597" y="160427"/>
                      <a:pt x="19930" y="144760"/>
                    </a:cubicBezTo>
                    <a:cubicBezTo>
                      <a:pt x="36656" y="127588"/>
                      <a:pt x="63975" y="119560"/>
                      <a:pt x="100717" y="120954"/>
                    </a:cubicBezTo>
                    <a:lnTo>
                      <a:pt x="179384" y="127532"/>
                    </a:lnTo>
                    <a:cubicBezTo>
                      <a:pt x="204864" y="131212"/>
                      <a:pt x="223262" y="151451"/>
                      <a:pt x="239486" y="169347"/>
                    </a:cubicBezTo>
                    <a:cubicBezTo>
                      <a:pt x="265412" y="197949"/>
                      <a:pt x="277064" y="207093"/>
                      <a:pt x="297024" y="189530"/>
                    </a:cubicBezTo>
                    <a:cubicBezTo>
                      <a:pt x="308565" y="179328"/>
                      <a:pt x="314475" y="168734"/>
                      <a:pt x="315032" y="157081"/>
                    </a:cubicBezTo>
                    <a:cubicBezTo>
                      <a:pt x="316426" y="129651"/>
                      <a:pt x="287658" y="98596"/>
                      <a:pt x="262234" y="71166"/>
                    </a:cubicBezTo>
                    <a:cubicBezTo>
                      <a:pt x="242386" y="49701"/>
                      <a:pt x="223653" y="29462"/>
                      <a:pt x="218300" y="10673"/>
                    </a:cubicBezTo>
                    <a:cubicBezTo>
                      <a:pt x="216767" y="6325"/>
                      <a:pt x="219058" y="1530"/>
                      <a:pt x="223413" y="24"/>
                    </a:cubicBezTo>
                    <a:cubicBezTo>
                      <a:pt x="227773" y="-1537"/>
                      <a:pt x="232545" y="749"/>
                      <a:pt x="234079" y="5098"/>
                    </a:cubicBezTo>
                    <a:cubicBezTo>
                      <a:pt x="234190" y="5432"/>
                      <a:pt x="234285" y="5767"/>
                      <a:pt x="234357" y="6101"/>
                    </a:cubicBezTo>
                    <a:cubicBezTo>
                      <a:pt x="238650" y="21043"/>
                      <a:pt x="256045" y="39888"/>
                      <a:pt x="274500" y="59792"/>
                    </a:cubicBezTo>
                    <a:cubicBezTo>
                      <a:pt x="302377" y="89620"/>
                      <a:pt x="333487" y="123462"/>
                      <a:pt x="331758" y="157974"/>
                    </a:cubicBezTo>
                    <a:cubicBezTo>
                      <a:pt x="330922" y="174086"/>
                      <a:pt x="322950" y="188917"/>
                      <a:pt x="308063" y="202075"/>
                    </a:cubicBezTo>
                    <a:cubicBezTo>
                      <a:pt x="273887" y="232237"/>
                      <a:pt x="247905" y="203580"/>
                      <a:pt x="227054" y="180610"/>
                    </a:cubicBezTo>
                    <a:cubicBezTo>
                      <a:pt x="212056" y="163884"/>
                      <a:pt x="196501" y="147158"/>
                      <a:pt x="177489" y="144147"/>
                    </a:cubicBezTo>
                    <a:lnTo>
                      <a:pt x="99713" y="137679"/>
                    </a:lnTo>
                    <a:cubicBezTo>
                      <a:pt x="68156" y="136453"/>
                      <a:pt x="45298" y="142809"/>
                      <a:pt x="31917" y="156468"/>
                    </a:cubicBezTo>
                    <a:cubicBezTo>
                      <a:pt x="19762" y="168790"/>
                      <a:pt x="14633" y="187523"/>
                      <a:pt x="16194" y="213671"/>
                    </a:cubicBezTo>
                    <a:cubicBezTo>
                      <a:pt x="20599" y="288492"/>
                      <a:pt x="33366" y="330029"/>
                      <a:pt x="58846" y="352441"/>
                    </a:cubicBezTo>
                    <a:cubicBezTo>
                      <a:pt x="79251" y="370394"/>
                      <a:pt x="109414" y="377363"/>
                      <a:pt x="153626" y="374353"/>
                    </a:cubicBezTo>
                    <a:cubicBezTo>
                      <a:pt x="158243" y="374018"/>
                      <a:pt x="162251" y="377531"/>
                      <a:pt x="162575" y="382158"/>
                    </a:cubicBezTo>
                    <a:cubicBezTo>
                      <a:pt x="162898" y="386730"/>
                      <a:pt x="159413" y="390744"/>
                      <a:pt x="154797" y="391079"/>
                    </a:cubicBezTo>
                    <a:cubicBezTo>
                      <a:pt x="147884" y="391636"/>
                      <a:pt x="140970" y="391860"/>
                      <a:pt x="134670" y="391860"/>
                    </a:cubicBezTo>
                    <a:close/>
                  </a:path>
                </a:pathLst>
              </a:custGeom>
              <a:solidFill>
                <a:srgbClr val="30373B"/>
              </a:solidFill>
              <a:ln w="5573" cap="flat">
                <a:noFill/>
                <a:prstDash val="solid"/>
                <a:miter/>
              </a:ln>
            </p:spPr>
            <p:txBody>
              <a:bodyPr rtlCol="0" anchor="ctr"/>
              <a:lstStyle/>
              <a:p>
                <a:endParaRPr lang="en-GB"/>
              </a:p>
            </p:txBody>
          </p:sp>
          <p:sp>
            <p:nvSpPr>
              <p:cNvPr id="151" name="Graphic 6">
                <a:extLst>
                  <a:ext uri="{FF2B5EF4-FFF2-40B4-BE49-F238E27FC236}">
                    <a16:creationId xmlns:a16="http://schemas.microsoft.com/office/drawing/2014/main" id="{D42D43AE-3699-3F60-646C-91A9B4E39A6B}"/>
                  </a:ext>
                </a:extLst>
              </p:cNvPr>
              <p:cNvSpPr/>
              <p:nvPr/>
            </p:nvSpPr>
            <p:spPr>
              <a:xfrm>
                <a:off x="7553074" y="3241807"/>
                <a:ext cx="1224846" cy="352027"/>
              </a:xfrm>
              <a:custGeom>
                <a:avLst/>
                <a:gdLst>
                  <a:gd name="connsiteX0" fmla="*/ 1153066 w 1224846"/>
                  <a:gd name="connsiteY0" fmla="*/ 351560 h 352027"/>
                  <a:gd name="connsiteX1" fmla="*/ 7556 w 1224846"/>
                  <a:gd name="connsiteY1" fmla="*/ 351560 h 352027"/>
                  <a:gd name="connsiteX2" fmla="*/ -807 w 1224846"/>
                  <a:gd name="connsiteY2" fmla="*/ 343197 h 352027"/>
                  <a:gd name="connsiteX3" fmla="*/ 7556 w 1224846"/>
                  <a:gd name="connsiteY3" fmla="*/ 334834 h 352027"/>
                  <a:gd name="connsiteX4" fmla="*/ 1153066 w 1224846"/>
                  <a:gd name="connsiteY4" fmla="*/ 334834 h 352027"/>
                  <a:gd name="connsiteX5" fmla="*/ 1207314 w 1224846"/>
                  <a:gd name="connsiteY5" fmla="*/ 280586 h 352027"/>
                  <a:gd name="connsiteX6" fmla="*/ 1207314 w 1224846"/>
                  <a:gd name="connsiteY6" fmla="*/ 7896 h 352027"/>
                  <a:gd name="connsiteX7" fmla="*/ 1215677 w 1224846"/>
                  <a:gd name="connsiteY7" fmla="*/ -467 h 352027"/>
                  <a:gd name="connsiteX8" fmla="*/ 1224040 w 1224846"/>
                  <a:gd name="connsiteY8" fmla="*/ 7896 h 352027"/>
                  <a:gd name="connsiteX9" fmla="*/ 1224040 w 1224846"/>
                  <a:gd name="connsiteY9" fmla="*/ 280586 h 352027"/>
                  <a:gd name="connsiteX10" fmla="*/ 1153066 w 1224846"/>
                  <a:gd name="connsiteY10" fmla="*/ 351560 h 35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846" h="352027">
                    <a:moveTo>
                      <a:pt x="1153066" y="351560"/>
                    </a:moveTo>
                    <a:lnTo>
                      <a:pt x="7556" y="351560"/>
                    </a:lnTo>
                    <a:cubicBezTo>
                      <a:pt x="2928" y="351560"/>
                      <a:pt x="-807" y="347814"/>
                      <a:pt x="-807" y="343197"/>
                    </a:cubicBezTo>
                    <a:cubicBezTo>
                      <a:pt x="-807" y="338581"/>
                      <a:pt x="2928" y="334834"/>
                      <a:pt x="7556" y="334834"/>
                    </a:cubicBezTo>
                    <a:lnTo>
                      <a:pt x="1153066" y="334834"/>
                    </a:lnTo>
                    <a:cubicBezTo>
                      <a:pt x="1183005" y="334834"/>
                      <a:pt x="1207314" y="310548"/>
                      <a:pt x="1207314" y="280586"/>
                    </a:cubicBezTo>
                    <a:lnTo>
                      <a:pt x="1207314" y="7896"/>
                    </a:lnTo>
                    <a:cubicBezTo>
                      <a:pt x="1207314" y="3280"/>
                      <a:pt x="1211049" y="-467"/>
                      <a:pt x="1215677" y="-467"/>
                    </a:cubicBezTo>
                    <a:cubicBezTo>
                      <a:pt x="1220305" y="-467"/>
                      <a:pt x="1224040" y="3280"/>
                      <a:pt x="1224040" y="7896"/>
                    </a:cubicBezTo>
                    <a:lnTo>
                      <a:pt x="1224040" y="280586"/>
                    </a:lnTo>
                    <a:cubicBezTo>
                      <a:pt x="1223984" y="319770"/>
                      <a:pt x="1192260" y="351532"/>
                      <a:pt x="1153066" y="351560"/>
                    </a:cubicBezTo>
                    <a:close/>
                  </a:path>
                </a:pathLst>
              </a:custGeom>
              <a:solidFill>
                <a:srgbClr val="30373B"/>
              </a:solidFill>
              <a:ln w="5573" cap="flat">
                <a:noFill/>
                <a:prstDash val="solid"/>
                <a:miter/>
              </a:ln>
            </p:spPr>
            <p:txBody>
              <a:bodyPr rtlCol="0" anchor="ctr"/>
              <a:lstStyle/>
              <a:p>
                <a:endParaRPr lang="en-GB"/>
              </a:p>
            </p:txBody>
          </p:sp>
          <p:sp>
            <p:nvSpPr>
              <p:cNvPr id="152" name="Graphic 6">
                <a:extLst>
                  <a:ext uri="{FF2B5EF4-FFF2-40B4-BE49-F238E27FC236}">
                    <a16:creationId xmlns:a16="http://schemas.microsoft.com/office/drawing/2014/main" id="{4A892AE8-7CA1-758E-2ACB-783A93AE8B2B}"/>
                  </a:ext>
                </a:extLst>
              </p:cNvPr>
              <p:cNvSpPr/>
              <p:nvPr/>
            </p:nvSpPr>
            <p:spPr>
              <a:xfrm>
                <a:off x="7553074" y="3106326"/>
                <a:ext cx="1224567" cy="329614"/>
              </a:xfrm>
              <a:custGeom>
                <a:avLst/>
                <a:gdLst>
                  <a:gd name="connsiteX0" fmla="*/ 7556 w 1224567"/>
                  <a:gd name="connsiteY0" fmla="*/ 329147 h 329614"/>
                  <a:gd name="connsiteX1" fmla="*/ -807 w 1224567"/>
                  <a:gd name="connsiteY1" fmla="*/ 320784 h 329614"/>
                  <a:gd name="connsiteX2" fmla="*/ -807 w 1224567"/>
                  <a:gd name="connsiteY2" fmla="*/ 61419 h 329614"/>
                  <a:gd name="connsiteX3" fmla="*/ 61303 w 1224567"/>
                  <a:gd name="connsiteY3" fmla="*/ -467 h 329614"/>
                  <a:gd name="connsiteX4" fmla="*/ 1215398 w 1224567"/>
                  <a:gd name="connsiteY4" fmla="*/ -467 h 329614"/>
                  <a:gd name="connsiteX5" fmla="*/ 1223761 w 1224567"/>
                  <a:gd name="connsiteY5" fmla="*/ 7896 h 329614"/>
                  <a:gd name="connsiteX6" fmla="*/ 1215398 w 1224567"/>
                  <a:gd name="connsiteY6" fmla="*/ 16259 h 329614"/>
                  <a:gd name="connsiteX7" fmla="*/ 61303 w 1224567"/>
                  <a:gd name="connsiteY7" fmla="*/ 16259 h 329614"/>
                  <a:gd name="connsiteX8" fmla="*/ 15919 w 1224567"/>
                  <a:gd name="connsiteY8" fmla="*/ 61643 h 329614"/>
                  <a:gd name="connsiteX9" fmla="*/ 15919 w 1224567"/>
                  <a:gd name="connsiteY9" fmla="*/ 321007 h 329614"/>
                  <a:gd name="connsiteX10" fmla="*/ 7556 w 1224567"/>
                  <a:gd name="connsiteY10" fmla="*/ 329147 h 32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67" h="329614">
                    <a:moveTo>
                      <a:pt x="7556" y="329147"/>
                    </a:moveTo>
                    <a:cubicBezTo>
                      <a:pt x="2928" y="329147"/>
                      <a:pt x="-807" y="325401"/>
                      <a:pt x="-807" y="320784"/>
                    </a:cubicBezTo>
                    <a:lnTo>
                      <a:pt x="-807" y="61419"/>
                    </a:lnTo>
                    <a:cubicBezTo>
                      <a:pt x="-640" y="27232"/>
                      <a:pt x="27126" y="-406"/>
                      <a:pt x="61303" y="-467"/>
                    </a:cubicBezTo>
                    <a:lnTo>
                      <a:pt x="1215398" y="-467"/>
                    </a:lnTo>
                    <a:cubicBezTo>
                      <a:pt x="1220026" y="-467"/>
                      <a:pt x="1223761" y="3280"/>
                      <a:pt x="1223761" y="7896"/>
                    </a:cubicBezTo>
                    <a:cubicBezTo>
                      <a:pt x="1223761" y="12513"/>
                      <a:pt x="1220026" y="16259"/>
                      <a:pt x="1215398" y="16259"/>
                    </a:cubicBezTo>
                    <a:lnTo>
                      <a:pt x="61303" y="16259"/>
                    </a:lnTo>
                    <a:cubicBezTo>
                      <a:pt x="36269" y="16287"/>
                      <a:pt x="15975" y="36592"/>
                      <a:pt x="15919" y="61643"/>
                    </a:cubicBezTo>
                    <a:lnTo>
                      <a:pt x="15919" y="321007"/>
                    </a:lnTo>
                    <a:cubicBezTo>
                      <a:pt x="15808" y="325540"/>
                      <a:pt x="12072" y="329147"/>
                      <a:pt x="7556" y="329147"/>
                    </a:cubicBezTo>
                    <a:close/>
                  </a:path>
                </a:pathLst>
              </a:custGeom>
              <a:solidFill>
                <a:srgbClr val="30373B"/>
              </a:solidFill>
              <a:ln w="5573" cap="flat">
                <a:noFill/>
                <a:prstDash val="solid"/>
                <a:miter/>
              </a:ln>
            </p:spPr>
            <p:txBody>
              <a:bodyPr rtlCol="0" anchor="ctr"/>
              <a:lstStyle/>
              <a:p>
                <a:endParaRPr lang="en-GB"/>
              </a:p>
            </p:txBody>
          </p:sp>
          <p:sp>
            <p:nvSpPr>
              <p:cNvPr id="153" name="Graphic 6">
                <a:extLst>
                  <a:ext uri="{FF2B5EF4-FFF2-40B4-BE49-F238E27FC236}">
                    <a16:creationId xmlns:a16="http://schemas.microsoft.com/office/drawing/2014/main" id="{D38896DC-77E6-A640-6783-3D0940578809}"/>
                  </a:ext>
                </a:extLst>
              </p:cNvPr>
              <p:cNvSpPr/>
              <p:nvPr/>
            </p:nvSpPr>
            <p:spPr>
              <a:xfrm>
                <a:off x="5950275" y="3095175"/>
                <a:ext cx="1224846" cy="487730"/>
              </a:xfrm>
              <a:custGeom>
                <a:avLst/>
                <a:gdLst>
                  <a:gd name="connsiteX0" fmla="*/ 1138068 w 1224846"/>
                  <a:gd name="connsiteY0" fmla="*/ 487264 h 487730"/>
                  <a:gd name="connsiteX1" fmla="*/ 85221 w 1224846"/>
                  <a:gd name="connsiteY1" fmla="*/ 487264 h 487730"/>
                  <a:gd name="connsiteX2" fmla="*/ -807 w 1224846"/>
                  <a:gd name="connsiteY2" fmla="*/ 401236 h 487730"/>
                  <a:gd name="connsiteX3" fmla="*/ -807 w 1224846"/>
                  <a:gd name="connsiteY3" fmla="*/ 85505 h 487730"/>
                  <a:gd name="connsiteX4" fmla="*/ 85221 w 1224846"/>
                  <a:gd name="connsiteY4" fmla="*/ -467 h 487730"/>
                  <a:gd name="connsiteX5" fmla="*/ 1138068 w 1224846"/>
                  <a:gd name="connsiteY5" fmla="*/ -467 h 487730"/>
                  <a:gd name="connsiteX6" fmla="*/ 1224040 w 1224846"/>
                  <a:gd name="connsiteY6" fmla="*/ 85505 h 487730"/>
                  <a:gd name="connsiteX7" fmla="*/ 1224040 w 1224846"/>
                  <a:gd name="connsiteY7" fmla="*/ 401236 h 487730"/>
                  <a:gd name="connsiteX8" fmla="*/ 1138068 w 1224846"/>
                  <a:gd name="connsiteY8" fmla="*/ 487264 h 487730"/>
                  <a:gd name="connsiteX9" fmla="*/ 85221 w 1224846"/>
                  <a:gd name="connsiteY9" fmla="*/ 16259 h 487730"/>
                  <a:gd name="connsiteX10" fmla="*/ 15919 w 1224846"/>
                  <a:gd name="connsiteY10" fmla="*/ 85561 h 487730"/>
                  <a:gd name="connsiteX11" fmla="*/ 15919 w 1224846"/>
                  <a:gd name="connsiteY11" fmla="*/ 401292 h 487730"/>
                  <a:gd name="connsiteX12" fmla="*/ 85221 w 1224846"/>
                  <a:gd name="connsiteY12" fmla="*/ 470594 h 487730"/>
                  <a:gd name="connsiteX13" fmla="*/ 1138068 w 1224846"/>
                  <a:gd name="connsiteY13" fmla="*/ 470594 h 487730"/>
                  <a:gd name="connsiteX14" fmla="*/ 1207314 w 1224846"/>
                  <a:gd name="connsiteY14" fmla="*/ 401236 h 487730"/>
                  <a:gd name="connsiteX15" fmla="*/ 1207314 w 1224846"/>
                  <a:gd name="connsiteY15" fmla="*/ 85505 h 487730"/>
                  <a:gd name="connsiteX16" fmla="*/ 1138068 w 1224846"/>
                  <a:gd name="connsiteY16" fmla="*/ 16259 h 48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4846" h="487730">
                    <a:moveTo>
                      <a:pt x="1138068" y="487264"/>
                    </a:moveTo>
                    <a:lnTo>
                      <a:pt x="85221" y="487264"/>
                    </a:lnTo>
                    <a:cubicBezTo>
                      <a:pt x="37736" y="487203"/>
                      <a:pt x="-745" y="448722"/>
                      <a:pt x="-807" y="401236"/>
                    </a:cubicBezTo>
                    <a:lnTo>
                      <a:pt x="-807" y="85505"/>
                    </a:lnTo>
                    <a:cubicBezTo>
                      <a:pt x="-712" y="38042"/>
                      <a:pt x="37758" y="-406"/>
                      <a:pt x="85221" y="-467"/>
                    </a:cubicBezTo>
                    <a:lnTo>
                      <a:pt x="1138068" y="-467"/>
                    </a:lnTo>
                    <a:cubicBezTo>
                      <a:pt x="1185514" y="-378"/>
                      <a:pt x="1223928" y="38064"/>
                      <a:pt x="1224040" y="85505"/>
                    </a:cubicBezTo>
                    <a:lnTo>
                      <a:pt x="1224040" y="401236"/>
                    </a:lnTo>
                    <a:cubicBezTo>
                      <a:pt x="1223984" y="448699"/>
                      <a:pt x="1185514" y="487169"/>
                      <a:pt x="1138068" y="487264"/>
                    </a:cubicBezTo>
                    <a:close/>
                    <a:moveTo>
                      <a:pt x="85221" y="16259"/>
                    </a:moveTo>
                    <a:cubicBezTo>
                      <a:pt x="46957" y="16287"/>
                      <a:pt x="15947" y="47297"/>
                      <a:pt x="15919" y="85561"/>
                    </a:cubicBezTo>
                    <a:lnTo>
                      <a:pt x="15919" y="401292"/>
                    </a:lnTo>
                    <a:cubicBezTo>
                      <a:pt x="15947" y="439556"/>
                      <a:pt x="46957" y="470560"/>
                      <a:pt x="85221" y="470594"/>
                    </a:cubicBezTo>
                    <a:lnTo>
                      <a:pt x="1138068" y="470594"/>
                    </a:lnTo>
                    <a:cubicBezTo>
                      <a:pt x="1176315" y="470499"/>
                      <a:pt x="1207258" y="439483"/>
                      <a:pt x="1207314" y="401236"/>
                    </a:cubicBezTo>
                    <a:lnTo>
                      <a:pt x="1207314" y="85505"/>
                    </a:lnTo>
                    <a:cubicBezTo>
                      <a:pt x="1207202" y="47297"/>
                      <a:pt x="1176260" y="16348"/>
                      <a:pt x="1138068" y="16259"/>
                    </a:cubicBezTo>
                    <a:close/>
                  </a:path>
                </a:pathLst>
              </a:custGeom>
              <a:solidFill>
                <a:srgbClr val="30373B"/>
              </a:solidFill>
              <a:ln w="5573" cap="flat">
                <a:noFill/>
                <a:prstDash val="solid"/>
                <a:miter/>
              </a:ln>
            </p:spPr>
            <p:txBody>
              <a:bodyPr rtlCol="0" anchor="ctr"/>
              <a:lstStyle/>
              <a:p>
                <a:endParaRPr lang="en-GB"/>
              </a:p>
            </p:txBody>
          </p:sp>
          <p:sp>
            <p:nvSpPr>
              <p:cNvPr id="154" name="Graphic 6">
                <a:extLst>
                  <a:ext uri="{FF2B5EF4-FFF2-40B4-BE49-F238E27FC236}">
                    <a16:creationId xmlns:a16="http://schemas.microsoft.com/office/drawing/2014/main" id="{327604BF-299B-BC4A-12CD-25E5A0DF0996}"/>
                  </a:ext>
                </a:extLst>
              </p:cNvPr>
              <p:cNvSpPr/>
              <p:nvPr/>
            </p:nvSpPr>
            <p:spPr>
              <a:xfrm>
                <a:off x="5934887" y="4965479"/>
                <a:ext cx="397521" cy="397521"/>
              </a:xfrm>
              <a:custGeom>
                <a:avLst/>
                <a:gdLst>
                  <a:gd name="connsiteX0" fmla="*/ 197954 w 397521"/>
                  <a:gd name="connsiteY0" fmla="*/ 397055 h 397521"/>
                  <a:gd name="connsiteX1" fmla="*/ -807 w 397521"/>
                  <a:gd name="connsiteY1" fmla="*/ 198294 h 397521"/>
                  <a:gd name="connsiteX2" fmla="*/ 197954 w 397521"/>
                  <a:gd name="connsiteY2" fmla="*/ -467 h 397521"/>
                  <a:gd name="connsiteX3" fmla="*/ 396715 w 397521"/>
                  <a:gd name="connsiteY3" fmla="*/ 198294 h 397521"/>
                  <a:gd name="connsiteX4" fmla="*/ 197954 w 397521"/>
                  <a:gd name="connsiteY4" fmla="*/ 397055 h 397521"/>
                  <a:gd name="connsiteX5" fmla="*/ 197954 w 397521"/>
                  <a:gd name="connsiteY5" fmla="*/ 16259 h 397521"/>
                  <a:gd name="connsiteX6" fmla="*/ 15919 w 397521"/>
                  <a:gd name="connsiteY6" fmla="*/ 198294 h 397521"/>
                  <a:gd name="connsiteX7" fmla="*/ 197954 w 397521"/>
                  <a:gd name="connsiteY7" fmla="*/ 380329 h 397521"/>
                  <a:gd name="connsiteX8" fmla="*/ 379989 w 397521"/>
                  <a:gd name="connsiteY8" fmla="*/ 198294 h 397521"/>
                  <a:gd name="connsiteX9" fmla="*/ 197954 w 397521"/>
                  <a:gd name="connsiteY9" fmla="*/ 16259 h 397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521" h="397521">
                    <a:moveTo>
                      <a:pt x="197954" y="397055"/>
                    </a:moveTo>
                    <a:cubicBezTo>
                      <a:pt x="88181" y="397055"/>
                      <a:pt x="-807" y="308072"/>
                      <a:pt x="-807" y="198294"/>
                    </a:cubicBezTo>
                    <a:cubicBezTo>
                      <a:pt x="-807" y="88521"/>
                      <a:pt x="88181" y="-467"/>
                      <a:pt x="197954" y="-467"/>
                    </a:cubicBezTo>
                    <a:cubicBezTo>
                      <a:pt x="307733" y="-467"/>
                      <a:pt x="396715" y="88521"/>
                      <a:pt x="396715" y="198294"/>
                    </a:cubicBezTo>
                    <a:cubicBezTo>
                      <a:pt x="396603" y="308017"/>
                      <a:pt x="307677" y="396943"/>
                      <a:pt x="197954" y="397055"/>
                    </a:cubicBezTo>
                    <a:close/>
                    <a:moveTo>
                      <a:pt x="197954" y="16259"/>
                    </a:moveTo>
                    <a:cubicBezTo>
                      <a:pt x="97420" y="16259"/>
                      <a:pt x="15919" y="97759"/>
                      <a:pt x="15919" y="198294"/>
                    </a:cubicBezTo>
                    <a:cubicBezTo>
                      <a:pt x="15919" y="298817"/>
                      <a:pt x="97420" y="380329"/>
                      <a:pt x="197954" y="380329"/>
                    </a:cubicBezTo>
                    <a:cubicBezTo>
                      <a:pt x="298478" y="380329"/>
                      <a:pt x="379989" y="298817"/>
                      <a:pt x="379989" y="198294"/>
                    </a:cubicBezTo>
                    <a:cubicBezTo>
                      <a:pt x="379877" y="97799"/>
                      <a:pt x="298478" y="16354"/>
                      <a:pt x="197954" y="16259"/>
                    </a:cubicBezTo>
                    <a:close/>
                  </a:path>
                </a:pathLst>
              </a:custGeom>
              <a:solidFill>
                <a:srgbClr val="30373B"/>
              </a:solidFill>
              <a:ln w="5573" cap="flat">
                <a:noFill/>
                <a:prstDash val="solid"/>
                <a:miter/>
              </a:ln>
            </p:spPr>
            <p:txBody>
              <a:bodyPr rtlCol="0" anchor="ctr"/>
              <a:lstStyle/>
              <a:p>
                <a:endParaRPr lang="en-GB"/>
              </a:p>
            </p:txBody>
          </p:sp>
          <p:sp>
            <p:nvSpPr>
              <p:cNvPr id="155" name="Graphic 6">
                <a:extLst>
                  <a:ext uri="{FF2B5EF4-FFF2-40B4-BE49-F238E27FC236}">
                    <a16:creationId xmlns:a16="http://schemas.microsoft.com/office/drawing/2014/main" id="{38ED5D2D-96E6-E658-41A4-32C2A341EB69}"/>
                  </a:ext>
                </a:extLst>
              </p:cNvPr>
              <p:cNvSpPr/>
              <p:nvPr/>
            </p:nvSpPr>
            <p:spPr>
              <a:xfrm>
                <a:off x="6125285" y="4965702"/>
                <a:ext cx="16726" cy="222901"/>
              </a:xfrm>
              <a:custGeom>
                <a:avLst/>
                <a:gdLst>
                  <a:gd name="connsiteX0" fmla="*/ 7556 w 16726"/>
                  <a:gd name="connsiteY0" fmla="*/ 222435 h 222901"/>
                  <a:gd name="connsiteX1" fmla="*/ -807 w 16726"/>
                  <a:gd name="connsiteY1" fmla="*/ 214072 h 222901"/>
                  <a:gd name="connsiteX2" fmla="*/ -807 w 16726"/>
                  <a:gd name="connsiteY2" fmla="*/ 7896 h 222901"/>
                  <a:gd name="connsiteX3" fmla="*/ 7556 w 16726"/>
                  <a:gd name="connsiteY3" fmla="*/ -467 h 222901"/>
                  <a:gd name="connsiteX4" fmla="*/ 15919 w 16726"/>
                  <a:gd name="connsiteY4" fmla="*/ 7896 h 222901"/>
                  <a:gd name="connsiteX5" fmla="*/ 15919 w 16726"/>
                  <a:gd name="connsiteY5" fmla="*/ 214184 h 222901"/>
                  <a:gd name="connsiteX6" fmla="*/ 7556 w 16726"/>
                  <a:gd name="connsiteY6" fmla="*/ 222435 h 22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222901">
                    <a:moveTo>
                      <a:pt x="7556" y="222435"/>
                    </a:moveTo>
                    <a:cubicBezTo>
                      <a:pt x="2940" y="222435"/>
                      <a:pt x="-807" y="218689"/>
                      <a:pt x="-807" y="214072"/>
                    </a:cubicBezTo>
                    <a:lnTo>
                      <a:pt x="-807" y="7896"/>
                    </a:lnTo>
                    <a:cubicBezTo>
                      <a:pt x="-807" y="3280"/>
                      <a:pt x="2940" y="-467"/>
                      <a:pt x="7556" y="-467"/>
                    </a:cubicBezTo>
                    <a:cubicBezTo>
                      <a:pt x="12173" y="-467"/>
                      <a:pt x="15919" y="3280"/>
                      <a:pt x="15919" y="7896"/>
                    </a:cubicBezTo>
                    <a:lnTo>
                      <a:pt x="15919" y="214184"/>
                    </a:lnTo>
                    <a:cubicBezTo>
                      <a:pt x="15858" y="218761"/>
                      <a:pt x="12134" y="222435"/>
                      <a:pt x="7556" y="222435"/>
                    </a:cubicBezTo>
                    <a:close/>
                  </a:path>
                </a:pathLst>
              </a:custGeom>
              <a:solidFill>
                <a:srgbClr val="30373B"/>
              </a:solidFill>
              <a:ln w="5573" cap="flat">
                <a:noFill/>
                <a:prstDash val="solid"/>
                <a:miter/>
              </a:ln>
            </p:spPr>
            <p:txBody>
              <a:bodyPr rtlCol="0" anchor="ctr"/>
              <a:lstStyle/>
              <a:p>
                <a:endParaRPr lang="en-GB"/>
              </a:p>
            </p:txBody>
          </p:sp>
          <p:sp>
            <p:nvSpPr>
              <p:cNvPr id="156" name="Graphic 6">
                <a:extLst>
                  <a:ext uri="{FF2B5EF4-FFF2-40B4-BE49-F238E27FC236}">
                    <a16:creationId xmlns:a16="http://schemas.microsoft.com/office/drawing/2014/main" id="{96C732E8-263A-9048-05B4-B4901D9C3161}"/>
                  </a:ext>
                </a:extLst>
              </p:cNvPr>
              <p:cNvSpPr/>
              <p:nvPr/>
            </p:nvSpPr>
            <p:spPr>
              <a:xfrm>
                <a:off x="7561716" y="4965367"/>
                <a:ext cx="397633" cy="397633"/>
              </a:xfrm>
              <a:custGeom>
                <a:avLst/>
                <a:gdLst>
                  <a:gd name="connsiteX0" fmla="*/ 198010 w 397633"/>
                  <a:gd name="connsiteY0" fmla="*/ 397167 h 397633"/>
                  <a:gd name="connsiteX1" fmla="*/ -807 w 397633"/>
                  <a:gd name="connsiteY1" fmla="*/ 198350 h 397633"/>
                  <a:gd name="connsiteX2" fmla="*/ 198010 w 397633"/>
                  <a:gd name="connsiteY2" fmla="*/ -467 h 397633"/>
                  <a:gd name="connsiteX3" fmla="*/ 396827 w 397633"/>
                  <a:gd name="connsiteY3" fmla="*/ 198350 h 397633"/>
                  <a:gd name="connsiteX4" fmla="*/ 237762 w 397633"/>
                  <a:gd name="connsiteY4" fmla="*/ 393152 h 397633"/>
                  <a:gd name="connsiteX5" fmla="*/ 237762 w 397633"/>
                  <a:gd name="connsiteY5" fmla="*/ 393152 h 397633"/>
                  <a:gd name="connsiteX6" fmla="*/ 198010 w 397633"/>
                  <a:gd name="connsiteY6" fmla="*/ 397167 h 397633"/>
                  <a:gd name="connsiteX7" fmla="*/ 236090 w 397633"/>
                  <a:gd name="connsiteY7" fmla="*/ 384957 h 397633"/>
                  <a:gd name="connsiteX8" fmla="*/ 236090 w 397633"/>
                  <a:gd name="connsiteY8" fmla="*/ 384957 h 397633"/>
                  <a:gd name="connsiteX9" fmla="*/ 198456 w 397633"/>
                  <a:gd name="connsiteY9" fmla="*/ 16315 h 397633"/>
                  <a:gd name="connsiteX10" fmla="*/ 16254 w 397633"/>
                  <a:gd name="connsiteY10" fmla="*/ 198171 h 397633"/>
                  <a:gd name="connsiteX11" fmla="*/ 198122 w 397633"/>
                  <a:gd name="connsiteY11" fmla="*/ 380385 h 397633"/>
                  <a:gd name="connsiteX12" fmla="*/ 234417 w 397633"/>
                  <a:gd name="connsiteY12" fmla="*/ 376761 h 397633"/>
                  <a:gd name="connsiteX13" fmla="*/ 234417 w 397633"/>
                  <a:gd name="connsiteY13" fmla="*/ 376761 h 397633"/>
                  <a:gd name="connsiteX14" fmla="*/ 376086 w 397633"/>
                  <a:gd name="connsiteY14" fmla="*/ 161720 h 397633"/>
                  <a:gd name="connsiteX15" fmla="*/ 198456 w 397633"/>
                  <a:gd name="connsiteY15" fmla="*/ 16315 h 39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7633" h="397633">
                    <a:moveTo>
                      <a:pt x="198010" y="397167"/>
                    </a:moveTo>
                    <a:cubicBezTo>
                      <a:pt x="88232" y="397167"/>
                      <a:pt x="-807" y="308128"/>
                      <a:pt x="-807" y="198350"/>
                    </a:cubicBezTo>
                    <a:cubicBezTo>
                      <a:pt x="-807" y="88544"/>
                      <a:pt x="88232" y="-467"/>
                      <a:pt x="198010" y="-467"/>
                    </a:cubicBezTo>
                    <a:cubicBezTo>
                      <a:pt x="307844" y="-467"/>
                      <a:pt x="396827" y="88549"/>
                      <a:pt x="396827" y="198350"/>
                    </a:cubicBezTo>
                    <a:cubicBezTo>
                      <a:pt x="396827" y="292852"/>
                      <a:pt x="330313" y="374252"/>
                      <a:pt x="237762" y="393152"/>
                    </a:cubicBezTo>
                    <a:lnTo>
                      <a:pt x="237762" y="393152"/>
                    </a:lnTo>
                    <a:cubicBezTo>
                      <a:pt x="224660" y="395828"/>
                      <a:pt x="211335" y="397167"/>
                      <a:pt x="198010" y="397167"/>
                    </a:cubicBezTo>
                    <a:close/>
                    <a:moveTo>
                      <a:pt x="236090" y="384957"/>
                    </a:moveTo>
                    <a:lnTo>
                      <a:pt x="236090" y="384957"/>
                    </a:lnTo>
                    <a:close/>
                    <a:moveTo>
                      <a:pt x="198456" y="16315"/>
                    </a:moveTo>
                    <a:cubicBezTo>
                      <a:pt x="97933" y="16215"/>
                      <a:pt x="16366" y="97637"/>
                      <a:pt x="16254" y="198171"/>
                    </a:cubicBezTo>
                    <a:cubicBezTo>
                      <a:pt x="16143" y="298706"/>
                      <a:pt x="97542" y="380273"/>
                      <a:pt x="198122" y="380385"/>
                    </a:cubicBezTo>
                    <a:cubicBezTo>
                      <a:pt x="210276" y="380385"/>
                      <a:pt x="222486" y="379158"/>
                      <a:pt x="234417" y="376761"/>
                    </a:cubicBezTo>
                    <a:lnTo>
                      <a:pt x="234417" y="376761"/>
                    </a:lnTo>
                    <a:cubicBezTo>
                      <a:pt x="332933" y="356522"/>
                      <a:pt x="396325" y="260236"/>
                      <a:pt x="376086" y="161720"/>
                    </a:cubicBezTo>
                    <a:cubicBezTo>
                      <a:pt x="358747" y="77331"/>
                      <a:pt x="284595" y="16661"/>
                      <a:pt x="198456" y="16315"/>
                    </a:cubicBezTo>
                    <a:close/>
                  </a:path>
                </a:pathLst>
              </a:custGeom>
              <a:solidFill>
                <a:srgbClr val="30373B"/>
              </a:solidFill>
              <a:ln w="5573" cap="flat">
                <a:noFill/>
                <a:prstDash val="solid"/>
                <a:miter/>
              </a:ln>
            </p:spPr>
            <p:txBody>
              <a:bodyPr rtlCol="0" anchor="ctr"/>
              <a:lstStyle/>
              <a:p>
                <a:endParaRPr lang="en-GB"/>
              </a:p>
            </p:txBody>
          </p:sp>
          <p:sp>
            <p:nvSpPr>
              <p:cNvPr id="157" name="Graphic 6">
                <a:extLst>
                  <a:ext uri="{FF2B5EF4-FFF2-40B4-BE49-F238E27FC236}">
                    <a16:creationId xmlns:a16="http://schemas.microsoft.com/office/drawing/2014/main" id="{514BBECC-ECB9-22DA-1E25-C99C5F388BC3}"/>
                  </a:ext>
                </a:extLst>
              </p:cNvPr>
              <p:cNvSpPr/>
              <p:nvPr/>
            </p:nvSpPr>
            <p:spPr>
              <a:xfrm>
                <a:off x="7737233" y="5098055"/>
                <a:ext cx="213475" cy="79445"/>
              </a:xfrm>
              <a:custGeom>
                <a:avLst/>
                <a:gdLst>
                  <a:gd name="connsiteX0" fmla="*/ 7551 w 213475"/>
                  <a:gd name="connsiteY0" fmla="*/ 78931 h 79445"/>
                  <a:gd name="connsiteX1" fmla="*/ -421 w 213475"/>
                  <a:gd name="connsiteY1" fmla="*/ 73356 h 79445"/>
                  <a:gd name="connsiteX2" fmla="*/ 5154 w 213475"/>
                  <a:gd name="connsiteY2" fmla="*/ 62824 h 79445"/>
                  <a:gd name="connsiteX3" fmla="*/ 5154 w 213475"/>
                  <a:gd name="connsiteY3" fmla="*/ 62819 h 79445"/>
                  <a:gd name="connsiteX4" fmla="*/ 201741 w 213475"/>
                  <a:gd name="connsiteY4" fmla="*/ -71 h 79445"/>
                  <a:gd name="connsiteX5" fmla="*/ 212278 w 213475"/>
                  <a:gd name="connsiteY5" fmla="*/ 5365 h 79445"/>
                  <a:gd name="connsiteX6" fmla="*/ 206814 w 213475"/>
                  <a:gd name="connsiteY6" fmla="*/ 15874 h 79445"/>
                  <a:gd name="connsiteX7" fmla="*/ 10228 w 213475"/>
                  <a:gd name="connsiteY7" fmla="*/ 78764 h 79445"/>
                  <a:gd name="connsiteX8" fmla="*/ 7551 w 213475"/>
                  <a:gd name="connsiteY8" fmla="*/ 78931 h 7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475" h="79445">
                    <a:moveTo>
                      <a:pt x="7551" y="78931"/>
                    </a:moveTo>
                    <a:cubicBezTo>
                      <a:pt x="3983" y="78987"/>
                      <a:pt x="749" y="76740"/>
                      <a:pt x="-421" y="73356"/>
                    </a:cubicBezTo>
                    <a:cubicBezTo>
                      <a:pt x="-1815" y="68912"/>
                      <a:pt x="693" y="64201"/>
                      <a:pt x="5154" y="62824"/>
                    </a:cubicBezTo>
                    <a:cubicBezTo>
                      <a:pt x="5154" y="62824"/>
                      <a:pt x="5154" y="62819"/>
                      <a:pt x="5154" y="62819"/>
                    </a:cubicBezTo>
                    <a:lnTo>
                      <a:pt x="201741" y="-71"/>
                    </a:lnTo>
                    <a:cubicBezTo>
                      <a:pt x="206145" y="-1471"/>
                      <a:pt x="210828" y="960"/>
                      <a:pt x="212278" y="5365"/>
                    </a:cubicBezTo>
                    <a:cubicBezTo>
                      <a:pt x="213672" y="9769"/>
                      <a:pt x="211218" y="14475"/>
                      <a:pt x="206814" y="15874"/>
                    </a:cubicBezTo>
                    <a:lnTo>
                      <a:pt x="10228" y="78764"/>
                    </a:lnTo>
                    <a:cubicBezTo>
                      <a:pt x="9336" y="78970"/>
                      <a:pt x="8443" y="79032"/>
                      <a:pt x="7551" y="78931"/>
                    </a:cubicBezTo>
                    <a:close/>
                  </a:path>
                </a:pathLst>
              </a:custGeom>
              <a:solidFill>
                <a:srgbClr val="30373B"/>
              </a:solidFill>
              <a:ln w="5573" cap="flat">
                <a:noFill/>
                <a:prstDash val="solid"/>
                <a:miter/>
              </a:ln>
            </p:spPr>
            <p:txBody>
              <a:bodyPr rtlCol="0" anchor="ctr"/>
              <a:lstStyle/>
              <a:p>
                <a:endParaRPr lang="en-GB"/>
              </a:p>
            </p:txBody>
          </p:sp>
          <p:sp>
            <p:nvSpPr>
              <p:cNvPr id="158" name="Graphic 6">
                <a:extLst>
                  <a:ext uri="{FF2B5EF4-FFF2-40B4-BE49-F238E27FC236}">
                    <a16:creationId xmlns:a16="http://schemas.microsoft.com/office/drawing/2014/main" id="{B0B9BA0C-CDE9-7906-84BB-84585F73E294}"/>
                  </a:ext>
                </a:extLst>
              </p:cNvPr>
              <p:cNvSpPr/>
              <p:nvPr/>
            </p:nvSpPr>
            <p:spPr>
              <a:xfrm>
                <a:off x="758373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59" name="Graphic 6">
                <a:extLst>
                  <a:ext uri="{FF2B5EF4-FFF2-40B4-BE49-F238E27FC236}">
                    <a16:creationId xmlns:a16="http://schemas.microsoft.com/office/drawing/2014/main" id="{D901E415-F37C-2EDA-4C4A-212DD7FBEA76}"/>
                  </a:ext>
                </a:extLst>
              </p:cNvPr>
              <p:cNvSpPr/>
              <p:nvPr/>
            </p:nvSpPr>
            <p:spPr>
              <a:xfrm>
                <a:off x="773159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0" name="Graphic 6">
                <a:extLst>
                  <a:ext uri="{FF2B5EF4-FFF2-40B4-BE49-F238E27FC236}">
                    <a16:creationId xmlns:a16="http://schemas.microsoft.com/office/drawing/2014/main" id="{B77A4349-31F1-D390-C644-1CC31A900EAA}"/>
                  </a:ext>
                </a:extLst>
              </p:cNvPr>
              <p:cNvSpPr/>
              <p:nvPr/>
            </p:nvSpPr>
            <p:spPr>
              <a:xfrm>
                <a:off x="758373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61" name="Graphic 6">
                <a:extLst>
                  <a:ext uri="{FF2B5EF4-FFF2-40B4-BE49-F238E27FC236}">
                    <a16:creationId xmlns:a16="http://schemas.microsoft.com/office/drawing/2014/main" id="{4BB3F4DA-2704-61B1-8C94-3416983CE5BB}"/>
                  </a:ext>
                </a:extLst>
              </p:cNvPr>
              <p:cNvSpPr/>
              <p:nvPr/>
            </p:nvSpPr>
            <p:spPr>
              <a:xfrm>
                <a:off x="773159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2" name="Graphic 6">
                <a:extLst>
                  <a:ext uri="{FF2B5EF4-FFF2-40B4-BE49-F238E27FC236}">
                    <a16:creationId xmlns:a16="http://schemas.microsoft.com/office/drawing/2014/main" id="{6B0320F4-0748-F058-FE07-8D1071106BDB}"/>
                  </a:ext>
                </a:extLst>
              </p:cNvPr>
              <p:cNvSpPr/>
              <p:nvPr/>
            </p:nvSpPr>
            <p:spPr>
              <a:xfrm>
                <a:off x="787482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3" name="Graphic 6">
                <a:extLst>
                  <a:ext uri="{FF2B5EF4-FFF2-40B4-BE49-F238E27FC236}">
                    <a16:creationId xmlns:a16="http://schemas.microsoft.com/office/drawing/2014/main" id="{7E2894DE-14AC-31AA-1372-505E1208265E}"/>
                  </a:ext>
                </a:extLst>
              </p:cNvPr>
              <p:cNvSpPr/>
              <p:nvPr/>
            </p:nvSpPr>
            <p:spPr>
              <a:xfrm>
                <a:off x="787482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4" name="Graphic 6">
                <a:extLst>
                  <a:ext uri="{FF2B5EF4-FFF2-40B4-BE49-F238E27FC236}">
                    <a16:creationId xmlns:a16="http://schemas.microsoft.com/office/drawing/2014/main" id="{20A940E3-5BD6-43F9-7879-3313BC58B189}"/>
                  </a:ext>
                </a:extLst>
              </p:cNvPr>
              <p:cNvSpPr/>
              <p:nvPr/>
            </p:nvSpPr>
            <p:spPr>
              <a:xfrm>
                <a:off x="8363171"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75"/>
                      <a:pt x="81374" y="105431"/>
                      <a:pt x="52159" y="105465"/>
                    </a:cubicBezTo>
                    <a:close/>
                    <a:moveTo>
                      <a:pt x="52159" y="16259"/>
                    </a:moveTo>
                    <a:cubicBezTo>
                      <a:pt x="32144" y="16259"/>
                      <a:pt x="15919" y="32484"/>
                      <a:pt x="15919" y="52499"/>
                    </a:cubicBezTo>
                    <a:cubicBezTo>
                      <a:pt x="15919" y="72515"/>
                      <a:pt x="32144" y="88739"/>
                      <a:pt x="52159" y="88739"/>
                    </a:cubicBezTo>
                    <a:cubicBezTo>
                      <a:pt x="72175" y="88739"/>
                      <a:pt x="88399" y="72515"/>
                      <a:pt x="88399" y="52499"/>
                    </a:cubicBezTo>
                    <a:cubicBezTo>
                      <a:pt x="88343" y="32517"/>
                      <a:pt x="72119" y="16343"/>
                      <a:pt x="52159" y="16315"/>
                    </a:cubicBezTo>
                    <a:close/>
                  </a:path>
                </a:pathLst>
              </a:custGeom>
              <a:solidFill>
                <a:srgbClr val="30373B"/>
              </a:solidFill>
              <a:ln w="5573" cap="flat">
                <a:noFill/>
                <a:prstDash val="solid"/>
                <a:miter/>
              </a:ln>
            </p:spPr>
            <p:txBody>
              <a:bodyPr rtlCol="0" anchor="ctr"/>
              <a:lstStyle/>
              <a:p>
                <a:endParaRPr lang="en-GB"/>
              </a:p>
            </p:txBody>
          </p:sp>
          <p:sp>
            <p:nvSpPr>
              <p:cNvPr id="165" name="Graphic 6">
                <a:extLst>
                  <a:ext uri="{FF2B5EF4-FFF2-40B4-BE49-F238E27FC236}">
                    <a16:creationId xmlns:a16="http://schemas.microsoft.com/office/drawing/2014/main" id="{1F6CF991-43F2-9CA2-3F73-CFCCB80553F8}"/>
                  </a:ext>
                </a:extLst>
              </p:cNvPr>
              <p:cNvSpPr/>
              <p:nvPr/>
            </p:nvSpPr>
            <p:spPr>
              <a:xfrm>
                <a:off x="8510973"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6" name="Graphic 6">
                <a:extLst>
                  <a:ext uri="{FF2B5EF4-FFF2-40B4-BE49-F238E27FC236}">
                    <a16:creationId xmlns:a16="http://schemas.microsoft.com/office/drawing/2014/main" id="{2EAD32A4-8568-4DCF-7911-571E1EA9FBE0}"/>
                  </a:ext>
                </a:extLst>
              </p:cNvPr>
              <p:cNvSpPr/>
              <p:nvPr/>
            </p:nvSpPr>
            <p:spPr>
              <a:xfrm>
                <a:off x="8363171"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09"/>
                      <a:pt x="52159" y="105465"/>
                    </a:cubicBezTo>
                    <a:close/>
                    <a:moveTo>
                      <a:pt x="52159" y="16259"/>
                    </a:moveTo>
                    <a:cubicBezTo>
                      <a:pt x="32144" y="16259"/>
                      <a:pt x="15919" y="32483"/>
                      <a:pt x="15919" y="52499"/>
                    </a:cubicBezTo>
                    <a:cubicBezTo>
                      <a:pt x="15919" y="72514"/>
                      <a:pt x="32144" y="88739"/>
                      <a:pt x="52159" y="88739"/>
                    </a:cubicBezTo>
                    <a:cubicBezTo>
                      <a:pt x="72175" y="88739"/>
                      <a:pt x="88399" y="72514"/>
                      <a:pt x="88399" y="52499"/>
                    </a:cubicBezTo>
                    <a:cubicBezTo>
                      <a:pt x="88343" y="32517"/>
                      <a:pt x="72119" y="16348"/>
                      <a:pt x="52159" y="16315"/>
                    </a:cubicBezTo>
                    <a:close/>
                  </a:path>
                </a:pathLst>
              </a:custGeom>
              <a:solidFill>
                <a:srgbClr val="30373B"/>
              </a:solidFill>
              <a:ln w="5573" cap="flat">
                <a:noFill/>
                <a:prstDash val="solid"/>
                <a:miter/>
              </a:ln>
            </p:spPr>
            <p:txBody>
              <a:bodyPr rtlCol="0" anchor="ctr"/>
              <a:lstStyle/>
              <a:p>
                <a:endParaRPr lang="en-GB"/>
              </a:p>
            </p:txBody>
          </p:sp>
          <p:sp>
            <p:nvSpPr>
              <p:cNvPr id="167" name="Graphic 6">
                <a:extLst>
                  <a:ext uri="{FF2B5EF4-FFF2-40B4-BE49-F238E27FC236}">
                    <a16:creationId xmlns:a16="http://schemas.microsoft.com/office/drawing/2014/main" id="{2EA44193-9527-289E-7573-C12BEEF3D096}"/>
                  </a:ext>
                </a:extLst>
              </p:cNvPr>
              <p:cNvSpPr/>
              <p:nvPr/>
            </p:nvSpPr>
            <p:spPr>
              <a:xfrm>
                <a:off x="8510973"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8" name="Graphic 6">
                <a:extLst>
                  <a:ext uri="{FF2B5EF4-FFF2-40B4-BE49-F238E27FC236}">
                    <a16:creationId xmlns:a16="http://schemas.microsoft.com/office/drawing/2014/main" id="{3B6774C7-3B06-7240-6471-00E417768866}"/>
                  </a:ext>
                </a:extLst>
              </p:cNvPr>
              <p:cNvSpPr/>
              <p:nvPr/>
            </p:nvSpPr>
            <p:spPr>
              <a:xfrm>
                <a:off x="8654204"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9" name="Graphic 6">
                <a:extLst>
                  <a:ext uri="{FF2B5EF4-FFF2-40B4-BE49-F238E27FC236}">
                    <a16:creationId xmlns:a16="http://schemas.microsoft.com/office/drawing/2014/main" id="{F1D66DC7-AD83-028A-679D-949673EE65F1}"/>
                  </a:ext>
                </a:extLst>
              </p:cNvPr>
              <p:cNvSpPr/>
              <p:nvPr/>
            </p:nvSpPr>
            <p:spPr>
              <a:xfrm>
                <a:off x="6727032"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0" name="Graphic 6">
                <a:extLst>
                  <a:ext uri="{FF2B5EF4-FFF2-40B4-BE49-F238E27FC236}">
                    <a16:creationId xmlns:a16="http://schemas.microsoft.com/office/drawing/2014/main" id="{8D4A0829-DDB2-21FA-D79F-CE20C8B39411}"/>
                  </a:ext>
                </a:extLst>
              </p:cNvPr>
              <p:cNvSpPr/>
              <p:nvPr/>
            </p:nvSpPr>
            <p:spPr>
              <a:xfrm>
                <a:off x="687483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1" name="Graphic 6">
                <a:extLst>
                  <a:ext uri="{FF2B5EF4-FFF2-40B4-BE49-F238E27FC236}">
                    <a16:creationId xmlns:a16="http://schemas.microsoft.com/office/drawing/2014/main" id="{A0309058-70F9-F61B-63F8-C55DF2A0DF97}"/>
                  </a:ext>
                </a:extLst>
              </p:cNvPr>
              <p:cNvSpPr/>
              <p:nvPr/>
            </p:nvSpPr>
            <p:spPr>
              <a:xfrm>
                <a:off x="6727032"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2" name="Graphic 6">
                <a:extLst>
                  <a:ext uri="{FF2B5EF4-FFF2-40B4-BE49-F238E27FC236}">
                    <a16:creationId xmlns:a16="http://schemas.microsoft.com/office/drawing/2014/main" id="{2AAA7506-410A-EDB2-0CF6-FAB72BD77FD0}"/>
                  </a:ext>
                </a:extLst>
              </p:cNvPr>
              <p:cNvSpPr/>
              <p:nvPr/>
            </p:nvSpPr>
            <p:spPr>
              <a:xfrm>
                <a:off x="6874834" y="5160895"/>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520"/>
                      <a:pt x="-751" y="81825"/>
                      <a:pt x="-807" y="52555"/>
                    </a:cubicBezTo>
                    <a:cubicBezTo>
                      <a:pt x="-862" y="23301"/>
                      <a:pt x="22833" y="-433"/>
                      <a:pt x="52103" y="-467"/>
                    </a:cubicBezTo>
                    <a:cubicBezTo>
                      <a:pt x="81374" y="-495"/>
                      <a:pt x="105069" y="23189"/>
                      <a:pt x="105125" y="52443"/>
                    </a:cubicBezTo>
                    <a:cubicBezTo>
                      <a:pt x="105125" y="52482"/>
                      <a:pt x="105125" y="52516"/>
                      <a:pt x="105125" y="52555"/>
                    </a:cubicBezTo>
                    <a:cubicBezTo>
                      <a:pt x="105069" y="81769"/>
                      <a:pt x="81430" y="105409"/>
                      <a:pt x="52215" y="105465"/>
                    </a:cubicBezTo>
                    <a:close/>
                    <a:moveTo>
                      <a:pt x="52215" y="16259"/>
                    </a:moveTo>
                    <a:cubicBezTo>
                      <a:pt x="32200" y="16231"/>
                      <a:pt x="15975" y="32428"/>
                      <a:pt x="15919" y="52443"/>
                    </a:cubicBezTo>
                    <a:cubicBezTo>
                      <a:pt x="15864" y="72459"/>
                      <a:pt x="32088" y="88683"/>
                      <a:pt x="52103" y="88739"/>
                    </a:cubicBezTo>
                    <a:cubicBezTo>
                      <a:pt x="72119" y="88794"/>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3" name="Graphic 6">
                <a:extLst>
                  <a:ext uri="{FF2B5EF4-FFF2-40B4-BE49-F238E27FC236}">
                    <a16:creationId xmlns:a16="http://schemas.microsoft.com/office/drawing/2014/main" id="{2DF20DD4-5308-5D52-54DB-44970B30CCBB}"/>
                  </a:ext>
                </a:extLst>
              </p:cNvPr>
              <p:cNvSpPr/>
              <p:nvPr/>
            </p:nvSpPr>
            <p:spPr>
              <a:xfrm>
                <a:off x="701806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28"/>
                      <a:pt x="72175" y="16343"/>
                      <a:pt x="52215" y="16315"/>
                    </a:cubicBezTo>
                    <a:close/>
                  </a:path>
                </a:pathLst>
              </a:custGeom>
              <a:solidFill>
                <a:srgbClr val="30373B"/>
              </a:solidFill>
              <a:ln w="5573" cap="flat">
                <a:noFill/>
                <a:prstDash val="solid"/>
                <a:miter/>
              </a:ln>
            </p:spPr>
            <p:txBody>
              <a:bodyPr rtlCol="0" anchor="ctr"/>
              <a:lstStyle/>
              <a:p>
                <a:endParaRPr lang="en-GB"/>
              </a:p>
            </p:txBody>
          </p:sp>
          <p:sp>
            <p:nvSpPr>
              <p:cNvPr id="174" name="Graphic 6">
                <a:extLst>
                  <a:ext uri="{FF2B5EF4-FFF2-40B4-BE49-F238E27FC236}">
                    <a16:creationId xmlns:a16="http://schemas.microsoft.com/office/drawing/2014/main" id="{0E5F12BF-DCDA-E6BA-C046-264B0D2105B0}"/>
                  </a:ext>
                </a:extLst>
              </p:cNvPr>
              <p:cNvSpPr/>
              <p:nvPr/>
            </p:nvSpPr>
            <p:spPr>
              <a:xfrm>
                <a:off x="817901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5" name="Graphic 6">
                <a:extLst>
                  <a:ext uri="{FF2B5EF4-FFF2-40B4-BE49-F238E27FC236}">
                    <a16:creationId xmlns:a16="http://schemas.microsoft.com/office/drawing/2014/main" id="{DCC2EC4D-EAF5-AC44-C051-5D1166AFEE36}"/>
                  </a:ext>
                </a:extLst>
              </p:cNvPr>
              <p:cNvSpPr/>
              <p:nvPr/>
            </p:nvSpPr>
            <p:spPr>
              <a:xfrm>
                <a:off x="817901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6" name="Graphic 6">
                <a:extLst>
                  <a:ext uri="{FF2B5EF4-FFF2-40B4-BE49-F238E27FC236}">
                    <a16:creationId xmlns:a16="http://schemas.microsoft.com/office/drawing/2014/main" id="{516B5E94-D967-5DAC-46A1-7F313F3F3A2C}"/>
                  </a:ext>
                </a:extLst>
              </p:cNvPr>
              <p:cNvSpPr/>
              <p:nvPr/>
            </p:nvSpPr>
            <p:spPr>
              <a:xfrm>
                <a:off x="832224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7" name="Graphic 6">
                <a:extLst>
                  <a:ext uri="{FF2B5EF4-FFF2-40B4-BE49-F238E27FC236}">
                    <a16:creationId xmlns:a16="http://schemas.microsoft.com/office/drawing/2014/main" id="{637730E0-296A-2067-6057-0C6C09D1ED73}"/>
                  </a:ext>
                </a:extLst>
              </p:cNvPr>
              <p:cNvSpPr/>
              <p:nvPr/>
            </p:nvSpPr>
            <p:spPr>
              <a:xfrm>
                <a:off x="832224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8" name="Graphic 6">
                <a:extLst>
                  <a:ext uri="{FF2B5EF4-FFF2-40B4-BE49-F238E27FC236}">
                    <a16:creationId xmlns:a16="http://schemas.microsoft.com/office/drawing/2014/main" id="{34A4D711-BAC7-7178-97D9-683EBB1EDC77}"/>
                  </a:ext>
                </a:extLst>
              </p:cNvPr>
              <p:cNvSpPr/>
              <p:nvPr/>
            </p:nvSpPr>
            <p:spPr>
              <a:xfrm>
                <a:off x="5931486"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1"/>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79" name="Graphic 6">
                <a:extLst>
                  <a:ext uri="{FF2B5EF4-FFF2-40B4-BE49-F238E27FC236}">
                    <a16:creationId xmlns:a16="http://schemas.microsoft.com/office/drawing/2014/main" id="{7BEBB9F2-F109-2F89-3463-7243292515C7}"/>
                  </a:ext>
                </a:extLst>
              </p:cNvPr>
              <p:cNvSpPr/>
              <p:nvPr/>
            </p:nvSpPr>
            <p:spPr>
              <a:xfrm>
                <a:off x="6079512"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0" name="Graphic 6">
                <a:extLst>
                  <a:ext uri="{FF2B5EF4-FFF2-40B4-BE49-F238E27FC236}">
                    <a16:creationId xmlns:a16="http://schemas.microsoft.com/office/drawing/2014/main" id="{8EC8DF68-2875-2832-4BC0-4D3C631A7F65}"/>
                  </a:ext>
                </a:extLst>
              </p:cNvPr>
              <p:cNvSpPr/>
              <p:nvPr/>
            </p:nvSpPr>
            <p:spPr>
              <a:xfrm>
                <a:off x="5931486"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7"/>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81" name="Graphic 6">
                <a:extLst>
                  <a:ext uri="{FF2B5EF4-FFF2-40B4-BE49-F238E27FC236}">
                    <a16:creationId xmlns:a16="http://schemas.microsoft.com/office/drawing/2014/main" id="{1E00A7C8-0116-B87A-DBDA-87588A4B83F7}"/>
                  </a:ext>
                </a:extLst>
              </p:cNvPr>
              <p:cNvSpPr/>
              <p:nvPr/>
            </p:nvSpPr>
            <p:spPr>
              <a:xfrm>
                <a:off x="6079512"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2" name="Graphic 6">
                <a:extLst>
                  <a:ext uri="{FF2B5EF4-FFF2-40B4-BE49-F238E27FC236}">
                    <a16:creationId xmlns:a16="http://schemas.microsoft.com/office/drawing/2014/main" id="{3B4F1DA2-371B-CB11-5D75-83720FF59D7B}"/>
                  </a:ext>
                </a:extLst>
              </p:cNvPr>
              <p:cNvSpPr/>
              <p:nvPr/>
            </p:nvSpPr>
            <p:spPr>
              <a:xfrm>
                <a:off x="6222519"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3" name="Graphic 6">
                <a:extLst>
                  <a:ext uri="{FF2B5EF4-FFF2-40B4-BE49-F238E27FC236}">
                    <a16:creationId xmlns:a16="http://schemas.microsoft.com/office/drawing/2014/main" id="{5F6DD8A4-F025-D67C-2414-27F0DF3AD35C}"/>
                  </a:ext>
                </a:extLst>
              </p:cNvPr>
              <p:cNvSpPr/>
              <p:nvPr/>
            </p:nvSpPr>
            <p:spPr>
              <a:xfrm>
                <a:off x="6222519"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4" name="Graphic 6">
                <a:extLst>
                  <a:ext uri="{FF2B5EF4-FFF2-40B4-BE49-F238E27FC236}">
                    <a16:creationId xmlns:a16="http://schemas.microsoft.com/office/drawing/2014/main" id="{8E1000D6-40AB-34B9-02F6-D8DD68900C88}"/>
                  </a:ext>
                </a:extLst>
              </p:cNvPr>
              <p:cNvSpPr/>
              <p:nvPr/>
            </p:nvSpPr>
            <p:spPr>
              <a:xfrm>
                <a:off x="657175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5" name="Graphic 6">
                <a:extLst>
                  <a:ext uri="{FF2B5EF4-FFF2-40B4-BE49-F238E27FC236}">
                    <a16:creationId xmlns:a16="http://schemas.microsoft.com/office/drawing/2014/main" id="{D3A1441C-C34F-81C2-38AF-5DFD37200CBA}"/>
                  </a:ext>
                </a:extLst>
              </p:cNvPr>
              <p:cNvSpPr/>
              <p:nvPr/>
            </p:nvSpPr>
            <p:spPr>
              <a:xfrm>
                <a:off x="657175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6" name="Graphic 6">
                <a:extLst>
                  <a:ext uri="{FF2B5EF4-FFF2-40B4-BE49-F238E27FC236}">
                    <a16:creationId xmlns:a16="http://schemas.microsoft.com/office/drawing/2014/main" id="{F847CD6B-5181-82E9-A3E8-D7255FCE6134}"/>
                  </a:ext>
                </a:extLst>
              </p:cNvPr>
              <p:cNvSpPr/>
              <p:nvPr/>
            </p:nvSpPr>
            <p:spPr>
              <a:xfrm>
                <a:off x="6715100"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7" name="Graphic 6">
                <a:extLst>
                  <a:ext uri="{FF2B5EF4-FFF2-40B4-BE49-F238E27FC236}">
                    <a16:creationId xmlns:a16="http://schemas.microsoft.com/office/drawing/2014/main" id="{8DA57CD1-ECC3-BA0C-DABE-86AB486A698B}"/>
                  </a:ext>
                </a:extLst>
              </p:cNvPr>
              <p:cNvSpPr/>
              <p:nvPr/>
            </p:nvSpPr>
            <p:spPr>
              <a:xfrm>
                <a:off x="6715100"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200"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8" name="Graphic 6">
                <a:extLst>
                  <a:ext uri="{FF2B5EF4-FFF2-40B4-BE49-F238E27FC236}">
                    <a16:creationId xmlns:a16="http://schemas.microsoft.com/office/drawing/2014/main" id="{471182A4-818C-76EF-35A4-D853F474A767}"/>
                  </a:ext>
                </a:extLst>
              </p:cNvPr>
              <p:cNvSpPr/>
              <p:nvPr/>
            </p:nvSpPr>
            <p:spPr>
              <a:xfrm>
                <a:off x="7449596" y="4796267"/>
                <a:ext cx="1684143" cy="16726"/>
              </a:xfrm>
              <a:custGeom>
                <a:avLst/>
                <a:gdLst>
                  <a:gd name="connsiteX0" fmla="*/ 1674974 w 1684143"/>
                  <a:gd name="connsiteY0" fmla="*/ 16259 h 16726"/>
                  <a:gd name="connsiteX1" fmla="*/ 7556 w 1684143"/>
                  <a:gd name="connsiteY1" fmla="*/ 16259 h 16726"/>
                  <a:gd name="connsiteX2" fmla="*/ -807 w 1684143"/>
                  <a:gd name="connsiteY2" fmla="*/ 7896 h 16726"/>
                  <a:gd name="connsiteX3" fmla="*/ 7556 w 1684143"/>
                  <a:gd name="connsiteY3" fmla="*/ -467 h 16726"/>
                  <a:gd name="connsiteX4" fmla="*/ 1674974 w 1684143"/>
                  <a:gd name="connsiteY4" fmla="*/ -467 h 16726"/>
                  <a:gd name="connsiteX5" fmla="*/ 1683337 w 1684143"/>
                  <a:gd name="connsiteY5" fmla="*/ 7896 h 16726"/>
                  <a:gd name="connsiteX6" fmla="*/ 1674974 w 1684143"/>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4143" h="16726">
                    <a:moveTo>
                      <a:pt x="1674974" y="16259"/>
                    </a:moveTo>
                    <a:lnTo>
                      <a:pt x="7556" y="16259"/>
                    </a:lnTo>
                    <a:cubicBezTo>
                      <a:pt x="2929" y="16259"/>
                      <a:pt x="-807" y="12513"/>
                      <a:pt x="-807" y="7896"/>
                    </a:cubicBezTo>
                    <a:cubicBezTo>
                      <a:pt x="-807" y="3280"/>
                      <a:pt x="2929" y="-467"/>
                      <a:pt x="7556" y="-467"/>
                    </a:cubicBezTo>
                    <a:lnTo>
                      <a:pt x="1674974" y="-467"/>
                    </a:lnTo>
                    <a:cubicBezTo>
                      <a:pt x="1679601" y="-467"/>
                      <a:pt x="1683337" y="3280"/>
                      <a:pt x="1683337" y="7896"/>
                    </a:cubicBezTo>
                    <a:cubicBezTo>
                      <a:pt x="1683337" y="12513"/>
                      <a:pt x="1679601" y="16259"/>
                      <a:pt x="1674974" y="16259"/>
                    </a:cubicBezTo>
                    <a:close/>
                  </a:path>
                </a:pathLst>
              </a:custGeom>
              <a:solidFill>
                <a:srgbClr val="30373B"/>
              </a:solidFill>
              <a:ln w="5573" cap="flat">
                <a:noFill/>
                <a:prstDash val="solid"/>
                <a:miter/>
              </a:ln>
            </p:spPr>
            <p:txBody>
              <a:bodyPr rtlCol="0" anchor="ctr"/>
              <a:lstStyle/>
              <a:p>
                <a:endParaRPr lang="en-GB"/>
              </a:p>
            </p:txBody>
          </p:sp>
          <p:sp>
            <p:nvSpPr>
              <p:cNvPr id="189" name="Graphic 6">
                <a:extLst>
                  <a:ext uri="{FF2B5EF4-FFF2-40B4-BE49-F238E27FC236}">
                    <a16:creationId xmlns:a16="http://schemas.microsoft.com/office/drawing/2014/main" id="{26DBA74E-D12B-A00E-59EC-05316BCE8B78}"/>
                  </a:ext>
                </a:extLst>
              </p:cNvPr>
              <p:cNvSpPr/>
              <p:nvPr/>
            </p:nvSpPr>
            <p:spPr>
              <a:xfrm>
                <a:off x="7454948" y="4699312"/>
                <a:ext cx="1678791" cy="16726"/>
              </a:xfrm>
              <a:custGeom>
                <a:avLst/>
                <a:gdLst>
                  <a:gd name="connsiteX0" fmla="*/ 1669622 w 1678791"/>
                  <a:gd name="connsiteY0" fmla="*/ 16259 h 16726"/>
                  <a:gd name="connsiteX1" fmla="*/ 7556 w 1678791"/>
                  <a:gd name="connsiteY1" fmla="*/ 16259 h 16726"/>
                  <a:gd name="connsiteX2" fmla="*/ -807 w 1678791"/>
                  <a:gd name="connsiteY2" fmla="*/ 7896 h 16726"/>
                  <a:gd name="connsiteX3" fmla="*/ 7556 w 1678791"/>
                  <a:gd name="connsiteY3" fmla="*/ -467 h 16726"/>
                  <a:gd name="connsiteX4" fmla="*/ 1669622 w 1678791"/>
                  <a:gd name="connsiteY4" fmla="*/ -467 h 16726"/>
                  <a:gd name="connsiteX5" fmla="*/ 1677985 w 1678791"/>
                  <a:gd name="connsiteY5" fmla="*/ 7896 h 16726"/>
                  <a:gd name="connsiteX6" fmla="*/ 1669622 w 1678791"/>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8791" h="16726">
                    <a:moveTo>
                      <a:pt x="1669622" y="16259"/>
                    </a:moveTo>
                    <a:lnTo>
                      <a:pt x="7556" y="16259"/>
                    </a:lnTo>
                    <a:cubicBezTo>
                      <a:pt x="2929" y="16259"/>
                      <a:pt x="-807" y="12513"/>
                      <a:pt x="-807" y="7896"/>
                    </a:cubicBezTo>
                    <a:cubicBezTo>
                      <a:pt x="-807" y="3280"/>
                      <a:pt x="2929" y="-467"/>
                      <a:pt x="7556" y="-467"/>
                    </a:cubicBezTo>
                    <a:lnTo>
                      <a:pt x="1669622" y="-467"/>
                    </a:lnTo>
                    <a:cubicBezTo>
                      <a:pt x="1674249" y="-467"/>
                      <a:pt x="1677985" y="3280"/>
                      <a:pt x="1677985" y="7896"/>
                    </a:cubicBezTo>
                    <a:cubicBezTo>
                      <a:pt x="1677985" y="12513"/>
                      <a:pt x="1674249" y="16259"/>
                      <a:pt x="1669622" y="16259"/>
                    </a:cubicBezTo>
                    <a:close/>
                  </a:path>
                </a:pathLst>
              </a:custGeom>
              <a:solidFill>
                <a:srgbClr val="30373B"/>
              </a:solidFill>
              <a:ln w="5573" cap="flat">
                <a:noFill/>
                <a:prstDash val="solid"/>
                <a:miter/>
              </a:ln>
            </p:spPr>
            <p:txBody>
              <a:bodyPr rtlCol="0" anchor="ctr"/>
              <a:lstStyle/>
              <a:p>
                <a:endParaRPr lang="en-GB"/>
              </a:p>
            </p:txBody>
          </p:sp>
          <p:sp>
            <p:nvSpPr>
              <p:cNvPr id="190" name="Graphic 6">
                <a:extLst>
                  <a:ext uri="{FF2B5EF4-FFF2-40B4-BE49-F238E27FC236}">
                    <a16:creationId xmlns:a16="http://schemas.microsoft.com/office/drawing/2014/main" id="{F1A2F235-E754-2681-0188-6E0E9E9E2FDB}"/>
                  </a:ext>
                </a:extLst>
              </p:cNvPr>
              <p:cNvSpPr/>
              <p:nvPr/>
            </p:nvSpPr>
            <p:spPr>
              <a:xfrm>
                <a:off x="5517016" y="4699312"/>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1" name="Graphic 6">
                <a:extLst>
                  <a:ext uri="{FF2B5EF4-FFF2-40B4-BE49-F238E27FC236}">
                    <a16:creationId xmlns:a16="http://schemas.microsoft.com/office/drawing/2014/main" id="{3431755F-8576-4A81-F2A0-063B58E5E759}"/>
                  </a:ext>
                </a:extLst>
              </p:cNvPr>
              <p:cNvSpPr/>
              <p:nvPr/>
            </p:nvSpPr>
            <p:spPr>
              <a:xfrm>
                <a:off x="5517016" y="4796267"/>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2" name="Graphic 6">
                <a:extLst>
                  <a:ext uri="{FF2B5EF4-FFF2-40B4-BE49-F238E27FC236}">
                    <a16:creationId xmlns:a16="http://schemas.microsoft.com/office/drawing/2014/main" id="{C43A4D56-54CE-3716-AE25-8601AFF40F36}"/>
                  </a:ext>
                </a:extLst>
              </p:cNvPr>
              <p:cNvSpPr/>
              <p:nvPr/>
            </p:nvSpPr>
            <p:spPr>
              <a:xfrm>
                <a:off x="8423106" y="5388940"/>
                <a:ext cx="263937" cy="299381"/>
              </a:xfrm>
              <a:custGeom>
                <a:avLst/>
                <a:gdLst>
                  <a:gd name="connsiteX0" fmla="*/ 131162 w 263937"/>
                  <a:gd name="connsiteY0" fmla="*/ 298915 h 299381"/>
                  <a:gd name="connsiteX1" fmla="*/ 116722 w 263937"/>
                  <a:gd name="connsiteY1" fmla="*/ 294510 h 299381"/>
                  <a:gd name="connsiteX2" fmla="*/ 10791 w 263937"/>
                  <a:gd name="connsiteY2" fmla="*/ 223815 h 299381"/>
                  <a:gd name="connsiteX3" fmla="*/ -807 w 263937"/>
                  <a:gd name="connsiteY3" fmla="*/ 202183 h 299381"/>
                  <a:gd name="connsiteX4" fmla="*/ -807 w 263937"/>
                  <a:gd name="connsiteY4" fmla="*/ 96251 h 299381"/>
                  <a:gd name="connsiteX5" fmla="*/ 10791 w 263937"/>
                  <a:gd name="connsiteY5" fmla="*/ 74619 h 299381"/>
                  <a:gd name="connsiteX6" fmla="*/ 116722 w 263937"/>
                  <a:gd name="connsiteY6" fmla="*/ 3923 h 299381"/>
                  <a:gd name="connsiteX7" fmla="*/ 145602 w 263937"/>
                  <a:gd name="connsiteY7" fmla="*/ 3923 h 299381"/>
                  <a:gd name="connsiteX8" fmla="*/ 251533 w 263937"/>
                  <a:gd name="connsiteY8" fmla="*/ 74619 h 299381"/>
                  <a:gd name="connsiteX9" fmla="*/ 263130 w 263937"/>
                  <a:gd name="connsiteY9" fmla="*/ 96251 h 299381"/>
                  <a:gd name="connsiteX10" fmla="*/ 263130 w 263937"/>
                  <a:gd name="connsiteY10" fmla="*/ 110357 h 299381"/>
                  <a:gd name="connsiteX11" fmla="*/ 254767 w 263937"/>
                  <a:gd name="connsiteY11" fmla="*/ 118720 h 299381"/>
                  <a:gd name="connsiteX12" fmla="*/ 246404 w 263937"/>
                  <a:gd name="connsiteY12" fmla="*/ 110357 h 299381"/>
                  <a:gd name="connsiteX13" fmla="*/ 246404 w 263937"/>
                  <a:gd name="connsiteY13" fmla="*/ 96251 h 299381"/>
                  <a:gd name="connsiteX14" fmla="*/ 242278 w 263937"/>
                  <a:gd name="connsiteY14" fmla="*/ 88502 h 299381"/>
                  <a:gd name="connsiteX15" fmla="*/ 136347 w 263937"/>
                  <a:gd name="connsiteY15" fmla="*/ 17806 h 299381"/>
                  <a:gd name="connsiteX16" fmla="*/ 125977 w 263937"/>
                  <a:gd name="connsiteY16" fmla="*/ 17806 h 299381"/>
                  <a:gd name="connsiteX17" fmla="*/ 20045 w 263937"/>
                  <a:gd name="connsiteY17" fmla="*/ 88502 h 299381"/>
                  <a:gd name="connsiteX18" fmla="*/ 15919 w 263937"/>
                  <a:gd name="connsiteY18" fmla="*/ 96251 h 299381"/>
                  <a:gd name="connsiteX19" fmla="*/ 15919 w 263937"/>
                  <a:gd name="connsiteY19" fmla="*/ 202183 h 299381"/>
                  <a:gd name="connsiteX20" fmla="*/ 20045 w 263937"/>
                  <a:gd name="connsiteY20" fmla="*/ 209933 h 299381"/>
                  <a:gd name="connsiteX21" fmla="*/ 125977 w 263937"/>
                  <a:gd name="connsiteY21" fmla="*/ 280628 h 299381"/>
                  <a:gd name="connsiteX22" fmla="*/ 136291 w 263937"/>
                  <a:gd name="connsiteY22" fmla="*/ 280628 h 299381"/>
                  <a:gd name="connsiteX23" fmla="*/ 188421 w 263937"/>
                  <a:gd name="connsiteY23" fmla="*/ 245893 h 299381"/>
                  <a:gd name="connsiteX24" fmla="*/ 199961 w 263937"/>
                  <a:gd name="connsiteY24" fmla="*/ 248569 h 299381"/>
                  <a:gd name="connsiteX25" fmla="*/ 197731 w 263937"/>
                  <a:gd name="connsiteY25" fmla="*/ 259776 h 299381"/>
                  <a:gd name="connsiteX26" fmla="*/ 145602 w 263937"/>
                  <a:gd name="connsiteY26" fmla="*/ 294510 h 299381"/>
                  <a:gd name="connsiteX27" fmla="*/ 131162 w 263937"/>
                  <a:gd name="connsiteY27" fmla="*/ 298915 h 299381"/>
                  <a:gd name="connsiteX28" fmla="*/ 131162 w 263937"/>
                  <a:gd name="connsiteY28" fmla="*/ 228220 h 299381"/>
                  <a:gd name="connsiteX29" fmla="*/ 52103 w 263937"/>
                  <a:gd name="connsiteY29" fmla="*/ 149161 h 299381"/>
                  <a:gd name="connsiteX30" fmla="*/ 131162 w 263937"/>
                  <a:gd name="connsiteY30" fmla="*/ 70103 h 299381"/>
                  <a:gd name="connsiteX31" fmla="*/ 193550 w 263937"/>
                  <a:gd name="connsiteY31" fmla="*/ 100600 h 299381"/>
                  <a:gd name="connsiteX32" fmla="*/ 192491 w 263937"/>
                  <a:gd name="connsiteY32" fmla="*/ 112364 h 299381"/>
                  <a:gd name="connsiteX33" fmla="*/ 180671 w 263937"/>
                  <a:gd name="connsiteY33" fmla="*/ 111305 h 299381"/>
                  <a:gd name="connsiteX34" fmla="*/ 180392 w 263937"/>
                  <a:gd name="connsiteY34" fmla="*/ 110915 h 299381"/>
                  <a:gd name="connsiteX35" fmla="*/ 92971 w 263937"/>
                  <a:gd name="connsiteY35" fmla="*/ 99541 h 299381"/>
                  <a:gd name="connsiteX36" fmla="*/ 81597 w 263937"/>
                  <a:gd name="connsiteY36" fmla="*/ 186962 h 299381"/>
                  <a:gd name="connsiteX37" fmla="*/ 131162 w 263937"/>
                  <a:gd name="connsiteY37" fmla="*/ 211271 h 299381"/>
                  <a:gd name="connsiteX38" fmla="*/ 139525 w 263937"/>
                  <a:gd name="connsiteY38" fmla="*/ 219634 h 299381"/>
                  <a:gd name="connsiteX39" fmla="*/ 131162 w 263937"/>
                  <a:gd name="connsiteY39" fmla="*/ 227997 h 29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3937" h="299381">
                    <a:moveTo>
                      <a:pt x="131162" y="298915"/>
                    </a:moveTo>
                    <a:cubicBezTo>
                      <a:pt x="126032" y="298915"/>
                      <a:pt x="121014" y="297409"/>
                      <a:pt x="116722" y="294510"/>
                    </a:cubicBezTo>
                    <a:lnTo>
                      <a:pt x="10791" y="223815"/>
                    </a:lnTo>
                    <a:cubicBezTo>
                      <a:pt x="3542" y="219021"/>
                      <a:pt x="-807" y="210880"/>
                      <a:pt x="-807" y="202183"/>
                    </a:cubicBezTo>
                    <a:lnTo>
                      <a:pt x="-807" y="96251"/>
                    </a:lnTo>
                    <a:cubicBezTo>
                      <a:pt x="-807" y="87554"/>
                      <a:pt x="3542" y="79414"/>
                      <a:pt x="10791" y="74619"/>
                    </a:cubicBezTo>
                    <a:lnTo>
                      <a:pt x="116722" y="3923"/>
                    </a:lnTo>
                    <a:cubicBezTo>
                      <a:pt x="125475" y="-1930"/>
                      <a:pt x="136849" y="-1930"/>
                      <a:pt x="145602" y="3923"/>
                    </a:cubicBezTo>
                    <a:lnTo>
                      <a:pt x="251533" y="74619"/>
                    </a:lnTo>
                    <a:cubicBezTo>
                      <a:pt x="258782" y="79414"/>
                      <a:pt x="263130" y="87554"/>
                      <a:pt x="263130" y="96251"/>
                    </a:cubicBezTo>
                    <a:lnTo>
                      <a:pt x="263130" y="110357"/>
                    </a:lnTo>
                    <a:cubicBezTo>
                      <a:pt x="263130" y="114984"/>
                      <a:pt x="259395" y="118720"/>
                      <a:pt x="254767" y="118720"/>
                    </a:cubicBezTo>
                    <a:cubicBezTo>
                      <a:pt x="250139" y="118720"/>
                      <a:pt x="246404" y="114984"/>
                      <a:pt x="246404" y="110357"/>
                    </a:cubicBezTo>
                    <a:lnTo>
                      <a:pt x="246404" y="96251"/>
                    </a:lnTo>
                    <a:cubicBezTo>
                      <a:pt x="246404" y="93129"/>
                      <a:pt x="244843" y="90230"/>
                      <a:pt x="242278" y="88502"/>
                    </a:cubicBezTo>
                    <a:lnTo>
                      <a:pt x="136347" y="17806"/>
                    </a:lnTo>
                    <a:cubicBezTo>
                      <a:pt x="133169" y="15743"/>
                      <a:pt x="129155" y="15743"/>
                      <a:pt x="125977" y="17806"/>
                    </a:cubicBezTo>
                    <a:lnTo>
                      <a:pt x="20045" y="88502"/>
                    </a:lnTo>
                    <a:cubicBezTo>
                      <a:pt x="17481" y="90230"/>
                      <a:pt x="15919" y="93129"/>
                      <a:pt x="15919" y="96251"/>
                    </a:cubicBezTo>
                    <a:lnTo>
                      <a:pt x="15919" y="202183"/>
                    </a:lnTo>
                    <a:cubicBezTo>
                      <a:pt x="15919" y="205305"/>
                      <a:pt x="17481" y="208204"/>
                      <a:pt x="20045" y="209933"/>
                    </a:cubicBezTo>
                    <a:lnTo>
                      <a:pt x="125977" y="280628"/>
                    </a:lnTo>
                    <a:cubicBezTo>
                      <a:pt x="129099" y="282635"/>
                      <a:pt x="133169" y="282635"/>
                      <a:pt x="136291" y="280628"/>
                    </a:cubicBezTo>
                    <a:lnTo>
                      <a:pt x="188421" y="245893"/>
                    </a:lnTo>
                    <a:cubicBezTo>
                      <a:pt x="192323" y="243441"/>
                      <a:pt x="197509" y="244667"/>
                      <a:pt x="199961" y="248569"/>
                    </a:cubicBezTo>
                    <a:cubicBezTo>
                      <a:pt x="202248" y="252305"/>
                      <a:pt x="201299" y="257211"/>
                      <a:pt x="197731" y="259776"/>
                    </a:cubicBezTo>
                    <a:lnTo>
                      <a:pt x="145602" y="294510"/>
                    </a:lnTo>
                    <a:cubicBezTo>
                      <a:pt x="141309" y="297409"/>
                      <a:pt x="136291" y="298915"/>
                      <a:pt x="131162" y="298915"/>
                    </a:cubicBezTo>
                    <a:close/>
                    <a:moveTo>
                      <a:pt x="131162" y="228220"/>
                    </a:moveTo>
                    <a:cubicBezTo>
                      <a:pt x="87507" y="228220"/>
                      <a:pt x="52103" y="192816"/>
                      <a:pt x="52103" y="149161"/>
                    </a:cubicBezTo>
                    <a:cubicBezTo>
                      <a:pt x="52103" y="105507"/>
                      <a:pt x="87507" y="70103"/>
                      <a:pt x="131162" y="70103"/>
                    </a:cubicBezTo>
                    <a:cubicBezTo>
                      <a:pt x="155526" y="70103"/>
                      <a:pt x="178552" y="81365"/>
                      <a:pt x="193550" y="100600"/>
                    </a:cubicBezTo>
                    <a:cubicBezTo>
                      <a:pt x="196505" y="104169"/>
                      <a:pt x="196003" y="109409"/>
                      <a:pt x="192491" y="112364"/>
                    </a:cubicBezTo>
                    <a:cubicBezTo>
                      <a:pt x="188922" y="115319"/>
                      <a:pt x="183626" y="114873"/>
                      <a:pt x="180671" y="111305"/>
                    </a:cubicBezTo>
                    <a:cubicBezTo>
                      <a:pt x="180615" y="111193"/>
                      <a:pt x="180504" y="111026"/>
                      <a:pt x="180392" y="110915"/>
                    </a:cubicBezTo>
                    <a:cubicBezTo>
                      <a:pt x="159373" y="83651"/>
                      <a:pt x="120234" y="78522"/>
                      <a:pt x="92971" y="99541"/>
                    </a:cubicBezTo>
                    <a:cubicBezTo>
                      <a:pt x="65707" y="120560"/>
                      <a:pt x="60634" y="159699"/>
                      <a:pt x="81597" y="186962"/>
                    </a:cubicBezTo>
                    <a:cubicBezTo>
                      <a:pt x="93417" y="202350"/>
                      <a:pt x="111760" y="211327"/>
                      <a:pt x="131162" y="211271"/>
                    </a:cubicBezTo>
                    <a:cubicBezTo>
                      <a:pt x="135789" y="211271"/>
                      <a:pt x="139525" y="215006"/>
                      <a:pt x="139525" y="219634"/>
                    </a:cubicBezTo>
                    <a:cubicBezTo>
                      <a:pt x="139525" y="224261"/>
                      <a:pt x="135789" y="227997"/>
                      <a:pt x="131162" y="227997"/>
                    </a:cubicBezTo>
                    <a:close/>
                  </a:path>
                </a:pathLst>
              </a:custGeom>
              <a:solidFill>
                <a:srgbClr val="30373B"/>
              </a:solidFill>
              <a:ln w="5573" cap="flat">
                <a:noFill/>
                <a:prstDash val="solid"/>
                <a:miter/>
              </a:ln>
            </p:spPr>
            <p:txBody>
              <a:bodyPr rtlCol="0" anchor="ctr"/>
              <a:lstStyle/>
              <a:p>
                <a:endParaRPr lang="en-GB"/>
              </a:p>
            </p:txBody>
          </p:sp>
          <p:sp>
            <p:nvSpPr>
              <p:cNvPr id="193" name="Graphic 6">
                <a:extLst>
                  <a:ext uri="{FF2B5EF4-FFF2-40B4-BE49-F238E27FC236}">
                    <a16:creationId xmlns:a16="http://schemas.microsoft.com/office/drawing/2014/main" id="{2733E233-A2C1-48A4-E495-C03DDFC73288}"/>
                  </a:ext>
                </a:extLst>
              </p:cNvPr>
              <p:cNvSpPr/>
              <p:nvPr/>
            </p:nvSpPr>
            <p:spPr>
              <a:xfrm>
                <a:off x="6751284" y="5426504"/>
                <a:ext cx="263881" cy="299395"/>
              </a:xfrm>
              <a:custGeom>
                <a:avLst/>
                <a:gdLst>
                  <a:gd name="connsiteX0" fmla="*/ 131162 w 263881"/>
                  <a:gd name="connsiteY0" fmla="*/ 298929 h 299395"/>
                  <a:gd name="connsiteX1" fmla="*/ 116722 w 263881"/>
                  <a:gd name="connsiteY1" fmla="*/ 294580 h 299395"/>
                  <a:gd name="connsiteX2" fmla="*/ 10791 w 263881"/>
                  <a:gd name="connsiteY2" fmla="*/ 223885 h 299395"/>
                  <a:gd name="connsiteX3" fmla="*/ -807 w 263881"/>
                  <a:gd name="connsiteY3" fmla="*/ 202197 h 299395"/>
                  <a:gd name="connsiteX4" fmla="*/ -807 w 263881"/>
                  <a:gd name="connsiteY4" fmla="*/ 96265 h 299395"/>
                  <a:gd name="connsiteX5" fmla="*/ 10791 w 263881"/>
                  <a:gd name="connsiteY5" fmla="*/ 74577 h 299395"/>
                  <a:gd name="connsiteX6" fmla="*/ 116722 w 263881"/>
                  <a:gd name="connsiteY6" fmla="*/ 3882 h 299395"/>
                  <a:gd name="connsiteX7" fmla="*/ 145602 w 263881"/>
                  <a:gd name="connsiteY7" fmla="*/ 3882 h 299395"/>
                  <a:gd name="connsiteX8" fmla="*/ 251533 w 263881"/>
                  <a:gd name="connsiteY8" fmla="*/ 74577 h 299395"/>
                  <a:gd name="connsiteX9" fmla="*/ 263075 w 263881"/>
                  <a:gd name="connsiteY9" fmla="*/ 96265 h 299395"/>
                  <a:gd name="connsiteX10" fmla="*/ 263075 w 263881"/>
                  <a:gd name="connsiteY10" fmla="*/ 202197 h 299395"/>
                  <a:gd name="connsiteX11" fmla="*/ 251533 w 263881"/>
                  <a:gd name="connsiteY11" fmla="*/ 223885 h 299395"/>
                  <a:gd name="connsiteX12" fmla="*/ 145602 w 263881"/>
                  <a:gd name="connsiteY12" fmla="*/ 294580 h 299395"/>
                  <a:gd name="connsiteX13" fmla="*/ 131162 w 263881"/>
                  <a:gd name="connsiteY13" fmla="*/ 298929 h 299395"/>
                  <a:gd name="connsiteX14" fmla="*/ 131162 w 263881"/>
                  <a:gd name="connsiteY14" fmla="*/ 16148 h 299395"/>
                  <a:gd name="connsiteX15" fmla="*/ 125977 w 263881"/>
                  <a:gd name="connsiteY15" fmla="*/ 17709 h 299395"/>
                  <a:gd name="connsiteX16" fmla="*/ 20045 w 263881"/>
                  <a:gd name="connsiteY16" fmla="*/ 88404 h 299395"/>
                  <a:gd name="connsiteX17" fmla="*/ 15864 w 263881"/>
                  <a:gd name="connsiteY17" fmla="*/ 96154 h 299395"/>
                  <a:gd name="connsiteX18" fmla="*/ 15864 w 263881"/>
                  <a:gd name="connsiteY18" fmla="*/ 202085 h 299395"/>
                  <a:gd name="connsiteX19" fmla="*/ 20045 w 263881"/>
                  <a:gd name="connsiteY19" fmla="*/ 209835 h 299395"/>
                  <a:gd name="connsiteX20" fmla="*/ 125977 w 263881"/>
                  <a:gd name="connsiteY20" fmla="*/ 280530 h 299395"/>
                  <a:gd name="connsiteX21" fmla="*/ 136347 w 263881"/>
                  <a:gd name="connsiteY21" fmla="*/ 280530 h 299395"/>
                  <a:gd name="connsiteX22" fmla="*/ 242278 w 263881"/>
                  <a:gd name="connsiteY22" fmla="*/ 209835 h 299395"/>
                  <a:gd name="connsiteX23" fmla="*/ 246404 w 263881"/>
                  <a:gd name="connsiteY23" fmla="*/ 202085 h 299395"/>
                  <a:gd name="connsiteX24" fmla="*/ 246404 w 263881"/>
                  <a:gd name="connsiteY24" fmla="*/ 96154 h 299395"/>
                  <a:gd name="connsiteX25" fmla="*/ 242278 w 263881"/>
                  <a:gd name="connsiteY25" fmla="*/ 88404 h 299395"/>
                  <a:gd name="connsiteX26" fmla="*/ 136347 w 263881"/>
                  <a:gd name="connsiteY26" fmla="*/ 17709 h 299395"/>
                  <a:gd name="connsiteX27" fmla="*/ 131162 w 263881"/>
                  <a:gd name="connsiteY27" fmla="*/ 16148 h 299395"/>
                  <a:gd name="connsiteX28" fmla="*/ 131162 w 263881"/>
                  <a:gd name="connsiteY28" fmla="*/ 228011 h 299395"/>
                  <a:gd name="connsiteX29" fmla="*/ 52103 w 263881"/>
                  <a:gd name="connsiteY29" fmla="*/ 148952 h 299395"/>
                  <a:gd name="connsiteX30" fmla="*/ 131162 w 263881"/>
                  <a:gd name="connsiteY30" fmla="*/ 69894 h 299395"/>
                  <a:gd name="connsiteX31" fmla="*/ 210220 w 263881"/>
                  <a:gd name="connsiteY31" fmla="*/ 148952 h 299395"/>
                  <a:gd name="connsiteX32" fmla="*/ 201857 w 263881"/>
                  <a:gd name="connsiteY32" fmla="*/ 157315 h 299395"/>
                  <a:gd name="connsiteX33" fmla="*/ 193494 w 263881"/>
                  <a:gd name="connsiteY33" fmla="*/ 148952 h 299395"/>
                  <a:gd name="connsiteX34" fmla="*/ 131162 w 263881"/>
                  <a:gd name="connsiteY34" fmla="*/ 86620 h 299395"/>
                  <a:gd name="connsiteX35" fmla="*/ 68829 w 263881"/>
                  <a:gd name="connsiteY35" fmla="*/ 148952 h 299395"/>
                  <a:gd name="connsiteX36" fmla="*/ 131162 w 263881"/>
                  <a:gd name="connsiteY36" fmla="*/ 211285 h 299395"/>
                  <a:gd name="connsiteX37" fmla="*/ 139525 w 263881"/>
                  <a:gd name="connsiteY37" fmla="*/ 219648 h 299395"/>
                  <a:gd name="connsiteX38" fmla="*/ 131162 w 263881"/>
                  <a:gd name="connsiteY38" fmla="*/ 228011 h 29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3881" h="299395">
                    <a:moveTo>
                      <a:pt x="131162" y="298929"/>
                    </a:moveTo>
                    <a:cubicBezTo>
                      <a:pt x="126032" y="298929"/>
                      <a:pt x="121014" y="297423"/>
                      <a:pt x="116722" y="294580"/>
                    </a:cubicBezTo>
                    <a:lnTo>
                      <a:pt x="10791" y="223885"/>
                    </a:lnTo>
                    <a:cubicBezTo>
                      <a:pt x="3542" y="219034"/>
                      <a:pt x="-807" y="210895"/>
                      <a:pt x="-807" y="202197"/>
                    </a:cubicBezTo>
                    <a:lnTo>
                      <a:pt x="-807" y="96265"/>
                    </a:lnTo>
                    <a:cubicBezTo>
                      <a:pt x="-807" y="87567"/>
                      <a:pt x="3542" y="79428"/>
                      <a:pt x="10791" y="74577"/>
                    </a:cubicBezTo>
                    <a:lnTo>
                      <a:pt x="116722" y="3882"/>
                    </a:lnTo>
                    <a:cubicBezTo>
                      <a:pt x="125475" y="-1916"/>
                      <a:pt x="136849" y="-1916"/>
                      <a:pt x="145602" y="3882"/>
                    </a:cubicBezTo>
                    <a:lnTo>
                      <a:pt x="251533" y="74577"/>
                    </a:lnTo>
                    <a:cubicBezTo>
                      <a:pt x="258782" y="79428"/>
                      <a:pt x="263130" y="87567"/>
                      <a:pt x="263075" y="96265"/>
                    </a:cubicBezTo>
                    <a:lnTo>
                      <a:pt x="263075" y="202197"/>
                    </a:lnTo>
                    <a:cubicBezTo>
                      <a:pt x="263075" y="210895"/>
                      <a:pt x="258782" y="219034"/>
                      <a:pt x="251533" y="223885"/>
                    </a:cubicBezTo>
                    <a:lnTo>
                      <a:pt x="145602" y="294580"/>
                    </a:lnTo>
                    <a:cubicBezTo>
                      <a:pt x="141309" y="297423"/>
                      <a:pt x="136291" y="298929"/>
                      <a:pt x="131162" y="298929"/>
                    </a:cubicBezTo>
                    <a:close/>
                    <a:moveTo>
                      <a:pt x="131162" y="16148"/>
                    </a:moveTo>
                    <a:cubicBezTo>
                      <a:pt x="129322" y="16148"/>
                      <a:pt x="127538" y="16705"/>
                      <a:pt x="125977" y="17709"/>
                    </a:cubicBezTo>
                    <a:lnTo>
                      <a:pt x="20045" y="88404"/>
                    </a:lnTo>
                    <a:cubicBezTo>
                      <a:pt x="17425" y="90132"/>
                      <a:pt x="15864" y="93032"/>
                      <a:pt x="15864" y="96154"/>
                    </a:cubicBezTo>
                    <a:lnTo>
                      <a:pt x="15864" y="202085"/>
                    </a:lnTo>
                    <a:cubicBezTo>
                      <a:pt x="15864" y="205208"/>
                      <a:pt x="17425" y="208107"/>
                      <a:pt x="20045" y="209835"/>
                    </a:cubicBezTo>
                    <a:lnTo>
                      <a:pt x="125977" y="280530"/>
                    </a:lnTo>
                    <a:cubicBezTo>
                      <a:pt x="129155" y="282593"/>
                      <a:pt x="133169" y="282593"/>
                      <a:pt x="136347" y="280530"/>
                    </a:cubicBezTo>
                    <a:lnTo>
                      <a:pt x="242278" y="209835"/>
                    </a:lnTo>
                    <a:cubicBezTo>
                      <a:pt x="244843" y="208107"/>
                      <a:pt x="246404" y="205208"/>
                      <a:pt x="246404" y="202085"/>
                    </a:cubicBezTo>
                    <a:lnTo>
                      <a:pt x="246404" y="96154"/>
                    </a:lnTo>
                    <a:cubicBezTo>
                      <a:pt x="246404" y="93032"/>
                      <a:pt x="244899" y="90132"/>
                      <a:pt x="242278" y="88404"/>
                    </a:cubicBezTo>
                    <a:lnTo>
                      <a:pt x="136347" y="17709"/>
                    </a:lnTo>
                    <a:cubicBezTo>
                      <a:pt x="134842" y="16649"/>
                      <a:pt x="133002" y="16148"/>
                      <a:pt x="131162" y="16148"/>
                    </a:cubicBezTo>
                    <a:close/>
                    <a:moveTo>
                      <a:pt x="131162" y="228011"/>
                    </a:moveTo>
                    <a:cubicBezTo>
                      <a:pt x="87507" y="228011"/>
                      <a:pt x="52103" y="192607"/>
                      <a:pt x="52103" y="148952"/>
                    </a:cubicBezTo>
                    <a:cubicBezTo>
                      <a:pt x="52103" y="105297"/>
                      <a:pt x="87507" y="69894"/>
                      <a:pt x="131162" y="69894"/>
                    </a:cubicBezTo>
                    <a:cubicBezTo>
                      <a:pt x="174817" y="69894"/>
                      <a:pt x="210220" y="105297"/>
                      <a:pt x="210220" y="148952"/>
                    </a:cubicBezTo>
                    <a:cubicBezTo>
                      <a:pt x="210220" y="153580"/>
                      <a:pt x="206485" y="157315"/>
                      <a:pt x="201857" y="157315"/>
                    </a:cubicBezTo>
                    <a:cubicBezTo>
                      <a:pt x="197230" y="157315"/>
                      <a:pt x="193494" y="153580"/>
                      <a:pt x="193494" y="148952"/>
                    </a:cubicBezTo>
                    <a:cubicBezTo>
                      <a:pt x="193494" y="114552"/>
                      <a:pt x="165561" y="86620"/>
                      <a:pt x="131162" y="86620"/>
                    </a:cubicBezTo>
                    <a:cubicBezTo>
                      <a:pt x="96762" y="86620"/>
                      <a:pt x="68829" y="114552"/>
                      <a:pt x="68829" y="148952"/>
                    </a:cubicBezTo>
                    <a:cubicBezTo>
                      <a:pt x="68829" y="183352"/>
                      <a:pt x="96762" y="211285"/>
                      <a:pt x="131162" y="211285"/>
                    </a:cubicBezTo>
                    <a:cubicBezTo>
                      <a:pt x="135789" y="211285"/>
                      <a:pt x="139525" y="215020"/>
                      <a:pt x="139525" y="219648"/>
                    </a:cubicBezTo>
                    <a:cubicBezTo>
                      <a:pt x="139525" y="224275"/>
                      <a:pt x="135789" y="228011"/>
                      <a:pt x="131162" y="228011"/>
                    </a:cubicBezTo>
                    <a:close/>
                  </a:path>
                </a:pathLst>
              </a:custGeom>
              <a:solidFill>
                <a:srgbClr val="30373B"/>
              </a:solidFill>
              <a:ln w="5573" cap="flat">
                <a:noFill/>
                <a:prstDash val="solid"/>
                <a:miter/>
              </a:ln>
            </p:spPr>
            <p:txBody>
              <a:bodyPr rtlCol="0" anchor="ctr"/>
              <a:lstStyle/>
              <a:p>
                <a:endParaRPr lang="en-GB"/>
              </a:p>
            </p:txBody>
          </p:sp>
          <p:sp>
            <p:nvSpPr>
              <p:cNvPr id="194" name="Graphic 6">
                <a:extLst>
                  <a:ext uri="{FF2B5EF4-FFF2-40B4-BE49-F238E27FC236}">
                    <a16:creationId xmlns:a16="http://schemas.microsoft.com/office/drawing/2014/main" id="{E3FA16A8-6D7B-B770-AE59-189F3A97C723}"/>
                  </a:ext>
                </a:extLst>
              </p:cNvPr>
              <p:cNvSpPr/>
              <p:nvPr/>
            </p:nvSpPr>
            <p:spPr>
              <a:xfrm>
                <a:off x="8979495" y="5504580"/>
                <a:ext cx="519341" cy="311473"/>
              </a:xfrm>
              <a:custGeom>
                <a:avLst/>
                <a:gdLst>
                  <a:gd name="connsiteX0" fmla="*/ 439452 w 519341"/>
                  <a:gd name="connsiteY0" fmla="*/ 310895 h 311473"/>
                  <a:gd name="connsiteX1" fmla="*/ 429026 w 519341"/>
                  <a:gd name="connsiteY1" fmla="*/ 309891 h 311473"/>
                  <a:gd name="connsiteX2" fmla="*/ 172059 w 519341"/>
                  <a:gd name="connsiteY2" fmla="*/ 260773 h 311473"/>
                  <a:gd name="connsiteX3" fmla="*/ 137102 w 519341"/>
                  <a:gd name="connsiteY3" fmla="*/ 237802 h 311473"/>
                  <a:gd name="connsiteX4" fmla="*/ 115804 w 519341"/>
                  <a:gd name="connsiteY4" fmla="*/ 206469 h 311473"/>
                  <a:gd name="connsiteX5" fmla="*/ 84471 w 519341"/>
                  <a:gd name="connsiteY5" fmla="*/ 227766 h 311473"/>
                  <a:gd name="connsiteX6" fmla="*/ 23755 w 519341"/>
                  <a:gd name="connsiteY6" fmla="*/ 228213 h 311473"/>
                  <a:gd name="connsiteX7" fmla="*/ 23755 w 519341"/>
                  <a:gd name="connsiteY7" fmla="*/ 228213 h 311473"/>
                  <a:gd name="connsiteX8" fmla="*/ 116 w 519341"/>
                  <a:gd name="connsiteY8" fmla="*/ 172459 h 311473"/>
                  <a:gd name="connsiteX9" fmla="*/ 24703 w 519341"/>
                  <a:gd name="connsiteY9" fmla="*/ 43947 h 311473"/>
                  <a:gd name="connsiteX10" fmla="*/ 47673 w 519341"/>
                  <a:gd name="connsiteY10" fmla="*/ 8990 h 311473"/>
                  <a:gd name="connsiteX11" fmla="*/ 67298 w 519341"/>
                  <a:gd name="connsiteY11" fmla="*/ 683 h 311473"/>
                  <a:gd name="connsiteX12" fmla="*/ 123498 w 519341"/>
                  <a:gd name="connsiteY12" fmla="*/ 23486 h 311473"/>
                  <a:gd name="connsiteX13" fmla="*/ 144796 w 519341"/>
                  <a:gd name="connsiteY13" fmla="*/ 54875 h 311473"/>
                  <a:gd name="connsiteX14" fmla="*/ 176185 w 519341"/>
                  <a:gd name="connsiteY14" fmla="*/ 33577 h 311473"/>
                  <a:gd name="connsiteX15" fmla="*/ 217108 w 519341"/>
                  <a:gd name="connsiteY15" fmla="*/ 25103 h 311473"/>
                  <a:gd name="connsiteX16" fmla="*/ 474131 w 519341"/>
                  <a:gd name="connsiteY16" fmla="*/ 74278 h 311473"/>
                  <a:gd name="connsiteX17" fmla="*/ 517563 w 519341"/>
                  <a:gd name="connsiteY17" fmla="*/ 138171 h 311473"/>
                  <a:gd name="connsiteX18" fmla="*/ 492975 w 519341"/>
                  <a:gd name="connsiteY18" fmla="*/ 266404 h 311473"/>
                  <a:gd name="connsiteX19" fmla="*/ 439452 w 519341"/>
                  <a:gd name="connsiteY19" fmla="*/ 311006 h 311473"/>
                  <a:gd name="connsiteX20" fmla="*/ 118313 w 519341"/>
                  <a:gd name="connsiteY20" fmla="*/ 186398 h 311473"/>
                  <a:gd name="connsiteX21" fmla="*/ 119874 w 519341"/>
                  <a:gd name="connsiteY21" fmla="*/ 186398 h 311473"/>
                  <a:gd name="connsiteX22" fmla="*/ 125449 w 519341"/>
                  <a:gd name="connsiteY22" fmla="*/ 189910 h 311473"/>
                  <a:gd name="connsiteX23" fmla="*/ 151430 w 519341"/>
                  <a:gd name="connsiteY23" fmla="*/ 228213 h 311473"/>
                  <a:gd name="connsiteX24" fmla="*/ 175683 w 519341"/>
                  <a:gd name="connsiteY24" fmla="*/ 244158 h 311473"/>
                  <a:gd name="connsiteX25" fmla="*/ 432706 w 519341"/>
                  <a:gd name="connsiteY25" fmla="*/ 293277 h 311473"/>
                  <a:gd name="connsiteX26" fmla="*/ 477253 w 519341"/>
                  <a:gd name="connsiteY26" fmla="*/ 263337 h 311473"/>
                  <a:gd name="connsiteX27" fmla="*/ 477309 w 519341"/>
                  <a:gd name="connsiteY27" fmla="*/ 263170 h 311473"/>
                  <a:gd name="connsiteX28" fmla="*/ 501896 w 519341"/>
                  <a:gd name="connsiteY28" fmla="*/ 134937 h 311473"/>
                  <a:gd name="connsiteX29" fmla="*/ 472068 w 519341"/>
                  <a:gd name="connsiteY29" fmla="*/ 90390 h 311473"/>
                  <a:gd name="connsiteX30" fmla="*/ 471789 w 519341"/>
                  <a:gd name="connsiteY30" fmla="*/ 90334 h 311473"/>
                  <a:gd name="connsiteX31" fmla="*/ 214766 w 519341"/>
                  <a:gd name="connsiteY31" fmla="*/ 41216 h 311473"/>
                  <a:gd name="connsiteX32" fmla="*/ 186332 w 519341"/>
                  <a:gd name="connsiteY32" fmla="*/ 46791 h 311473"/>
                  <a:gd name="connsiteX33" fmla="*/ 148085 w 519341"/>
                  <a:gd name="connsiteY33" fmla="*/ 72772 h 311473"/>
                  <a:gd name="connsiteX34" fmla="*/ 136433 w 519341"/>
                  <a:gd name="connsiteY34" fmla="*/ 70598 h 311473"/>
                  <a:gd name="connsiteX35" fmla="*/ 110451 w 519341"/>
                  <a:gd name="connsiteY35" fmla="*/ 32239 h 311473"/>
                  <a:gd name="connsiteX36" fmla="*/ 57765 w 519341"/>
                  <a:gd name="connsiteY36" fmla="*/ 22259 h 311473"/>
                  <a:gd name="connsiteX37" fmla="*/ 41875 w 519341"/>
                  <a:gd name="connsiteY37" fmla="*/ 46456 h 311473"/>
                  <a:gd name="connsiteX38" fmla="*/ 17343 w 519341"/>
                  <a:gd name="connsiteY38" fmla="*/ 174689 h 311473"/>
                  <a:gd name="connsiteX39" fmla="*/ 33735 w 519341"/>
                  <a:gd name="connsiteY39" fmla="*/ 213716 h 311473"/>
                  <a:gd name="connsiteX40" fmla="*/ 33735 w 519341"/>
                  <a:gd name="connsiteY40" fmla="*/ 213716 h 311473"/>
                  <a:gd name="connsiteX41" fmla="*/ 75829 w 519341"/>
                  <a:gd name="connsiteY41" fmla="*/ 213382 h 311473"/>
                  <a:gd name="connsiteX42" fmla="*/ 114131 w 519341"/>
                  <a:gd name="connsiteY42" fmla="*/ 187401 h 311473"/>
                  <a:gd name="connsiteX43" fmla="*/ 118313 w 519341"/>
                  <a:gd name="connsiteY43" fmla="*/ 186398 h 31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9341" h="311473">
                    <a:moveTo>
                      <a:pt x="439452" y="310895"/>
                    </a:moveTo>
                    <a:cubicBezTo>
                      <a:pt x="435940" y="310895"/>
                      <a:pt x="432483" y="310560"/>
                      <a:pt x="429026" y="309891"/>
                    </a:cubicBezTo>
                    <a:lnTo>
                      <a:pt x="172059" y="260773"/>
                    </a:lnTo>
                    <a:cubicBezTo>
                      <a:pt x="157786" y="258096"/>
                      <a:pt x="145186" y="249845"/>
                      <a:pt x="137102" y="237802"/>
                    </a:cubicBezTo>
                    <a:lnTo>
                      <a:pt x="115804" y="206469"/>
                    </a:lnTo>
                    <a:lnTo>
                      <a:pt x="84471" y="227766"/>
                    </a:lnTo>
                    <a:cubicBezTo>
                      <a:pt x="66183" y="240199"/>
                      <a:pt x="42209" y="240367"/>
                      <a:pt x="23755" y="228213"/>
                    </a:cubicBezTo>
                    <a:lnTo>
                      <a:pt x="23755" y="228213"/>
                    </a:lnTo>
                    <a:cubicBezTo>
                      <a:pt x="5412" y="216058"/>
                      <a:pt x="-3899" y="194092"/>
                      <a:pt x="116" y="172459"/>
                    </a:cubicBezTo>
                    <a:lnTo>
                      <a:pt x="24703" y="43947"/>
                    </a:lnTo>
                    <a:cubicBezTo>
                      <a:pt x="27379" y="29675"/>
                      <a:pt x="35631" y="17075"/>
                      <a:pt x="47673" y="8990"/>
                    </a:cubicBezTo>
                    <a:cubicBezTo>
                      <a:pt x="53639" y="4976"/>
                      <a:pt x="60273" y="2132"/>
                      <a:pt x="67298" y="683"/>
                    </a:cubicBezTo>
                    <a:cubicBezTo>
                      <a:pt x="88931" y="-3833"/>
                      <a:pt x="111120" y="5199"/>
                      <a:pt x="123498" y="23486"/>
                    </a:cubicBezTo>
                    <a:lnTo>
                      <a:pt x="144796" y="54875"/>
                    </a:lnTo>
                    <a:lnTo>
                      <a:pt x="176185" y="33577"/>
                    </a:lnTo>
                    <a:cubicBezTo>
                      <a:pt x="188172" y="25493"/>
                      <a:pt x="202891" y="22427"/>
                      <a:pt x="217108" y="25103"/>
                    </a:cubicBezTo>
                    <a:lnTo>
                      <a:pt x="474131" y="74278"/>
                    </a:lnTo>
                    <a:cubicBezTo>
                      <a:pt x="503792" y="79908"/>
                      <a:pt x="523194" y="108510"/>
                      <a:pt x="517563" y="138171"/>
                    </a:cubicBezTo>
                    <a:lnTo>
                      <a:pt x="492975" y="266404"/>
                    </a:lnTo>
                    <a:cubicBezTo>
                      <a:pt x="488125" y="292162"/>
                      <a:pt x="465657" y="310895"/>
                      <a:pt x="439452" y="311006"/>
                    </a:cubicBezTo>
                    <a:close/>
                    <a:moveTo>
                      <a:pt x="118313" y="186398"/>
                    </a:moveTo>
                    <a:cubicBezTo>
                      <a:pt x="118814" y="186342"/>
                      <a:pt x="119372" y="186342"/>
                      <a:pt x="119874" y="186398"/>
                    </a:cubicBezTo>
                    <a:cubicBezTo>
                      <a:pt x="122159" y="186788"/>
                      <a:pt x="124167" y="188014"/>
                      <a:pt x="125449" y="189910"/>
                    </a:cubicBezTo>
                    <a:lnTo>
                      <a:pt x="151430" y="228213"/>
                    </a:lnTo>
                    <a:cubicBezTo>
                      <a:pt x="157061" y="236520"/>
                      <a:pt x="165815" y="242262"/>
                      <a:pt x="175683" y="244158"/>
                    </a:cubicBezTo>
                    <a:lnTo>
                      <a:pt x="432706" y="293277"/>
                    </a:lnTo>
                    <a:cubicBezTo>
                      <a:pt x="453279" y="297291"/>
                      <a:pt x="473239" y="283910"/>
                      <a:pt x="477253" y="263337"/>
                    </a:cubicBezTo>
                    <a:cubicBezTo>
                      <a:pt x="477309" y="263281"/>
                      <a:pt x="477309" y="263225"/>
                      <a:pt x="477309" y="263170"/>
                    </a:cubicBezTo>
                    <a:lnTo>
                      <a:pt x="501896" y="134937"/>
                    </a:lnTo>
                    <a:cubicBezTo>
                      <a:pt x="505966" y="114420"/>
                      <a:pt x="492585" y="94460"/>
                      <a:pt x="472068" y="90390"/>
                    </a:cubicBezTo>
                    <a:cubicBezTo>
                      <a:pt x="471957" y="90390"/>
                      <a:pt x="471901" y="90334"/>
                      <a:pt x="471789" y="90334"/>
                    </a:cubicBezTo>
                    <a:lnTo>
                      <a:pt x="214766" y="41216"/>
                    </a:lnTo>
                    <a:cubicBezTo>
                      <a:pt x="204898" y="39264"/>
                      <a:pt x="194695" y="41271"/>
                      <a:pt x="186332" y="46791"/>
                    </a:cubicBezTo>
                    <a:lnTo>
                      <a:pt x="148085" y="72772"/>
                    </a:lnTo>
                    <a:cubicBezTo>
                      <a:pt x="144238" y="75392"/>
                      <a:pt x="139053" y="74389"/>
                      <a:pt x="136433" y="70598"/>
                    </a:cubicBezTo>
                    <a:lnTo>
                      <a:pt x="110451" y="32239"/>
                    </a:lnTo>
                    <a:cubicBezTo>
                      <a:pt x="98687" y="14956"/>
                      <a:pt x="75104" y="10440"/>
                      <a:pt x="57765" y="22259"/>
                    </a:cubicBezTo>
                    <a:cubicBezTo>
                      <a:pt x="49457" y="27890"/>
                      <a:pt x="43770" y="36588"/>
                      <a:pt x="41875" y="46456"/>
                    </a:cubicBezTo>
                    <a:lnTo>
                      <a:pt x="17343" y="174689"/>
                    </a:lnTo>
                    <a:cubicBezTo>
                      <a:pt x="14332" y="189799"/>
                      <a:pt x="20856" y="205242"/>
                      <a:pt x="33735" y="213716"/>
                    </a:cubicBezTo>
                    <a:lnTo>
                      <a:pt x="33735" y="213716"/>
                    </a:lnTo>
                    <a:cubicBezTo>
                      <a:pt x="46558" y="222191"/>
                      <a:pt x="63173" y="222024"/>
                      <a:pt x="75829" y="213382"/>
                    </a:cubicBezTo>
                    <a:lnTo>
                      <a:pt x="114131" y="187401"/>
                    </a:lnTo>
                    <a:cubicBezTo>
                      <a:pt x="115413" y="186732"/>
                      <a:pt x="116863" y="186342"/>
                      <a:pt x="118313" y="186398"/>
                    </a:cubicBezTo>
                    <a:close/>
                  </a:path>
                </a:pathLst>
              </a:custGeom>
              <a:solidFill>
                <a:srgbClr val="30373B"/>
              </a:solidFill>
              <a:ln w="5573" cap="flat">
                <a:noFill/>
                <a:prstDash val="solid"/>
                <a:miter/>
              </a:ln>
            </p:spPr>
            <p:txBody>
              <a:bodyPr rtlCol="0" anchor="ctr"/>
              <a:lstStyle/>
              <a:p>
                <a:endParaRPr lang="en-GB"/>
              </a:p>
            </p:txBody>
          </p:sp>
          <p:sp>
            <p:nvSpPr>
              <p:cNvPr id="195" name="Graphic 6">
                <a:extLst>
                  <a:ext uri="{FF2B5EF4-FFF2-40B4-BE49-F238E27FC236}">
                    <a16:creationId xmlns:a16="http://schemas.microsoft.com/office/drawing/2014/main" id="{7D4B7714-4ADE-39DE-6256-E415C1403881}"/>
                  </a:ext>
                </a:extLst>
              </p:cNvPr>
              <p:cNvSpPr/>
              <p:nvPr/>
            </p:nvSpPr>
            <p:spPr>
              <a:xfrm>
                <a:off x="8564794" y="5486970"/>
                <a:ext cx="449772" cy="162196"/>
              </a:xfrm>
              <a:custGeom>
                <a:avLst/>
                <a:gdLst>
                  <a:gd name="connsiteX0" fmla="*/ 430316 w 449772"/>
                  <a:gd name="connsiteY0" fmla="*/ 161523 h 162196"/>
                  <a:gd name="connsiteX1" fmla="*/ 428756 w 449772"/>
                  <a:gd name="connsiteY1" fmla="*/ 161523 h 162196"/>
                  <a:gd name="connsiteX2" fmla="*/ 154839 w 449772"/>
                  <a:gd name="connsiteY2" fmla="*/ 109171 h 162196"/>
                  <a:gd name="connsiteX3" fmla="*/ 126683 w 449772"/>
                  <a:gd name="connsiteY3" fmla="*/ 128294 h 162196"/>
                  <a:gd name="connsiteX4" fmla="*/ 119491 w 449772"/>
                  <a:gd name="connsiteY4" fmla="*/ 129354 h 162196"/>
                  <a:gd name="connsiteX5" fmla="*/ 4918 w 449772"/>
                  <a:gd name="connsiteY5" fmla="*/ 93950 h 162196"/>
                  <a:gd name="connsiteX6" fmla="*/ -657 w 449772"/>
                  <a:gd name="connsiteY6" fmla="*/ 84416 h 162196"/>
                  <a:gd name="connsiteX7" fmla="*/ 14284 w 449772"/>
                  <a:gd name="connsiteY7" fmla="*/ 6361 h 162196"/>
                  <a:gd name="connsiteX8" fmla="*/ 23150 w 449772"/>
                  <a:gd name="connsiteY8" fmla="*/ -441 h 162196"/>
                  <a:gd name="connsiteX9" fmla="*/ 142684 w 449772"/>
                  <a:gd name="connsiteY9" fmla="*/ 8926 h 162196"/>
                  <a:gd name="connsiteX10" fmla="*/ 148985 w 449772"/>
                  <a:gd name="connsiteY10" fmla="*/ 12606 h 162196"/>
                  <a:gd name="connsiteX11" fmla="*/ 168053 w 449772"/>
                  <a:gd name="connsiteY11" fmla="*/ 40482 h 162196"/>
                  <a:gd name="connsiteX12" fmla="*/ 442025 w 449772"/>
                  <a:gd name="connsiteY12" fmla="*/ 92835 h 162196"/>
                  <a:gd name="connsiteX13" fmla="*/ 448827 w 449772"/>
                  <a:gd name="connsiteY13" fmla="*/ 102759 h 162196"/>
                  <a:gd name="connsiteX14" fmla="*/ 438902 w 449772"/>
                  <a:gd name="connsiteY14" fmla="*/ 109561 h 162196"/>
                  <a:gd name="connsiteX15" fmla="*/ 161529 w 449772"/>
                  <a:gd name="connsiteY15" fmla="*/ 56539 h 162196"/>
                  <a:gd name="connsiteX16" fmla="*/ 155954 w 449772"/>
                  <a:gd name="connsiteY16" fmla="*/ 53027 h 162196"/>
                  <a:gd name="connsiteX17" fmla="*/ 137165 w 449772"/>
                  <a:gd name="connsiteY17" fmla="*/ 25150 h 162196"/>
                  <a:gd name="connsiteX18" fmla="*/ 29059 w 449772"/>
                  <a:gd name="connsiteY18" fmla="*/ 16675 h 162196"/>
                  <a:gd name="connsiteX19" fmla="*/ 16960 w 449772"/>
                  <a:gd name="connsiteY19" fmla="*/ 80012 h 162196"/>
                  <a:gd name="connsiteX20" fmla="*/ 120551 w 449772"/>
                  <a:gd name="connsiteY20" fmla="*/ 112014 h 162196"/>
                  <a:gd name="connsiteX21" fmla="*/ 148427 w 449772"/>
                  <a:gd name="connsiteY21" fmla="*/ 93225 h 162196"/>
                  <a:gd name="connsiteX22" fmla="*/ 154672 w 449772"/>
                  <a:gd name="connsiteY22" fmla="*/ 91943 h 162196"/>
                  <a:gd name="connsiteX23" fmla="*/ 431989 w 449772"/>
                  <a:gd name="connsiteY23" fmla="*/ 144964 h 162196"/>
                  <a:gd name="connsiteX24" fmla="*/ 439571 w 449772"/>
                  <a:gd name="connsiteY24" fmla="*/ 154108 h 162196"/>
                  <a:gd name="connsiteX25" fmla="*/ 430428 w 449772"/>
                  <a:gd name="connsiteY25" fmla="*/ 161690 h 16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9772" h="162196">
                    <a:moveTo>
                      <a:pt x="430316" y="161523"/>
                    </a:moveTo>
                    <a:lnTo>
                      <a:pt x="428756" y="161523"/>
                    </a:lnTo>
                    <a:lnTo>
                      <a:pt x="154839" y="109171"/>
                    </a:lnTo>
                    <a:lnTo>
                      <a:pt x="126683" y="128294"/>
                    </a:lnTo>
                    <a:cubicBezTo>
                      <a:pt x="124565" y="129688"/>
                      <a:pt x="121944" y="130078"/>
                      <a:pt x="119491" y="129354"/>
                    </a:cubicBezTo>
                    <a:lnTo>
                      <a:pt x="4918" y="93950"/>
                    </a:lnTo>
                    <a:cubicBezTo>
                      <a:pt x="904" y="92612"/>
                      <a:pt x="-1438" y="88542"/>
                      <a:pt x="-657" y="84416"/>
                    </a:cubicBezTo>
                    <a:lnTo>
                      <a:pt x="14284" y="6361"/>
                    </a:lnTo>
                    <a:cubicBezTo>
                      <a:pt x="15065" y="2124"/>
                      <a:pt x="18856" y="-775"/>
                      <a:pt x="23150" y="-441"/>
                    </a:cubicBezTo>
                    <a:lnTo>
                      <a:pt x="142684" y="8926"/>
                    </a:lnTo>
                    <a:cubicBezTo>
                      <a:pt x="145249" y="9149"/>
                      <a:pt x="147535" y="10487"/>
                      <a:pt x="148985" y="12606"/>
                    </a:cubicBezTo>
                    <a:lnTo>
                      <a:pt x="168053" y="40482"/>
                    </a:lnTo>
                    <a:lnTo>
                      <a:pt x="442025" y="92835"/>
                    </a:lnTo>
                    <a:cubicBezTo>
                      <a:pt x="446652" y="93671"/>
                      <a:pt x="449663" y="98132"/>
                      <a:pt x="448827" y="102759"/>
                    </a:cubicBezTo>
                    <a:cubicBezTo>
                      <a:pt x="447990" y="107386"/>
                      <a:pt x="443530" y="110397"/>
                      <a:pt x="438902" y="109561"/>
                    </a:cubicBezTo>
                    <a:lnTo>
                      <a:pt x="161529" y="56539"/>
                    </a:lnTo>
                    <a:cubicBezTo>
                      <a:pt x="159243" y="56205"/>
                      <a:pt x="157236" y="54923"/>
                      <a:pt x="155954" y="53027"/>
                    </a:cubicBezTo>
                    <a:lnTo>
                      <a:pt x="137165" y="25150"/>
                    </a:lnTo>
                    <a:lnTo>
                      <a:pt x="29059" y="16675"/>
                    </a:lnTo>
                    <a:lnTo>
                      <a:pt x="16960" y="80012"/>
                    </a:lnTo>
                    <a:lnTo>
                      <a:pt x="120551" y="112014"/>
                    </a:lnTo>
                    <a:lnTo>
                      <a:pt x="148427" y="93225"/>
                    </a:lnTo>
                    <a:cubicBezTo>
                      <a:pt x="150267" y="91998"/>
                      <a:pt x="152497" y="91497"/>
                      <a:pt x="154672" y="91943"/>
                    </a:cubicBezTo>
                    <a:lnTo>
                      <a:pt x="431989" y="144964"/>
                    </a:lnTo>
                    <a:cubicBezTo>
                      <a:pt x="436616" y="145411"/>
                      <a:pt x="440017" y="149480"/>
                      <a:pt x="439571" y="154108"/>
                    </a:cubicBezTo>
                    <a:cubicBezTo>
                      <a:pt x="439126" y="158736"/>
                      <a:pt x="435056" y="162137"/>
                      <a:pt x="430428" y="161690"/>
                    </a:cubicBezTo>
                    <a:close/>
                  </a:path>
                </a:pathLst>
              </a:custGeom>
              <a:solidFill>
                <a:srgbClr val="30373B"/>
              </a:solidFill>
              <a:ln w="5573" cap="flat">
                <a:noFill/>
                <a:prstDash val="solid"/>
                <a:miter/>
              </a:ln>
            </p:spPr>
            <p:txBody>
              <a:bodyPr rtlCol="0" anchor="ctr"/>
              <a:lstStyle/>
              <a:p>
                <a:endParaRPr lang="en-GB"/>
              </a:p>
            </p:txBody>
          </p:sp>
          <p:sp>
            <p:nvSpPr>
              <p:cNvPr id="196" name="Graphic 6">
                <a:extLst>
                  <a:ext uri="{FF2B5EF4-FFF2-40B4-BE49-F238E27FC236}">
                    <a16:creationId xmlns:a16="http://schemas.microsoft.com/office/drawing/2014/main" id="{589F3B71-D475-BDA5-E072-5BD74CA0118D}"/>
                  </a:ext>
                </a:extLst>
              </p:cNvPr>
              <p:cNvSpPr/>
              <p:nvPr/>
            </p:nvSpPr>
            <p:spPr>
              <a:xfrm>
                <a:off x="9181135" y="5677828"/>
                <a:ext cx="294913" cy="74148"/>
              </a:xfrm>
              <a:custGeom>
                <a:avLst/>
                <a:gdLst>
                  <a:gd name="connsiteX0" fmla="*/ 284645 w 294913"/>
                  <a:gd name="connsiteY0" fmla="*/ 73474 h 74148"/>
                  <a:gd name="connsiteX1" fmla="*/ 282916 w 294913"/>
                  <a:gd name="connsiteY1" fmla="*/ 73474 h 74148"/>
                  <a:gd name="connsiteX2" fmla="*/ 5878 w 294913"/>
                  <a:gd name="connsiteY2" fmla="*/ 16104 h 74148"/>
                  <a:gd name="connsiteX3" fmla="*/ -646 w 294913"/>
                  <a:gd name="connsiteY3" fmla="*/ 6180 h 74148"/>
                  <a:gd name="connsiteX4" fmla="*/ 9279 w 294913"/>
                  <a:gd name="connsiteY4" fmla="*/ -287 h 74148"/>
                  <a:gd name="connsiteX5" fmla="*/ 286540 w 294913"/>
                  <a:gd name="connsiteY5" fmla="*/ 56916 h 74148"/>
                  <a:gd name="connsiteX6" fmla="*/ 294067 w 294913"/>
                  <a:gd name="connsiteY6" fmla="*/ 66115 h 74148"/>
                  <a:gd name="connsiteX7" fmla="*/ 284868 w 294913"/>
                  <a:gd name="connsiteY7" fmla="*/ 73642 h 7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913" h="74148">
                    <a:moveTo>
                      <a:pt x="284645" y="73474"/>
                    </a:moveTo>
                    <a:cubicBezTo>
                      <a:pt x="284087" y="73530"/>
                      <a:pt x="283474" y="73530"/>
                      <a:pt x="282916" y="73474"/>
                    </a:cubicBezTo>
                    <a:lnTo>
                      <a:pt x="5878" y="16104"/>
                    </a:lnTo>
                    <a:cubicBezTo>
                      <a:pt x="1361" y="15157"/>
                      <a:pt x="-1537" y="10752"/>
                      <a:pt x="-646" y="6180"/>
                    </a:cubicBezTo>
                    <a:cubicBezTo>
                      <a:pt x="302" y="1664"/>
                      <a:pt x="4763" y="-1235"/>
                      <a:pt x="9279" y="-287"/>
                    </a:cubicBezTo>
                    <a:lnTo>
                      <a:pt x="286540" y="56916"/>
                    </a:lnTo>
                    <a:cubicBezTo>
                      <a:pt x="291168" y="57362"/>
                      <a:pt x="294513" y="61487"/>
                      <a:pt x="294067" y="66115"/>
                    </a:cubicBezTo>
                    <a:cubicBezTo>
                      <a:pt x="293621" y="70743"/>
                      <a:pt x="289495" y="74088"/>
                      <a:pt x="284868" y="73642"/>
                    </a:cubicBezTo>
                    <a:close/>
                  </a:path>
                </a:pathLst>
              </a:custGeom>
              <a:solidFill>
                <a:srgbClr val="30373B"/>
              </a:solidFill>
              <a:ln w="5573" cap="flat">
                <a:noFill/>
                <a:prstDash val="solid"/>
                <a:miter/>
              </a:ln>
            </p:spPr>
            <p:txBody>
              <a:bodyPr rtlCol="0" anchor="ctr"/>
              <a:lstStyle/>
              <a:p>
                <a:endParaRPr lang="en-GB"/>
              </a:p>
            </p:txBody>
          </p:sp>
          <p:sp>
            <p:nvSpPr>
              <p:cNvPr id="197" name="Graphic 6">
                <a:extLst>
                  <a:ext uri="{FF2B5EF4-FFF2-40B4-BE49-F238E27FC236}">
                    <a16:creationId xmlns:a16="http://schemas.microsoft.com/office/drawing/2014/main" id="{437D16E4-E18C-3954-6515-6DCF2CFC2EC9}"/>
                  </a:ext>
                </a:extLst>
              </p:cNvPr>
              <p:cNvSpPr/>
              <p:nvPr/>
            </p:nvSpPr>
            <p:spPr>
              <a:xfrm>
                <a:off x="5515845" y="6034271"/>
                <a:ext cx="502226" cy="241970"/>
              </a:xfrm>
              <a:custGeom>
                <a:avLst/>
                <a:gdLst>
                  <a:gd name="connsiteX0" fmla="*/ 446447 w 502226"/>
                  <a:gd name="connsiteY0" fmla="*/ 241448 h 241970"/>
                  <a:gd name="connsiteX1" fmla="*/ 446057 w 502226"/>
                  <a:gd name="connsiteY1" fmla="*/ 241448 h 241970"/>
                  <a:gd name="connsiteX2" fmla="*/ 184406 w 502226"/>
                  <a:gd name="connsiteY2" fmla="*/ 240221 h 241970"/>
                  <a:gd name="connsiteX3" fmla="*/ 145881 w 502226"/>
                  <a:gd name="connsiteY3" fmla="*/ 224053 h 241970"/>
                  <a:gd name="connsiteX4" fmla="*/ 119175 w 502226"/>
                  <a:gd name="connsiteY4" fmla="*/ 197124 h 241970"/>
                  <a:gd name="connsiteX5" fmla="*/ 92246 w 502226"/>
                  <a:gd name="connsiteY5" fmla="*/ 223774 h 241970"/>
                  <a:gd name="connsiteX6" fmla="*/ 14977 w 502226"/>
                  <a:gd name="connsiteY6" fmla="*/ 223328 h 241970"/>
                  <a:gd name="connsiteX7" fmla="*/ -806 w 502226"/>
                  <a:gd name="connsiteY7" fmla="*/ 184747 h 241970"/>
                  <a:gd name="connsiteX8" fmla="*/ -193 w 502226"/>
                  <a:gd name="connsiteY8" fmla="*/ 53894 h 241970"/>
                  <a:gd name="connsiteX9" fmla="*/ 54718 w 502226"/>
                  <a:gd name="connsiteY9" fmla="*/ -466 h 241970"/>
                  <a:gd name="connsiteX10" fmla="*/ 93250 w 502226"/>
                  <a:gd name="connsiteY10" fmla="*/ 15703 h 241970"/>
                  <a:gd name="connsiteX11" fmla="*/ 119955 w 502226"/>
                  <a:gd name="connsiteY11" fmla="*/ 42687 h 241970"/>
                  <a:gd name="connsiteX12" fmla="*/ 146884 w 502226"/>
                  <a:gd name="connsiteY12" fmla="*/ 15981 h 241970"/>
                  <a:gd name="connsiteX13" fmla="*/ 185354 w 502226"/>
                  <a:gd name="connsiteY13" fmla="*/ 147 h 241970"/>
                  <a:gd name="connsiteX14" fmla="*/ 185354 w 502226"/>
                  <a:gd name="connsiteY14" fmla="*/ 147 h 241970"/>
                  <a:gd name="connsiteX15" fmla="*/ 447060 w 502226"/>
                  <a:gd name="connsiteY15" fmla="*/ 1429 h 241970"/>
                  <a:gd name="connsiteX16" fmla="*/ 501420 w 502226"/>
                  <a:gd name="connsiteY16" fmla="*/ 56346 h 241970"/>
                  <a:gd name="connsiteX17" fmla="*/ 500751 w 502226"/>
                  <a:gd name="connsiteY17" fmla="*/ 187144 h 241970"/>
                  <a:gd name="connsiteX18" fmla="*/ 446224 w 502226"/>
                  <a:gd name="connsiteY18" fmla="*/ 241504 h 241970"/>
                  <a:gd name="connsiteX19" fmla="*/ 119231 w 502226"/>
                  <a:gd name="connsiteY19" fmla="*/ 177053 h 241970"/>
                  <a:gd name="connsiteX20" fmla="*/ 119231 w 502226"/>
                  <a:gd name="connsiteY20" fmla="*/ 177053 h 241970"/>
                  <a:gd name="connsiteX21" fmla="*/ 125140 w 502226"/>
                  <a:gd name="connsiteY21" fmla="*/ 179561 h 241970"/>
                  <a:gd name="connsiteX22" fmla="*/ 157701 w 502226"/>
                  <a:gd name="connsiteY22" fmla="*/ 212400 h 241970"/>
                  <a:gd name="connsiteX23" fmla="*/ 184462 w 502226"/>
                  <a:gd name="connsiteY23" fmla="*/ 223551 h 241970"/>
                  <a:gd name="connsiteX24" fmla="*/ 446113 w 502226"/>
                  <a:gd name="connsiteY24" fmla="*/ 224778 h 241970"/>
                  <a:gd name="connsiteX25" fmla="*/ 446391 w 502226"/>
                  <a:gd name="connsiteY25" fmla="*/ 224778 h 241970"/>
                  <a:gd name="connsiteX26" fmla="*/ 484192 w 502226"/>
                  <a:gd name="connsiteY26" fmla="*/ 187089 h 241970"/>
                  <a:gd name="connsiteX27" fmla="*/ 484861 w 502226"/>
                  <a:gd name="connsiteY27" fmla="*/ 56235 h 241970"/>
                  <a:gd name="connsiteX28" fmla="*/ 447116 w 502226"/>
                  <a:gd name="connsiteY28" fmla="*/ 18155 h 241970"/>
                  <a:gd name="connsiteX29" fmla="*/ 185410 w 502226"/>
                  <a:gd name="connsiteY29" fmla="*/ 16873 h 241970"/>
                  <a:gd name="connsiteX30" fmla="*/ 158592 w 502226"/>
                  <a:gd name="connsiteY30" fmla="*/ 28024 h 241970"/>
                  <a:gd name="connsiteX31" fmla="*/ 125698 w 502226"/>
                  <a:gd name="connsiteY31" fmla="*/ 60584 h 241970"/>
                  <a:gd name="connsiteX32" fmla="*/ 113951 w 502226"/>
                  <a:gd name="connsiteY32" fmla="*/ 60640 h 241970"/>
                  <a:gd name="connsiteX33" fmla="*/ 113878 w 502226"/>
                  <a:gd name="connsiteY33" fmla="*/ 60584 h 241970"/>
                  <a:gd name="connsiteX34" fmla="*/ 81318 w 502226"/>
                  <a:gd name="connsiteY34" fmla="*/ 27689 h 241970"/>
                  <a:gd name="connsiteX35" fmla="*/ 27622 w 502226"/>
                  <a:gd name="connsiteY35" fmla="*/ 27633 h 241970"/>
                  <a:gd name="connsiteX36" fmla="*/ 16477 w 502226"/>
                  <a:gd name="connsiteY36" fmla="*/ 54172 h 241970"/>
                  <a:gd name="connsiteX37" fmla="*/ 15864 w 502226"/>
                  <a:gd name="connsiteY37" fmla="*/ 185026 h 241970"/>
                  <a:gd name="connsiteX38" fmla="*/ 15864 w 502226"/>
                  <a:gd name="connsiteY38" fmla="*/ 185026 h 241970"/>
                  <a:gd name="connsiteX39" fmla="*/ 27015 w 502226"/>
                  <a:gd name="connsiteY39" fmla="*/ 211899 h 241970"/>
                  <a:gd name="connsiteX40" fmla="*/ 39280 w 502226"/>
                  <a:gd name="connsiteY40" fmla="*/ 220150 h 241970"/>
                  <a:gd name="connsiteX41" fmla="*/ 80593 w 502226"/>
                  <a:gd name="connsiteY41" fmla="*/ 212178 h 241970"/>
                  <a:gd name="connsiteX42" fmla="*/ 113488 w 502226"/>
                  <a:gd name="connsiteY42" fmla="*/ 179617 h 241970"/>
                  <a:gd name="connsiteX43" fmla="*/ 119231 w 502226"/>
                  <a:gd name="connsiteY43" fmla="*/ 177053 h 241970"/>
                  <a:gd name="connsiteX44" fmla="*/ 7724 w 502226"/>
                  <a:gd name="connsiteY44" fmla="*/ 184858 h 241970"/>
                  <a:gd name="connsiteX45" fmla="*/ 7724 w 502226"/>
                  <a:gd name="connsiteY45" fmla="*/ 184858 h 24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02226" h="241970">
                    <a:moveTo>
                      <a:pt x="446447" y="241448"/>
                    </a:moveTo>
                    <a:lnTo>
                      <a:pt x="446057" y="241448"/>
                    </a:lnTo>
                    <a:lnTo>
                      <a:pt x="184406" y="240221"/>
                    </a:lnTo>
                    <a:cubicBezTo>
                      <a:pt x="169922" y="240165"/>
                      <a:pt x="156050" y="234367"/>
                      <a:pt x="145881" y="224053"/>
                    </a:cubicBezTo>
                    <a:lnTo>
                      <a:pt x="119175" y="197124"/>
                    </a:lnTo>
                    <a:lnTo>
                      <a:pt x="92246" y="223774"/>
                    </a:lnTo>
                    <a:cubicBezTo>
                      <a:pt x="70787" y="245016"/>
                      <a:pt x="36192" y="244793"/>
                      <a:pt x="14977" y="223328"/>
                    </a:cubicBezTo>
                    <a:cubicBezTo>
                      <a:pt x="4825" y="213069"/>
                      <a:pt x="-851" y="199187"/>
                      <a:pt x="-806" y="184747"/>
                    </a:cubicBezTo>
                    <a:lnTo>
                      <a:pt x="-193" y="53894"/>
                    </a:lnTo>
                    <a:cubicBezTo>
                      <a:pt x="-43" y="23731"/>
                      <a:pt x="24545" y="-633"/>
                      <a:pt x="54718" y="-466"/>
                    </a:cubicBezTo>
                    <a:cubicBezTo>
                      <a:pt x="69197" y="-410"/>
                      <a:pt x="83058" y="5444"/>
                      <a:pt x="93250" y="15703"/>
                    </a:cubicBezTo>
                    <a:lnTo>
                      <a:pt x="119955" y="42687"/>
                    </a:lnTo>
                    <a:lnTo>
                      <a:pt x="146884" y="15981"/>
                    </a:lnTo>
                    <a:cubicBezTo>
                      <a:pt x="157143" y="5890"/>
                      <a:pt x="170953" y="203"/>
                      <a:pt x="185354" y="147"/>
                    </a:cubicBezTo>
                    <a:lnTo>
                      <a:pt x="185354" y="147"/>
                    </a:lnTo>
                    <a:lnTo>
                      <a:pt x="447060" y="1429"/>
                    </a:lnTo>
                    <a:cubicBezTo>
                      <a:pt x="477212" y="1653"/>
                      <a:pt x="501515" y="26184"/>
                      <a:pt x="501420" y="56346"/>
                    </a:cubicBezTo>
                    <a:lnTo>
                      <a:pt x="500751" y="187144"/>
                    </a:lnTo>
                    <a:cubicBezTo>
                      <a:pt x="500601" y="217195"/>
                      <a:pt x="476248" y="241448"/>
                      <a:pt x="446224" y="241504"/>
                    </a:cubicBezTo>
                    <a:close/>
                    <a:moveTo>
                      <a:pt x="119231" y="177053"/>
                    </a:moveTo>
                    <a:lnTo>
                      <a:pt x="119231" y="177053"/>
                    </a:lnTo>
                    <a:cubicBezTo>
                      <a:pt x="121450" y="177109"/>
                      <a:pt x="123568" y="178001"/>
                      <a:pt x="125140" y="179561"/>
                    </a:cubicBezTo>
                    <a:lnTo>
                      <a:pt x="157701" y="212400"/>
                    </a:lnTo>
                    <a:cubicBezTo>
                      <a:pt x="164781" y="219537"/>
                      <a:pt x="174415" y="223551"/>
                      <a:pt x="184462" y="223551"/>
                    </a:cubicBezTo>
                    <a:lnTo>
                      <a:pt x="446113" y="224778"/>
                    </a:lnTo>
                    <a:lnTo>
                      <a:pt x="446391" y="224778"/>
                    </a:lnTo>
                    <a:cubicBezTo>
                      <a:pt x="467210" y="224722"/>
                      <a:pt x="484097" y="207884"/>
                      <a:pt x="484192" y="187089"/>
                    </a:cubicBezTo>
                    <a:lnTo>
                      <a:pt x="484861" y="56235"/>
                    </a:lnTo>
                    <a:cubicBezTo>
                      <a:pt x="484923" y="35327"/>
                      <a:pt x="468040" y="18267"/>
                      <a:pt x="447116" y="18155"/>
                    </a:cubicBezTo>
                    <a:lnTo>
                      <a:pt x="185410" y="16873"/>
                    </a:lnTo>
                    <a:cubicBezTo>
                      <a:pt x="175346" y="16929"/>
                      <a:pt x="165707" y="20887"/>
                      <a:pt x="158592" y="28024"/>
                    </a:cubicBezTo>
                    <a:lnTo>
                      <a:pt x="125698" y="60584"/>
                    </a:lnTo>
                    <a:cubicBezTo>
                      <a:pt x="122476" y="63873"/>
                      <a:pt x="117212" y="63873"/>
                      <a:pt x="113951" y="60640"/>
                    </a:cubicBezTo>
                    <a:cubicBezTo>
                      <a:pt x="113928" y="60640"/>
                      <a:pt x="113901" y="60584"/>
                      <a:pt x="113878" y="60584"/>
                    </a:cubicBezTo>
                    <a:lnTo>
                      <a:pt x="81318" y="27689"/>
                    </a:lnTo>
                    <a:cubicBezTo>
                      <a:pt x="66505" y="12859"/>
                      <a:pt x="42464" y="12803"/>
                      <a:pt x="27622" y="27633"/>
                    </a:cubicBezTo>
                    <a:cubicBezTo>
                      <a:pt x="20569" y="34658"/>
                      <a:pt x="16566" y="44193"/>
                      <a:pt x="16477" y="54172"/>
                    </a:cubicBezTo>
                    <a:lnTo>
                      <a:pt x="15864" y="185026"/>
                    </a:lnTo>
                    <a:lnTo>
                      <a:pt x="15864" y="185026"/>
                    </a:lnTo>
                    <a:cubicBezTo>
                      <a:pt x="15819" y="195117"/>
                      <a:pt x="19839" y="204818"/>
                      <a:pt x="27015" y="211899"/>
                    </a:cubicBezTo>
                    <a:cubicBezTo>
                      <a:pt x="30499" y="215467"/>
                      <a:pt x="34675" y="218255"/>
                      <a:pt x="39280" y="220150"/>
                    </a:cubicBezTo>
                    <a:cubicBezTo>
                      <a:pt x="53392" y="226116"/>
                      <a:pt x="69716" y="222993"/>
                      <a:pt x="80593" y="212178"/>
                    </a:cubicBezTo>
                    <a:lnTo>
                      <a:pt x="113488" y="179617"/>
                    </a:lnTo>
                    <a:cubicBezTo>
                      <a:pt x="114993" y="178057"/>
                      <a:pt x="117056" y="177109"/>
                      <a:pt x="119231" y="177053"/>
                    </a:cubicBezTo>
                    <a:close/>
                    <a:moveTo>
                      <a:pt x="7724" y="184858"/>
                    </a:moveTo>
                    <a:lnTo>
                      <a:pt x="7724" y="184858"/>
                    </a:lnTo>
                    <a:close/>
                  </a:path>
                </a:pathLst>
              </a:custGeom>
              <a:solidFill>
                <a:srgbClr val="30373B"/>
              </a:solidFill>
              <a:ln w="5573" cap="flat">
                <a:noFill/>
                <a:prstDash val="solid"/>
                <a:miter/>
              </a:ln>
            </p:spPr>
            <p:txBody>
              <a:bodyPr rtlCol="0" anchor="ctr"/>
              <a:lstStyle/>
              <a:p>
                <a:endParaRPr lang="en-GB"/>
              </a:p>
            </p:txBody>
          </p:sp>
          <p:sp>
            <p:nvSpPr>
              <p:cNvPr id="198" name="Graphic 6">
                <a:extLst>
                  <a:ext uri="{FF2B5EF4-FFF2-40B4-BE49-F238E27FC236}">
                    <a16:creationId xmlns:a16="http://schemas.microsoft.com/office/drawing/2014/main" id="{C44D982C-F68C-82CE-7941-0100A6E0CB6A}"/>
                  </a:ext>
                </a:extLst>
              </p:cNvPr>
              <p:cNvSpPr/>
              <p:nvPr/>
            </p:nvSpPr>
            <p:spPr>
              <a:xfrm>
                <a:off x="5088160" y="6091201"/>
                <a:ext cx="444801" cy="122709"/>
              </a:xfrm>
              <a:custGeom>
                <a:avLst/>
                <a:gdLst>
                  <a:gd name="connsiteX0" fmla="*/ 126423 w 444801"/>
                  <a:gd name="connsiteY0" fmla="*/ 122241 h 122709"/>
                  <a:gd name="connsiteX1" fmla="*/ 125475 w 444801"/>
                  <a:gd name="connsiteY1" fmla="*/ 122241 h 122709"/>
                  <a:gd name="connsiteX2" fmla="*/ 6553 w 444801"/>
                  <a:gd name="connsiteY2" fmla="*/ 108358 h 122709"/>
                  <a:gd name="connsiteX3" fmla="*/ -806 w 444801"/>
                  <a:gd name="connsiteY3" fmla="*/ 99995 h 122709"/>
                  <a:gd name="connsiteX4" fmla="*/ -416 w 444801"/>
                  <a:gd name="connsiteY4" fmla="*/ 20547 h 122709"/>
                  <a:gd name="connsiteX5" fmla="*/ 7055 w 444801"/>
                  <a:gd name="connsiteY5" fmla="*/ 12240 h 122709"/>
                  <a:gd name="connsiteX6" fmla="*/ 126256 w 444801"/>
                  <a:gd name="connsiteY6" fmla="*/ -417 h 122709"/>
                  <a:gd name="connsiteX7" fmla="*/ 133113 w 444801"/>
                  <a:gd name="connsiteY7" fmla="*/ 2036 h 122709"/>
                  <a:gd name="connsiteX8" fmla="*/ 157031 w 444801"/>
                  <a:gd name="connsiteY8" fmla="*/ 26178 h 122709"/>
                  <a:gd name="connsiteX9" fmla="*/ 389356 w 444801"/>
                  <a:gd name="connsiteY9" fmla="*/ 27404 h 122709"/>
                  <a:gd name="connsiteX10" fmla="*/ 397719 w 444801"/>
                  <a:gd name="connsiteY10" fmla="*/ 35767 h 122709"/>
                  <a:gd name="connsiteX11" fmla="*/ 389356 w 444801"/>
                  <a:gd name="connsiteY11" fmla="*/ 44130 h 122709"/>
                  <a:gd name="connsiteX12" fmla="*/ 389356 w 444801"/>
                  <a:gd name="connsiteY12" fmla="*/ 44130 h 122709"/>
                  <a:gd name="connsiteX13" fmla="*/ 153631 w 444801"/>
                  <a:gd name="connsiteY13" fmla="*/ 42904 h 122709"/>
                  <a:gd name="connsiteX14" fmla="*/ 147721 w 444801"/>
                  <a:gd name="connsiteY14" fmla="*/ 40450 h 122709"/>
                  <a:gd name="connsiteX15" fmla="*/ 124137 w 444801"/>
                  <a:gd name="connsiteY15" fmla="*/ 16644 h 122709"/>
                  <a:gd name="connsiteX16" fmla="*/ 16366 w 444801"/>
                  <a:gd name="connsiteY16" fmla="*/ 27794 h 122709"/>
                  <a:gd name="connsiteX17" fmla="*/ 16031 w 444801"/>
                  <a:gd name="connsiteY17" fmla="*/ 92301 h 122709"/>
                  <a:gd name="connsiteX18" fmla="*/ 123747 w 444801"/>
                  <a:gd name="connsiteY18" fmla="*/ 104846 h 122709"/>
                  <a:gd name="connsiteX19" fmla="*/ 147498 w 444801"/>
                  <a:gd name="connsiteY19" fmla="*/ 81262 h 122709"/>
                  <a:gd name="connsiteX20" fmla="*/ 153463 w 444801"/>
                  <a:gd name="connsiteY20" fmla="*/ 78865 h 122709"/>
                  <a:gd name="connsiteX21" fmla="*/ 435631 w 444801"/>
                  <a:gd name="connsiteY21" fmla="*/ 80091 h 122709"/>
                  <a:gd name="connsiteX22" fmla="*/ 443994 w 444801"/>
                  <a:gd name="connsiteY22" fmla="*/ 88454 h 122709"/>
                  <a:gd name="connsiteX23" fmla="*/ 435631 w 444801"/>
                  <a:gd name="connsiteY23" fmla="*/ 96817 h 122709"/>
                  <a:gd name="connsiteX24" fmla="*/ 435631 w 444801"/>
                  <a:gd name="connsiteY24" fmla="*/ 96817 h 122709"/>
                  <a:gd name="connsiteX25" fmla="*/ 156864 w 444801"/>
                  <a:gd name="connsiteY25" fmla="*/ 95591 h 122709"/>
                  <a:gd name="connsiteX26" fmla="*/ 132723 w 444801"/>
                  <a:gd name="connsiteY26" fmla="*/ 119509 h 122709"/>
                  <a:gd name="connsiteX27" fmla="*/ 126423 w 444801"/>
                  <a:gd name="connsiteY27" fmla="*/ 122241 h 12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801" h="122709">
                    <a:moveTo>
                      <a:pt x="126423" y="122241"/>
                    </a:moveTo>
                    <a:lnTo>
                      <a:pt x="125475" y="122241"/>
                    </a:lnTo>
                    <a:lnTo>
                      <a:pt x="6553" y="108358"/>
                    </a:lnTo>
                    <a:cubicBezTo>
                      <a:pt x="2332" y="107857"/>
                      <a:pt x="-840" y="104233"/>
                      <a:pt x="-806" y="99995"/>
                    </a:cubicBezTo>
                    <a:lnTo>
                      <a:pt x="-416" y="20547"/>
                    </a:lnTo>
                    <a:cubicBezTo>
                      <a:pt x="-411" y="16254"/>
                      <a:pt x="2806" y="12685"/>
                      <a:pt x="7055" y="12240"/>
                    </a:cubicBezTo>
                    <a:lnTo>
                      <a:pt x="126256" y="-417"/>
                    </a:lnTo>
                    <a:cubicBezTo>
                      <a:pt x="128798" y="-696"/>
                      <a:pt x="131329" y="197"/>
                      <a:pt x="133113" y="2036"/>
                    </a:cubicBezTo>
                    <a:lnTo>
                      <a:pt x="157031" y="26178"/>
                    </a:lnTo>
                    <a:lnTo>
                      <a:pt x="389356" y="27404"/>
                    </a:lnTo>
                    <a:cubicBezTo>
                      <a:pt x="393972" y="27404"/>
                      <a:pt x="397719" y="31140"/>
                      <a:pt x="397719" y="35767"/>
                    </a:cubicBezTo>
                    <a:cubicBezTo>
                      <a:pt x="397719" y="40395"/>
                      <a:pt x="393972" y="44130"/>
                      <a:pt x="389356" y="44130"/>
                    </a:cubicBezTo>
                    <a:lnTo>
                      <a:pt x="389356" y="44130"/>
                    </a:lnTo>
                    <a:lnTo>
                      <a:pt x="153631" y="42904"/>
                    </a:lnTo>
                    <a:cubicBezTo>
                      <a:pt x="151412" y="42904"/>
                      <a:pt x="149287" y="42012"/>
                      <a:pt x="147721" y="40450"/>
                    </a:cubicBezTo>
                    <a:lnTo>
                      <a:pt x="124137" y="16644"/>
                    </a:lnTo>
                    <a:lnTo>
                      <a:pt x="16366" y="27794"/>
                    </a:lnTo>
                    <a:lnTo>
                      <a:pt x="16031" y="92301"/>
                    </a:lnTo>
                    <a:lnTo>
                      <a:pt x="123747" y="104846"/>
                    </a:lnTo>
                    <a:lnTo>
                      <a:pt x="147498" y="81262"/>
                    </a:lnTo>
                    <a:cubicBezTo>
                      <a:pt x="149176" y="79868"/>
                      <a:pt x="151267" y="78976"/>
                      <a:pt x="153463" y="78865"/>
                    </a:cubicBezTo>
                    <a:lnTo>
                      <a:pt x="435631" y="80091"/>
                    </a:lnTo>
                    <a:cubicBezTo>
                      <a:pt x="440248" y="80091"/>
                      <a:pt x="443994" y="83827"/>
                      <a:pt x="443994" y="88454"/>
                    </a:cubicBezTo>
                    <a:cubicBezTo>
                      <a:pt x="443994" y="93082"/>
                      <a:pt x="440248" y="96817"/>
                      <a:pt x="435631" y="96817"/>
                    </a:cubicBezTo>
                    <a:lnTo>
                      <a:pt x="435631" y="96817"/>
                    </a:lnTo>
                    <a:lnTo>
                      <a:pt x="156864" y="95591"/>
                    </a:lnTo>
                    <a:lnTo>
                      <a:pt x="132723" y="119509"/>
                    </a:lnTo>
                    <a:cubicBezTo>
                      <a:pt x="131112" y="121293"/>
                      <a:pt x="128815" y="122297"/>
                      <a:pt x="126423" y="122241"/>
                    </a:cubicBezTo>
                    <a:close/>
                  </a:path>
                </a:pathLst>
              </a:custGeom>
              <a:solidFill>
                <a:srgbClr val="30373B"/>
              </a:solidFill>
              <a:ln w="5573" cap="flat">
                <a:noFill/>
                <a:prstDash val="solid"/>
                <a:miter/>
              </a:ln>
            </p:spPr>
            <p:txBody>
              <a:bodyPr rtlCol="0" anchor="ctr"/>
              <a:lstStyle/>
              <a:p>
                <a:endParaRPr lang="en-GB"/>
              </a:p>
            </p:txBody>
          </p:sp>
          <p:sp>
            <p:nvSpPr>
              <p:cNvPr id="199" name="Graphic 6">
                <a:extLst>
                  <a:ext uri="{FF2B5EF4-FFF2-40B4-BE49-F238E27FC236}">
                    <a16:creationId xmlns:a16="http://schemas.microsoft.com/office/drawing/2014/main" id="{4EAB0DA3-6AA1-45A2-4D27-169468138A96}"/>
                  </a:ext>
                </a:extLst>
              </p:cNvPr>
              <p:cNvSpPr/>
              <p:nvPr/>
            </p:nvSpPr>
            <p:spPr>
              <a:xfrm>
                <a:off x="7357993" y="2601869"/>
                <a:ext cx="16726" cy="3562642"/>
              </a:xfrm>
              <a:custGeom>
                <a:avLst/>
                <a:gdLst>
                  <a:gd name="connsiteX0" fmla="*/ 7556 w 16726"/>
                  <a:gd name="connsiteY0" fmla="*/ 3562176 h 3562642"/>
                  <a:gd name="connsiteX1" fmla="*/ -807 w 16726"/>
                  <a:gd name="connsiteY1" fmla="*/ 3553813 h 3562642"/>
                  <a:gd name="connsiteX2" fmla="*/ -807 w 16726"/>
                  <a:gd name="connsiteY2" fmla="*/ 3520361 h 3562642"/>
                  <a:gd name="connsiteX3" fmla="*/ 7556 w 16726"/>
                  <a:gd name="connsiteY3" fmla="*/ 3511998 h 3562642"/>
                  <a:gd name="connsiteX4" fmla="*/ 15919 w 16726"/>
                  <a:gd name="connsiteY4" fmla="*/ 3520361 h 3562642"/>
                  <a:gd name="connsiteX5" fmla="*/ 15919 w 16726"/>
                  <a:gd name="connsiteY5" fmla="*/ 3553813 h 3562642"/>
                  <a:gd name="connsiteX6" fmla="*/ 7556 w 16726"/>
                  <a:gd name="connsiteY6" fmla="*/ 3562176 h 3562642"/>
                  <a:gd name="connsiteX7" fmla="*/ 7556 w 16726"/>
                  <a:gd name="connsiteY7" fmla="*/ 3461820 h 3562642"/>
                  <a:gd name="connsiteX8" fmla="*/ -807 w 16726"/>
                  <a:gd name="connsiteY8" fmla="*/ 3453457 h 3562642"/>
                  <a:gd name="connsiteX9" fmla="*/ -807 w 16726"/>
                  <a:gd name="connsiteY9" fmla="*/ 3420005 h 3562642"/>
                  <a:gd name="connsiteX10" fmla="*/ 7556 w 16726"/>
                  <a:gd name="connsiteY10" fmla="*/ 3411642 h 3562642"/>
                  <a:gd name="connsiteX11" fmla="*/ 15919 w 16726"/>
                  <a:gd name="connsiteY11" fmla="*/ 3420005 h 3562642"/>
                  <a:gd name="connsiteX12" fmla="*/ 15919 w 16726"/>
                  <a:gd name="connsiteY12" fmla="*/ 3453457 h 3562642"/>
                  <a:gd name="connsiteX13" fmla="*/ 7556 w 16726"/>
                  <a:gd name="connsiteY13" fmla="*/ 3461820 h 3562642"/>
                  <a:gd name="connsiteX14" fmla="*/ 7556 w 16726"/>
                  <a:gd name="connsiteY14" fmla="*/ 3361463 h 3562642"/>
                  <a:gd name="connsiteX15" fmla="*/ -807 w 16726"/>
                  <a:gd name="connsiteY15" fmla="*/ 3353100 h 3562642"/>
                  <a:gd name="connsiteX16" fmla="*/ -807 w 16726"/>
                  <a:gd name="connsiteY16" fmla="*/ 3319648 h 3562642"/>
                  <a:gd name="connsiteX17" fmla="*/ 7556 w 16726"/>
                  <a:gd name="connsiteY17" fmla="*/ 3311285 h 3562642"/>
                  <a:gd name="connsiteX18" fmla="*/ 15919 w 16726"/>
                  <a:gd name="connsiteY18" fmla="*/ 3319648 h 3562642"/>
                  <a:gd name="connsiteX19" fmla="*/ 15919 w 16726"/>
                  <a:gd name="connsiteY19" fmla="*/ 3353100 h 3562642"/>
                  <a:gd name="connsiteX20" fmla="*/ 7556 w 16726"/>
                  <a:gd name="connsiteY20" fmla="*/ 3361463 h 3562642"/>
                  <a:gd name="connsiteX21" fmla="*/ 7556 w 16726"/>
                  <a:gd name="connsiteY21" fmla="*/ 3261107 h 3562642"/>
                  <a:gd name="connsiteX22" fmla="*/ -807 w 16726"/>
                  <a:gd name="connsiteY22" fmla="*/ 3252744 h 3562642"/>
                  <a:gd name="connsiteX23" fmla="*/ -807 w 16726"/>
                  <a:gd name="connsiteY23" fmla="*/ 3219292 h 3562642"/>
                  <a:gd name="connsiteX24" fmla="*/ 7556 w 16726"/>
                  <a:gd name="connsiteY24" fmla="*/ 3210929 h 3562642"/>
                  <a:gd name="connsiteX25" fmla="*/ 15919 w 16726"/>
                  <a:gd name="connsiteY25" fmla="*/ 3219292 h 3562642"/>
                  <a:gd name="connsiteX26" fmla="*/ 15919 w 16726"/>
                  <a:gd name="connsiteY26" fmla="*/ 3252744 h 3562642"/>
                  <a:gd name="connsiteX27" fmla="*/ 7556 w 16726"/>
                  <a:gd name="connsiteY27" fmla="*/ 3261107 h 3562642"/>
                  <a:gd name="connsiteX28" fmla="*/ 7556 w 16726"/>
                  <a:gd name="connsiteY28" fmla="*/ 3160751 h 3562642"/>
                  <a:gd name="connsiteX29" fmla="*/ -807 w 16726"/>
                  <a:gd name="connsiteY29" fmla="*/ 3152388 h 3562642"/>
                  <a:gd name="connsiteX30" fmla="*/ -807 w 16726"/>
                  <a:gd name="connsiteY30" fmla="*/ 3118936 h 3562642"/>
                  <a:gd name="connsiteX31" fmla="*/ 7556 w 16726"/>
                  <a:gd name="connsiteY31" fmla="*/ 3110573 h 3562642"/>
                  <a:gd name="connsiteX32" fmla="*/ 15919 w 16726"/>
                  <a:gd name="connsiteY32" fmla="*/ 3118936 h 3562642"/>
                  <a:gd name="connsiteX33" fmla="*/ 15919 w 16726"/>
                  <a:gd name="connsiteY33" fmla="*/ 3152388 h 3562642"/>
                  <a:gd name="connsiteX34" fmla="*/ 7556 w 16726"/>
                  <a:gd name="connsiteY34" fmla="*/ 3160751 h 3562642"/>
                  <a:gd name="connsiteX35" fmla="*/ 7556 w 16726"/>
                  <a:gd name="connsiteY35" fmla="*/ 3060395 h 3562642"/>
                  <a:gd name="connsiteX36" fmla="*/ -807 w 16726"/>
                  <a:gd name="connsiteY36" fmla="*/ 3052032 h 3562642"/>
                  <a:gd name="connsiteX37" fmla="*/ -807 w 16726"/>
                  <a:gd name="connsiteY37" fmla="*/ 3018580 h 3562642"/>
                  <a:gd name="connsiteX38" fmla="*/ 7556 w 16726"/>
                  <a:gd name="connsiteY38" fmla="*/ 3010217 h 3562642"/>
                  <a:gd name="connsiteX39" fmla="*/ 15919 w 16726"/>
                  <a:gd name="connsiteY39" fmla="*/ 3018580 h 3562642"/>
                  <a:gd name="connsiteX40" fmla="*/ 15919 w 16726"/>
                  <a:gd name="connsiteY40" fmla="*/ 3052032 h 3562642"/>
                  <a:gd name="connsiteX41" fmla="*/ 7556 w 16726"/>
                  <a:gd name="connsiteY41" fmla="*/ 3060395 h 3562642"/>
                  <a:gd name="connsiteX42" fmla="*/ 7556 w 16726"/>
                  <a:gd name="connsiteY42" fmla="*/ 2960039 h 3562642"/>
                  <a:gd name="connsiteX43" fmla="*/ -807 w 16726"/>
                  <a:gd name="connsiteY43" fmla="*/ 2951676 h 3562642"/>
                  <a:gd name="connsiteX44" fmla="*/ -807 w 16726"/>
                  <a:gd name="connsiteY44" fmla="*/ 2918224 h 3562642"/>
                  <a:gd name="connsiteX45" fmla="*/ 7556 w 16726"/>
                  <a:gd name="connsiteY45" fmla="*/ 2909861 h 3562642"/>
                  <a:gd name="connsiteX46" fmla="*/ 15919 w 16726"/>
                  <a:gd name="connsiteY46" fmla="*/ 2918224 h 3562642"/>
                  <a:gd name="connsiteX47" fmla="*/ 15919 w 16726"/>
                  <a:gd name="connsiteY47" fmla="*/ 2951676 h 3562642"/>
                  <a:gd name="connsiteX48" fmla="*/ 7556 w 16726"/>
                  <a:gd name="connsiteY48" fmla="*/ 2960039 h 3562642"/>
                  <a:gd name="connsiteX49" fmla="*/ 7556 w 16726"/>
                  <a:gd name="connsiteY49" fmla="*/ 2859683 h 3562642"/>
                  <a:gd name="connsiteX50" fmla="*/ -807 w 16726"/>
                  <a:gd name="connsiteY50" fmla="*/ 2851320 h 3562642"/>
                  <a:gd name="connsiteX51" fmla="*/ -807 w 16726"/>
                  <a:gd name="connsiteY51" fmla="*/ 2817868 h 3562642"/>
                  <a:gd name="connsiteX52" fmla="*/ 7556 w 16726"/>
                  <a:gd name="connsiteY52" fmla="*/ 2809505 h 3562642"/>
                  <a:gd name="connsiteX53" fmla="*/ 15919 w 16726"/>
                  <a:gd name="connsiteY53" fmla="*/ 2817868 h 3562642"/>
                  <a:gd name="connsiteX54" fmla="*/ 15919 w 16726"/>
                  <a:gd name="connsiteY54" fmla="*/ 2851320 h 3562642"/>
                  <a:gd name="connsiteX55" fmla="*/ 7556 w 16726"/>
                  <a:gd name="connsiteY55" fmla="*/ 2859683 h 3562642"/>
                  <a:gd name="connsiteX56" fmla="*/ 7556 w 16726"/>
                  <a:gd name="connsiteY56" fmla="*/ 2759327 h 3562642"/>
                  <a:gd name="connsiteX57" fmla="*/ -807 w 16726"/>
                  <a:gd name="connsiteY57" fmla="*/ 2750964 h 3562642"/>
                  <a:gd name="connsiteX58" fmla="*/ -807 w 16726"/>
                  <a:gd name="connsiteY58" fmla="*/ 2717512 h 3562642"/>
                  <a:gd name="connsiteX59" fmla="*/ 7556 w 16726"/>
                  <a:gd name="connsiteY59" fmla="*/ 2709149 h 3562642"/>
                  <a:gd name="connsiteX60" fmla="*/ 15919 w 16726"/>
                  <a:gd name="connsiteY60" fmla="*/ 2717512 h 3562642"/>
                  <a:gd name="connsiteX61" fmla="*/ 15919 w 16726"/>
                  <a:gd name="connsiteY61" fmla="*/ 2750964 h 3562642"/>
                  <a:gd name="connsiteX62" fmla="*/ 7556 w 16726"/>
                  <a:gd name="connsiteY62" fmla="*/ 2759327 h 3562642"/>
                  <a:gd name="connsiteX63" fmla="*/ 7556 w 16726"/>
                  <a:gd name="connsiteY63" fmla="*/ 2658971 h 3562642"/>
                  <a:gd name="connsiteX64" fmla="*/ -807 w 16726"/>
                  <a:gd name="connsiteY64" fmla="*/ 2650608 h 3562642"/>
                  <a:gd name="connsiteX65" fmla="*/ -807 w 16726"/>
                  <a:gd name="connsiteY65" fmla="*/ 2617156 h 3562642"/>
                  <a:gd name="connsiteX66" fmla="*/ 7556 w 16726"/>
                  <a:gd name="connsiteY66" fmla="*/ 2608793 h 3562642"/>
                  <a:gd name="connsiteX67" fmla="*/ 15919 w 16726"/>
                  <a:gd name="connsiteY67" fmla="*/ 2617156 h 3562642"/>
                  <a:gd name="connsiteX68" fmla="*/ 15919 w 16726"/>
                  <a:gd name="connsiteY68" fmla="*/ 2650608 h 3562642"/>
                  <a:gd name="connsiteX69" fmla="*/ 7556 w 16726"/>
                  <a:gd name="connsiteY69" fmla="*/ 2658971 h 3562642"/>
                  <a:gd name="connsiteX70" fmla="*/ 7556 w 16726"/>
                  <a:gd name="connsiteY70" fmla="*/ 2558614 h 3562642"/>
                  <a:gd name="connsiteX71" fmla="*/ -807 w 16726"/>
                  <a:gd name="connsiteY71" fmla="*/ 2550251 h 3562642"/>
                  <a:gd name="connsiteX72" fmla="*/ -807 w 16726"/>
                  <a:gd name="connsiteY72" fmla="*/ 2516799 h 3562642"/>
                  <a:gd name="connsiteX73" fmla="*/ 7556 w 16726"/>
                  <a:gd name="connsiteY73" fmla="*/ 2508436 h 3562642"/>
                  <a:gd name="connsiteX74" fmla="*/ 15919 w 16726"/>
                  <a:gd name="connsiteY74" fmla="*/ 2516799 h 3562642"/>
                  <a:gd name="connsiteX75" fmla="*/ 15919 w 16726"/>
                  <a:gd name="connsiteY75" fmla="*/ 2550251 h 3562642"/>
                  <a:gd name="connsiteX76" fmla="*/ 7556 w 16726"/>
                  <a:gd name="connsiteY76" fmla="*/ 2558614 h 3562642"/>
                  <a:gd name="connsiteX77" fmla="*/ 7556 w 16726"/>
                  <a:gd name="connsiteY77" fmla="*/ 2458258 h 3562642"/>
                  <a:gd name="connsiteX78" fmla="*/ -807 w 16726"/>
                  <a:gd name="connsiteY78" fmla="*/ 2449895 h 3562642"/>
                  <a:gd name="connsiteX79" fmla="*/ -807 w 16726"/>
                  <a:gd name="connsiteY79" fmla="*/ 2416443 h 3562642"/>
                  <a:gd name="connsiteX80" fmla="*/ 7556 w 16726"/>
                  <a:gd name="connsiteY80" fmla="*/ 2408080 h 3562642"/>
                  <a:gd name="connsiteX81" fmla="*/ 15919 w 16726"/>
                  <a:gd name="connsiteY81" fmla="*/ 2416443 h 3562642"/>
                  <a:gd name="connsiteX82" fmla="*/ 15919 w 16726"/>
                  <a:gd name="connsiteY82" fmla="*/ 2449895 h 3562642"/>
                  <a:gd name="connsiteX83" fmla="*/ 7556 w 16726"/>
                  <a:gd name="connsiteY83" fmla="*/ 2458258 h 3562642"/>
                  <a:gd name="connsiteX84" fmla="*/ 7556 w 16726"/>
                  <a:gd name="connsiteY84" fmla="*/ 2357902 h 3562642"/>
                  <a:gd name="connsiteX85" fmla="*/ -807 w 16726"/>
                  <a:gd name="connsiteY85" fmla="*/ 2349539 h 3562642"/>
                  <a:gd name="connsiteX86" fmla="*/ -807 w 16726"/>
                  <a:gd name="connsiteY86" fmla="*/ 2316087 h 3562642"/>
                  <a:gd name="connsiteX87" fmla="*/ 7556 w 16726"/>
                  <a:gd name="connsiteY87" fmla="*/ 2307724 h 3562642"/>
                  <a:gd name="connsiteX88" fmla="*/ 15919 w 16726"/>
                  <a:gd name="connsiteY88" fmla="*/ 2316087 h 3562642"/>
                  <a:gd name="connsiteX89" fmla="*/ 15919 w 16726"/>
                  <a:gd name="connsiteY89" fmla="*/ 2349539 h 3562642"/>
                  <a:gd name="connsiteX90" fmla="*/ 7556 w 16726"/>
                  <a:gd name="connsiteY90" fmla="*/ 2357902 h 3562642"/>
                  <a:gd name="connsiteX91" fmla="*/ 7556 w 16726"/>
                  <a:gd name="connsiteY91" fmla="*/ 2257546 h 3562642"/>
                  <a:gd name="connsiteX92" fmla="*/ -807 w 16726"/>
                  <a:gd name="connsiteY92" fmla="*/ 2249183 h 3562642"/>
                  <a:gd name="connsiteX93" fmla="*/ -807 w 16726"/>
                  <a:gd name="connsiteY93" fmla="*/ 2215731 h 3562642"/>
                  <a:gd name="connsiteX94" fmla="*/ 7556 w 16726"/>
                  <a:gd name="connsiteY94" fmla="*/ 2207368 h 3562642"/>
                  <a:gd name="connsiteX95" fmla="*/ 15919 w 16726"/>
                  <a:gd name="connsiteY95" fmla="*/ 2215731 h 3562642"/>
                  <a:gd name="connsiteX96" fmla="*/ 15919 w 16726"/>
                  <a:gd name="connsiteY96" fmla="*/ 2249183 h 3562642"/>
                  <a:gd name="connsiteX97" fmla="*/ 7556 w 16726"/>
                  <a:gd name="connsiteY97" fmla="*/ 2257546 h 3562642"/>
                  <a:gd name="connsiteX98" fmla="*/ 7556 w 16726"/>
                  <a:gd name="connsiteY98" fmla="*/ 2157190 h 3562642"/>
                  <a:gd name="connsiteX99" fmla="*/ -807 w 16726"/>
                  <a:gd name="connsiteY99" fmla="*/ 2148827 h 3562642"/>
                  <a:gd name="connsiteX100" fmla="*/ -807 w 16726"/>
                  <a:gd name="connsiteY100" fmla="*/ 2115375 h 3562642"/>
                  <a:gd name="connsiteX101" fmla="*/ 7556 w 16726"/>
                  <a:gd name="connsiteY101" fmla="*/ 2107012 h 3562642"/>
                  <a:gd name="connsiteX102" fmla="*/ 15919 w 16726"/>
                  <a:gd name="connsiteY102" fmla="*/ 2115375 h 3562642"/>
                  <a:gd name="connsiteX103" fmla="*/ 15919 w 16726"/>
                  <a:gd name="connsiteY103" fmla="*/ 2148827 h 3562642"/>
                  <a:gd name="connsiteX104" fmla="*/ 7556 w 16726"/>
                  <a:gd name="connsiteY104" fmla="*/ 2157190 h 3562642"/>
                  <a:gd name="connsiteX105" fmla="*/ 7556 w 16726"/>
                  <a:gd name="connsiteY105" fmla="*/ 2056834 h 3562642"/>
                  <a:gd name="connsiteX106" fmla="*/ -807 w 16726"/>
                  <a:gd name="connsiteY106" fmla="*/ 2048471 h 3562642"/>
                  <a:gd name="connsiteX107" fmla="*/ -807 w 16726"/>
                  <a:gd name="connsiteY107" fmla="*/ 2015019 h 3562642"/>
                  <a:gd name="connsiteX108" fmla="*/ 7556 w 16726"/>
                  <a:gd name="connsiteY108" fmla="*/ 2006656 h 3562642"/>
                  <a:gd name="connsiteX109" fmla="*/ 15919 w 16726"/>
                  <a:gd name="connsiteY109" fmla="*/ 2015019 h 3562642"/>
                  <a:gd name="connsiteX110" fmla="*/ 15919 w 16726"/>
                  <a:gd name="connsiteY110" fmla="*/ 2048471 h 3562642"/>
                  <a:gd name="connsiteX111" fmla="*/ 7556 w 16726"/>
                  <a:gd name="connsiteY111" fmla="*/ 2056834 h 3562642"/>
                  <a:gd name="connsiteX112" fmla="*/ 7556 w 16726"/>
                  <a:gd name="connsiteY112" fmla="*/ 1956478 h 3562642"/>
                  <a:gd name="connsiteX113" fmla="*/ -807 w 16726"/>
                  <a:gd name="connsiteY113" fmla="*/ 1948115 h 3562642"/>
                  <a:gd name="connsiteX114" fmla="*/ -807 w 16726"/>
                  <a:gd name="connsiteY114" fmla="*/ 1914663 h 3562642"/>
                  <a:gd name="connsiteX115" fmla="*/ 7556 w 16726"/>
                  <a:gd name="connsiteY115" fmla="*/ 1906300 h 3562642"/>
                  <a:gd name="connsiteX116" fmla="*/ 15919 w 16726"/>
                  <a:gd name="connsiteY116" fmla="*/ 1914663 h 3562642"/>
                  <a:gd name="connsiteX117" fmla="*/ 15919 w 16726"/>
                  <a:gd name="connsiteY117" fmla="*/ 1948115 h 3562642"/>
                  <a:gd name="connsiteX118" fmla="*/ 7556 w 16726"/>
                  <a:gd name="connsiteY118" fmla="*/ 1956478 h 3562642"/>
                  <a:gd name="connsiteX119" fmla="*/ 7556 w 16726"/>
                  <a:gd name="connsiteY119" fmla="*/ 1856122 h 3562642"/>
                  <a:gd name="connsiteX120" fmla="*/ -807 w 16726"/>
                  <a:gd name="connsiteY120" fmla="*/ 1847759 h 3562642"/>
                  <a:gd name="connsiteX121" fmla="*/ -807 w 16726"/>
                  <a:gd name="connsiteY121" fmla="*/ 1814306 h 3562642"/>
                  <a:gd name="connsiteX122" fmla="*/ 7556 w 16726"/>
                  <a:gd name="connsiteY122" fmla="*/ 1805943 h 3562642"/>
                  <a:gd name="connsiteX123" fmla="*/ 15919 w 16726"/>
                  <a:gd name="connsiteY123" fmla="*/ 1814306 h 3562642"/>
                  <a:gd name="connsiteX124" fmla="*/ 15919 w 16726"/>
                  <a:gd name="connsiteY124" fmla="*/ 1847759 h 3562642"/>
                  <a:gd name="connsiteX125" fmla="*/ 7556 w 16726"/>
                  <a:gd name="connsiteY125" fmla="*/ 1856122 h 3562642"/>
                  <a:gd name="connsiteX126" fmla="*/ 7556 w 16726"/>
                  <a:gd name="connsiteY126" fmla="*/ 1755765 h 3562642"/>
                  <a:gd name="connsiteX127" fmla="*/ -807 w 16726"/>
                  <a:gd name="connsiteY127" fmla="*/ 1747402 h 3562642"/>
                  <a:gd name="connsiteX128" fmla="*/ -807 w 16726"/>
                  <a:gd name="connsiteY128" fmla="*/ 1713950 h 3562642"/>
                  <a:gd name="connsiteX129" fmla="*/ 7556 w 16726"/>
                  <a:gd name="connsiteY129" fmla="*/ 1705587 h 3562642"/>
                  <a:gd name="connsiteX130" fmla="*/ 15919 w 16726"/>
                  <a:gd name="connsiteY130" fmla="*/ 1713950 h 3562642"/>
                  <a:gd name="connsiteX131" fmla="*/ 15919 w 16726"/>
                  <a:gd name="connsiteY131" fmla="*/ 1747402 h 3562642"/>
                  <a:gd name="connsiteX132" fmla="*/ 7556 w 16726"/>
                  <a:gd name="connsiteY132" fmla="*/ 1755765 h 3562642"/>
                  <a:gd name="connsiteX133" fmla="*/ 7556 w 16726"/>
                  <a:gd name="connsiteY133" fmla="*/ 1655409 h 3562642"/>
                  <a:gd name="connsiteX134" fmla="*/ -807 w 16726"/>
                  <a:gd name="connsiteY134" fmla="*/ 1647046 h 3562642"/>
                  <a:gd name="connsiteX135" fmla="*/ -807 w 16726"/>
                  <a:gd name="connsiteY135" fmla="*/ 1613594 h 3562642"/>
                  <a:gd name="connsiteX136" fmla="*/ 7556 w 16726"/>
                  <a:gd name="connsiteY136" fmla="*/ 1605231 h 3562642"/>
                  <a:gd name="connsiteX137" fmla="*/ 15919 w 16726"/>
                  <a:gd name="connsiteY137" fmla="*/ 1613594 h 3562642"/>
                  <a:gd name="connsiteX138" fmla="*/ 15919 w 16726"/>
                  <a:gd name="connsiteY138" fmla="*/ 1647046 h 3562642"/>
                  <a:gd name="connsiteX139" fmla="*/ 7556 w 16726"/>
                  <a:gd name="connsiteY139" fmla="*/ 1655409 h 3562642"/>
                  <a:gd name="connsiteX140" fmla="*/ 7556 w 16726"/>
                  <a:gd name="connsiteY140" fmla="*/ 1555053 h 3562642"/>
                  <a:gd name="connsiteX141" fmla="*/ -807 w 16726"/>
                  <a:gd name="connsiteY141" fmla="*/ 1546690 h 3562642"/>
                  <a:gd name="connsiteX142" fmla="*/ -807 w 16726"/>
                  <a:gd name="connsiteY142" fmla="*/ 1513238 h 3562642"/>
                  <a:gd name="connsiteX143" fmla="*/ 7556 w 16726"/>
                  <a:gd name="connsiteY143" fmla="*/ 1504875 h 3562642"/>
                  <a:gd name="connsiteX144" fmla="*/ 15919 w 16726"/>
                  <a:gd name="connsiteY144" fmla="*/ 1513238 h 3562642"/>
                  <a:gd name="connsiteX145" fmla="*/ 15919 w 16726"/>
                  <a:gd name="connsiteY145" fmla="*/ 1546690 h 3562642"/>
                  <a:gd name="connsiteX146" fmla="*/ 7556 w 16726"/>
                  <a:gd name="connsiteY146" fmla="*/ 1555053 h 3562642"/>
                  <a:gd name="connsiteX147" fmla="*/ 7556 w 16726"/>
                  <a:gd name="connsiteY147" fmla="*/ 1454697 h 3562642"/>
                  <a:gd name="connsiteX148" fmla="*/ -807 w 16726"/>
                  <a:gd name="connsiteY148" fmla="*/ 1446334 h 3562642"/>
                  <a:gd name="connsiteX149" fmla="*/ -807 w 16726"/>
                  <a:gd name="connsiteY149" fmla="*/ 1412882 h 3562642"/>
                  <a:gd name="connsiteX150" fmla="*/ 7556 w 16726"/>
                  <a:gd name="connsiteY150" fmla="*/ 1404519 h 3562642"/>
                  <a:gd name="connsiteX151" fmla="*/ 15919 w 16726"/>
                  <a:gd name="connsiteY151" fmla="*/ 1412882 h 3562642"/>
                  <a:gd name="connsiteX152" fmla="*/ 15919 w 16726"/>
                  <a:gd name="connsiteY152" fmla="*/ 1446334 h 3562642"/>
                  <a:gd name="connsiteX153" fmla="*/ 7556 w 16726"/>
                  <a:gd name="connsiteY153" fmla="*/ 1454697 h 3562642"/>
                  <a:gd name="connsiteX154" fmla="*/ 7556 w 16726"/>
                  <a:gd name="connsiteY154" fmla="*/ 1354341 h 3562642"/>
                  <a:gd name="connsiteX155" fmla="*/ -807 w 16726"/>
                  <a:gd name="connsiteY155" fmla="*/ 1345978 h 3562642"/>
                  <a:gd name="connsiteX156" fmla="*/ -807 w 16726"/>
                  <a:gd name="connsiteY156" fmla="*/ 1312526 h 3562642"/>
                  <a:gd name="connsiteX157" fmla="*/ 7556 w 16726"/>
                  <a:gd name="connsiteY157" fmla="*/ 1304163 h 3562642"/>
                  <a:gd name="connsiteX158" fmla="*/ 15919 w 16726"/>
                  <a:gd name="connsiteY158" fmla="*/ 1312526 h 3562642"/>
                  <a:gd name="connsiteX159" fmla="*/ 15919 w 16726"/>
                  <a:gd name="connsiteY159" fmla="*/ 1345978 h 3562642"/>
                  <a:gd name="connsiteX160" fmla="*/ 7556 w 16726"/>
                  <a:gd name="connsiteY160" fmla="*/ 1354341 h 3562642"/>
                  <a:gd name="connsiteX161" fmla="*/ 7556 w 16726"/>
                  <a:gd name="connsiteY161" fmla="*/ 1253985 h 3562642"/>
                  <a:gd name="connsiteX162" fmla="*/ -807 w 16726"/>
                  <a:gd name="connsiteY162" fmla="*/ 1245622 h 3562642"/>
                  <a:gd name="connsiteX163" fmla="*/ -807 w 16726"/>
                  <a:gd name="connsiteY163" fmla="*/ 1212170 h 3562642"/>
                  <a:gd name="connsiteX164" fmla="*/ 7556 w 16726"/>
                  <a:gd name="connsiteY164" fmla="*/ 1203807 h 3562642"/>
                  <a:gd name="connsiteX165" fmla="*/ 15919 w 16726"/>
                  <a:gd name="connsiteY165" fmla="*/ 1212170 h 3562642"/>
                  <a:gd name="connsiteX166" fmla="*/ 15919 w 16726"/>
                  <a:gd name="connsiteY166" fmla="*/ 1245622 h 3562642"/>
                  <a:gd name="connsiteX167" fmla="*/ 7556 w 16726"/>
                  <a:gd name="connsiteY167" fmla="*/ 1253985 h 3562642"/>
                  <a:gd name="connsiteX168" fmla="*/ 7556 w 16726"/>
                  <a:gd name="connsiteY168" fmla="*/ 1153629 h 3562642"/>
                  <a:gd name="connsiteX169" fmla="*/ -807 w 16726"/>
                  <a:gd name="connsiteY169" fmla="*/ 1145266 h 3562642"/>
                  <a:gd name="connsiteX170" fmla="*/ -807 w 16726"/>
                  <a:gd name="connsiteY170" fmla="*/ 1111814 h 3562642"/>
                  <a:gd name="connsiteX171" fmla="*/ 7556 w 16726"/>
                  <a:gd name="connsiteY171" fmla="*/ 1103451 h 3562642"/>
                  <a:gd name="connsiteX172" fmla="*/ 15919 w 16726"/>
                  <a:gd name="connsiteY172" fmla="*/ 1111814 h 3562642"/>
                  <a:gd name="connsiteX173" fmla="*/ 15919 w 16726"/>
                  <a:gd name="connsiteY173" fmla="*/ 1145266 h 3562642"/>
                  <a:gd name="connsiteX174" fmla="*/ 7556 w 16726"/>
                  <a:gd name="connsiteY174" fmla="*/ 1153629 h 3562642"/>
                  <a:gd name="connsiteX175" fmla="*/ 7556 w 16726"/>
                  <a:gd name="connsiteY175" fmla="*/ 1053273 h 3562642"/>
                  <a:gd name="connsiteX176" fmla="*/ -807 w 16726"/>
                  <a:gd name="connsiteY176" fmla="*/ 1044910 h 3562642"/>
                  <a:gd name="connsiteX177" fmla="*/ -807 w 16726"/>
                  <a:gd name="connsiteY177" fmla="*/ 1011457 h 3562642"/>
                  <a:gd name="connsiteX178" fmla="*/ 7556 w 16726"/>
                  <a:gd name="connsiteY178" fmla="*/ 1003094 h 3562642"/>
                  <a:gd name="connsiteX179" fmla="*/ 15919 w 16726"/>
                  <a:gd name="connsiteY179" fmla="*/ 1011457 h 3562642"/>
                  <a:gd name="connsiteX180" fmla="*/ 15919 w 16726"/>
                  <a:gd name="connsiteY180" fmla="*/ 1044910 h 3562642"/>
                  <a:gd name="connsiteX181" fmla="*/ 7556 w 16726"/>
                  <a:gd name="connsiteY181" fmla="*/ 1053273 h 3562642"/>
                  <a:gd name="connsiteX182" fmla="*/ 7556 w 16726"/>
                  <a:gd name="connsiteY182" fmla="*/ 952916 h 3562642"/>
                  <a:gd name="connsiteX183" fmla="*/ -807 w 16726"/>
                  <a:gd name="connsiteY183" fmla="*/ 944553 h 3562642"/>
                  <a:gd name="connsiteX184" fmla="*/ -807 w 16726"/>
                  <a:gd name="connsiteY184" fmla="*/ 911101 h 3562642"/>
                  <a:gd name="connsiteX185" fmla="*/ 7556 w 16726"/>
                  <a:gd name="connsiteY185" fmla="*/ 902738 h 3562642"/>
                  <a:gd name="connsiteX186" fmla="*/ 15919 w 16726"/>
                  <a:gd name="connsiteY186" fmla="*/ 911101 h 3562642"/>
                  <a:gd name="connsiteX187" fmla="*/ 15919 w 16726"/>
                  <a:gd name="connsiteY187" fmla="*/ 944553 h 3562642"/>
                  <a:gd name="connsiteX188" fmla="*/ 7556 w 16726"/>
                  <a:gd name="connsiteY188" fmla="*/ 952916 h 3562642"/>
                  <a:gd name="connsiteX189" fmla="*/ 7556 w 16726"/>
                  <a:gd name="connsiteY189" fmla="*/ 852560 h 3562642"/>
                  <a:gd name="connsiteX190" fmla="*/ -807 w 16726"/>
                  <a:gd name="connsiteY190" fmla="*/ 844197 h 3562642"/>
                  <a:gd name="connsiteX191" fmla="*/ -807 w 16726"/>
                  <a:gd name="connsiteY191" fmla="*/ 810745 h 3562642"/>
                  <a:gd name="connsiteX192" fmla="*/ 7556 w 16726"/>
                  <a:gd name="connsiteY192" fmla="*/ 802382 h 3562642"/>
                  <a:gd name="connsiteX193" fmla="*/ 15919 w 16726"/>
                  <a:gd name="connsiteY193" fmla="*/ 810745 h 3562642"/>
                  <a:gd name="connsiteX194" fmla="*/ 15919 w 16726"/>
                  <a:gd name="connsiteY194" fmla="*/ 844197 h 3562642"/>
                  <a:gd name="connsiteX195" fmla="*/ 7556 w 16726"/>
                  <a:gd name="connsiteY195" fmla="*/ 852560 h 3562642"/>
                  <a:gd name="connsiteX196" fmla="*/ 7556 w 16726"/>
                  <a:gd name="connsiteY196" fmla="*/ 752204 h 3562642"/>
                  <a:gd name="connsiteX197" fmla="*/ -807 w 16726"/>
                  <a:gd name="connsiteY197" fmla="*/ 743841 h 3562642"/>
                  <a:gd name="connsiteX198" fmla="*/ -807 w 16726"/>
                  <a:gd name="connsiteY198" fmla="*/ 710389 h 3562642"/>
                  <a:gd name="connsiteX199" fmla="*/ 7556 w 16726"/>
                  <a:gd name="connsiteY199" fmla="*/ 702026 h 3562642"/>
                  <a:gd name="connsiteX200" fmla="*/ 15919 w 16726"/>
                  <a:gd name="connsiteY200" fmla="*/ 710389 h 3562642"/>
                  <a:gd name="connsiteX201" fmla="*/ 15919 w 16726"/>
                  <a:gd name="connsiteY201" fmla="*/ 743841 h 3562642"/>
                  <a:gd name="connsiteX202" fmla="*/ 7556 w 16726"/>
                  <a:gd name="connsiteY202" fmla="*/ 752204 h 3562642"/>
                  <a:gd name="connsiteX203" fmla="*/ 7556 w 16726"/>
                  <a:gd name="connsiteY203" fmla="*/ 651848 h 3562642"/>
                  <a:gd name="connsiteX204" fmla="*/ -807 w 16726"/>
                  <a:gd name="connsiteY204" fmla="*/ 643485 h 3562642"/>
                  <a:gd name="connsiteX205" fmla="*/ -807 w 16726"/>
                  <a:gd name="connsiteY205" fmla="*/ 610033 h 3562642"/>
                  <a:gd name="connsiteX206" fmla="*/ 7556 w 16726"/>
                  <a:gd name="connsiteY206" fmla="*/ 601670 h 3562642"/>
                  <a:gd name="connsiteX207" fmla="*/ 15919 w 16726"/>
                  <a:gd name="connsiteY207" fmla="*/ 610033 h 3562642"/>
                  <a:gd name="connsiteX208" fmla="*/ 15919 w 16726"/>
                  <a:gd name="connsiteY208" fmla="*/ 643485 h 3562642"/>
                  <a:gd name="connsiteX209" fmla="*/ 7556 w 16726"/>
                  <a:gd name="connsiteY209" fmla="*/ 651848 h 3562642"/>
                  <a:gd name="connsiteX210" fmla="*/ 7556 w 16726"/>
                  <a:gd name="connsiteY210" fmla="*/ 551492 h 3562642"/>
                  <a:gd name="connsiteX211" fmla="*/ -807 w 16726"/>
                  <a:gd name="connsiteY211" fmla="*/ 543129 h 3562642"/>
                  <a:gd name="connsiteX212" fmla="*/ -807 w 16726"/>
                  <a:gd name="connsiteY212" fmla="*/ 509677 h 3562642"/>
                  <a:gd name="connsiteX213" fmla="*/ 7556 w 16726"/>
                  <a:gd name="connsiteY213" fmla="*/ 501314 h 3562642"/>
                  <a:gd name="connsiteX214" fmla="*/ 15919 w 16726"/>
                  <a:gd name="connsiteY214" fmla="*/ 509677 h 3562642"/>
                  <a:gd name="connsiteX215" fmla="*/ 15919 w 16726"/>
                  <a:gd name="connsiteY215" fmla="*/ 543129 h 3562642"/>
                  <a:gd name="connsiteX216" fmla="*/ 7556 w 16726"/>
                  <a:gd name="connsiteY216" fmla="*/ 551492 h 3562642"/>
                  <a:gd name="connsiteX217" fmla="*/ 7556 w 16726"/>
                  <a:gd name="connsiteY217" fmla="*/ 451136 h 3562642"/>
                  <a:gd name="connsiteX218" fmla="*/ -807 w 16726"/>
                  <a:gd name="connsiteY218" fmla="*/ 442773 h 3562642"/>
                  <a:gd name="connsiteX219" fmla="*/ -807 w 16726"/>
                  <a:gd name="connsiteY219" fmla="*/ 409321 h 3562642"/>
                  <a:gd name="connsiteX220" fmla="*/ 7556 w 16726"/>
                  <a:gd name="connsiteY220" fmla="*/ 400958 h 3562642"/>
                  <a:gd name="connsiteX221" fmla="*/ 15919 w 16726"/>
                  <a:gd name="connsiteY221" fmla="*/ 409321 h 3562642"/>
                  <a:gd name="connsiteX222" fmla="*/ 15919 w 16726"/>
                  <a:gd name="connsiteY222" fmla="*/ 442773 h 3562642"/>
                  <a:gd name="connsiteX223" fmla="*/ 7556 w 16726"/>
                  <a:gd name="connsiteY223" fmla="*/ 451136 h 3562642"/>
                  <a:gd name="connsiteX224" fmla="*/ 7556 w 16726"/>
                  <a:gd name="connsiteY224" fmla="*/ 350780 h 3562642"/>
                  <a:gd name="connsiteX225" fmla="*/ -807 w 16726"/>
                  <a:gd name="connsiteY225" fmla="*/ 342417 h 3562642"/>
                  <a:gd name="connsiteX226" fmla="*/ -807 w 16726"/>
                  <a:gd name="connsiteY226" fmla="*/ 308965 h 3562642"/>
                  <a:gd name="connsiteX227" fmla="*/ 7556 w 16726"/>
                  <a:gd name="connsiteY227" fmla="*/ 300602 h 3562642"/>
                  <a:gd name="connsiteX228" fmla="*/ 15919 w 16726"/>
                  <a:gd name="connsiteY228" fmla="*/ 308965 h 3562642"/>
                  <a:gd name="connsiteX229" fmla="*/ 15919 w 16726"/>
                  <a:gd name="connsiteY229" fmla="*/ 342417 h 3562642"/>
                  <a:gd name="connsiteX230" fmla="*/ 7556 w 16726"/>
                  <a:gd name="connsiteY230" fmla="*/ 350780 h 3562642"/>
                  <a:gd name="connsiteX231" fmla="*/ 7556 w 16726"/>
                  <a:gd name="connsiteY231" fmla="*/ 250424 h 3562642"/>
                  <a:gd name="connsiteX232" fmla="*/ -807 w 16726"/>
                  <a:gd name="connsiteY232" fmla="*/ 242060 h 3562642"/>
                  <a:gd name="connsiteX233" fmla="*/ -807 w 16726"/>
                  <a:gd name="connsiteY233" fmla="*/ 208608 h 3562642"/>
                  <a:gd name="connsiteX234" fmla="*/ 7556 w 16726"/>
                  <a:gd name="connsiteY234" fmla="*/ 200245 h 3562642"/>
                  <a:gd name="connsiteX235" fmla="*/ 15919 w 16726"/>
                  <a:gd name="connsiteY235" fmla="*/ 208608 h 3562642"/>
                  <a:gd name="connsiteX236" fmla="*/ 15919 w 16726"/>
                  <a:gd name="connsiteY236" fmla="*/ 242060 h 3562642"/>
                  <a:gd name="connsiteX237" fmla="*/ 7556 w 16726"/>
                  <a:gd name="connsiteY237" fmla="*/ 250424 h 3562642"/>
                  <a:gd name="connsiteX238" fmla="*/ 7556 w 16726"/>
                  <a:gd name="connsiteY238" fmla="*/ 150067 h 3562642"/>
                  <a:gd name="connsiteX239" fmla="*/ -807 w 16726"/>
                  <a:gd name="connsiteY239" fmla="*/ 141704 h 3562642"/>
                  <a:gd name="connsiteX240" fmla="*/ -807 w 16726"/>
                  <a:gd name="connsiteY240" fmla="*/ 108252 h 3562642"/>
                  <a:gd name="connsiteX241" fmla="*/ 7556 w 16726"/>
                  <a:gd name="connsiteY241" fmla="*/ 99889 h 3562642"/>
                  <a:gd name="connsiteX242" fmla="*/ 15919 w 16726"/>
                  <a:gd name="connsiteY242" fmla="*/ 108252 h 3562642"/>
                  <a:gd name="connsiteX243" fmla="*/ 15919 w 16726"/>
                  <a:gd name="connsiteY243" fmla="*/ 141704 h 3562642"/>
                  <a:gd name="connsiteX244" fmla="*/ 7556 w 16726"/>
                  <a:gd name="connsiteY244" fmla="*/ 150067 h 3562642"/>
                  <a:gd name="connsiteX245" fmla="*/ 7556 w 16726"/>
                  <a:gd name="connsiteY245" fmla="*/ 49711 h 3562642"/>
                  <a:gd name="connsiteX246" fmla="*/ -807 w 16726"/>
                  <a:gd name="connsiteY246" fmla="*/ 41348 h 3562642"/>
                  <a:gd name="connsiteX247" fmla="*/ -807 w 16726"/>
                  <a:gd name="connsiteY247" fmla="*/ 7896 h 3562642"/>
                  <a:gd name="connsiteX248" fmla="*/ 7556 w 16726"/>
                  <a:gd name="connsiteY248" fmla="*/ -467 h 3562642"/>
                  <a:gd name="connsiteX249" fmla="*/ 15919 w 16726"/>
                  <a:gd name="connsiteY249" fmla="*/ 7896 h 3562642"/>
                  <a:gd name="connsiteX250" fmla="*/ 15919 w 16726"/>
                  <a:gd name="connsiteY250" fmla="*/ 41348 h 3562642"/>
                  <a:gd name="connsiteX251" fmla="*/ 7556 w 16726"/>
                  <a:gd name="connsiteY251" fmla="*/ 49711 h 35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6726" h="3562642">
                    <a:moveTo>
                      <a:pt x="7556" y="3562176"/>
                    </a:moveTo>
                    <a:cubicBezTo>
                      <a:pt x="2928" y="3562176"/>
                      <a:pt x="-807" y="3558440"/>
                      <a:pt x="-807" y="3553813"/>
                    </a:cubicBezTo>
                    <a:lnTo>
                      <a:pt x="-807" y="3520361"/>
                    </a:lnTo>
                    <a:cubicBezTo>
                      <a:pt x="-807" y="3515733"/>
                      <a:pt x="2928" y="3511998"/>
                      <a:pt x="7556" y="3511998"/>
                    </a:cubicBezTo>
                    <a:cubicBezTo>
                      <a:pt x="12184" y="3511998"/>
                      <a:pt x="15919" y="3515733"/>
                      <a:pt x="15919" y="3520361"/>
                    </a:cubicBezTo>
                    <a:lnTo>
                      <a:pt x="15919" y="3553813"/>
                    </a:lnTo>
                    <a:cubicBezTo>
                      <a:pt x="15919" y="3558440"/>
                      <a:pt x="12184" y="3562176"/>
                      <a:pt x="7556" y="3562176"/>
                    </a:cubicBezTo>
                    <a:close/>
                    <a:moveTo>
                      <a:pt x="7556" y="3461820"/>
                    </a:moveTo>
                    <a:cubicBezTo>
                      <a:pt x="2928" y="3461820"/>
                      <a:pt x="-807" y="3458084"/>
                      <a:pt x="-807" y="3453457"/>
                    </a:cubicBezTo>
                    <a:lnTo>
                      <a:pt x="-807" y="3420005"/>
                    </a:lnTo>
                    <a:cubicBezTo>
                      <a:pt x="-807" y="3415377"/>
                      <a:pt x="2928" y="3411642"/>
                      <a:pt x="7556" y="3411642"/>
                    </a:cubicBezTo>
                    <a:cubicBezTo>
                      <a:pt x="12184" y="3411642"/>
                      <a:pt x="15919" y="3415377"/>
                      <a:pt x="15919" y="3420005"/>
                    </a:cubicBezTo>
                    <a:lnTo>
                      <a:pt x="15919" y="3453457"/>
                    </a:lnTo>
                    <a:cubicBezTo>
                      <a:pt x="15919" y="3458084"/>
                      <a:pt x="12184" y="3461820"/>
                      <a:pt x="7556" y="3461820"/>
                    </a:cubicBezTo>
                    <a:close/>
                    <a:moveTo>
                      <a:pt x="7556" y="3361463"/>
                    </a:moveTo>
                    <a:cubicBezTo>
                      <a:pt x="2928" y="3361463"/>
                      <a:pt x="-807" y="3357728"/>
                      <a:pt x="-807" y="3353100"/>
                    </a:cubicBezTo>
                    <a:lnTo>
                      <a:pt x="-807" y="3319648"/>
                    </a:lnTo>
                    <a:cubicBezTo>
                      <a:pt x="-807" y="3315020"/>
                      <a:pt x="2928" y="3311285"/>
                      <a:pt x="7556" y="3311285"/>
                    </a:cubicBezTo>
                    <a:cubicBezTo>
                      <a:pt x="12184" y="3311285"/>
                      <a:pt x="15919" y="3315020"/>
                      <a:pt x="15919" y="3319648"/>
                    </a:cubicBezTo>
                    <a:lnTo>
                      <a:pt x="15919" y="3353100"/>
                    </a:lnTo>
                    <a:cubicBezTo>
                      <a:pt x="15919" y="3357728"/>
                      <a:pt x="12184" y="3361463"/>
                      <a:pt x="7556" y="3361463"/>
                    </a:cubicBezTo>
                    <a:close/>
                    <a:moveTo>
                      <a:pt x="7556" y="3261107"/>
                    </a:moveTo>
                    <a:cubicBezTo>
                      <a:pt x="2928" y="3261107"/>
                      <a:pt x="-807" y="3257372"/>
                      <a:pt x="-807" y="3252744"/>
                    </a:cubicBezTo>
                    <a:lnTo>
                      <a:pt x="-807" y="3219292"/>
                    </a:lnTo>
                    <a:cubicBezTo>
                      <a:pt x="-807" y="3214664"/>
                      <a:pt x="2928" y="3210929"/>
                      <a:pt x="7556" y="3210929"/>
                    </a:cubicBezTo>
                    <a:cubicBezTo>
                      <a:pt x="12184" y="3210929"/>
                      <a:pt x="15919" y="3214664"/>
                      <a:pt x="15919" y="3219292"/>
                    </a:cubicBezTo>
                    <a:lnTo>
                      <a:pt x="15919" y="3252744"/>
                    </a:lnTo>
                    <a:cubicBezTo>
                      <a:pt x="15919" y="3257372"/>
                      <a:pt x="12184" y="3261107"/>
                      <a:pt x="7556" y="3261107"/>
                    </a:cubicBezTo>
                    <a:close/>
                    <a:moveTo>
                      <a:pt x="7556" y="3160751"/>
                    </a:moveTo>
                    <a:cubicBezTo>
                      <a:pt x="2928" y="3160751"/>
                      <a:pt x="-807" y="3157015"/>
                      <a:pt x="-807" y="3152388"/>
                    </a:cubicBezTo>
                    <a:lnTo>
                      <a:pt x="-807" y="3118936"/>
                    </a:lnTo>
                    <a:cubicBezTo>
                      <a:pt x="-807" y="3114308"/>
                      <a:pt x="2928" y="3110573"/>
                      <a:pt x="7556" y="3110573"/>
                    </a:cubicBezTo>
                    <a:cubicBezTo>
                      <a:pt x="12184" y="3110573"/>
                      <a:pt x="15919" y="3114308"/>
                      <a:pt x="15919" y="3118936"/>
                    </a:cubicBezTo>
                    <a:lnTo>
                      <a:pt x="15919" y="3152388"/>
                    </a:lnTo>
                    <a:cubicBezTo>
                      <a:pt x="15919" y="3157015"/>
                      <a:pt x="12184" y="3160751"/>
                      <a:pt x="7556" y="3160751"/>
                    </a:cubicBezTo>
                    <a:close/>
                    <a:moveTo>
                      <a:pt x="7556" y="3060395"/>
                    </a:moveTo>
                    <a:cubicBezTo>
                      <a:pt x="2928" y="3060395"/>
                      <a:pt x="-807" y="3056659"/>
                      <a:pt x="-807" y="3052032"/>
                    </a:cubicBezTo>
                    <a:lnTo>
                      <a:pt x="-807" y="3018580"/>
                    </a:lnTo>
                    <a:cubicBezTo>
                      <a:pt x="-807" y="3013952"/>
                      <a:pt x="2928" y="3010217"/>
                      <a:pt x="7556" y="3010217"/>
                    </a:cubicBezTo>
                    <a:cubicBezTo>
                      <a:pt x="12184" y="3010217"/>
                      <a:pt x="15919" y="3013952"/>
                      <a:pt x="15919" y="3018580"/>
                    </a:cubicBezTo>
                    <a:lnTo>
                      <a:pt x="15919" y="3052032"/>
                    </a:lnTo>
                    <a:cubicBezTo>
                      <a:pt x="15919" y="3056659"/>
                      <a:pt x="12184" y="3060395"/>
                      <a:pt x="7556" y="3060395"/>
                    </a:cubicBezTo>
                    <a:close/>
                    <a:moveTo>
                      <a:pt x="7556" y="2960039"/>
                    </a:moveTo>
                    <a:cubicBezTo>
                      <a:pt x="2928" y="2960039"/>
                      <a:pt x="-807" y="2956303"/>
                      <a:pt x="-807" y="2951676"/>
                    </a:cubicBezTo>
                    <a:lnTo>
                      <a:pt x="-807" y="2918224"/>
                    </a:lnTo>
                    <a:cubicBezTo>
                      <a:pt x="-807" y="2913596"/>
                      <a:pt x="2928" y="2909861"/>
                      <a:pt x="7556" y="2909861"/>
                    </a:cubicBezTo>
                    <a:cubicBezTo>
                      <a:pt x="12184" y="2909861"/>
                      <a:pt x="15919" y="2913596"/>
                      <a:pt x="15919" y="2918224"/>
                    </a:cubicBezTo>
                    <a:lnTo>
                      <a:pt x="15919" y="2951676"/>
                    </a:lnTo>
                    <a:cubicBezTo>
                      <a:pt x="15919" y="2956303"/>
                      <a:pt x="12184" y="2960039"/>
                      <a:pt x="7556" y="2960039"/>
                    </a:cubicBezTo>
                    <a:close/>
                    <a:moveTo>
                      <a:pt x="7556" y="2859683"/>
                    </a:moveTo>
                    <a:cubicBezTo>
                      <a:pt x="2928" y="2859683"/>
                      <a:pt x="-807" y="2855947"/>
                      <a:pt x="-807" y="2851320"/>
                    </a:cubicBezTo>
                    <a:lnTo>
                      <a:pt x="-807" y="2817868"/>
                    </a:lnTo>
                    <a:cubicBezTo>
                      <a:pt x="-807" y="2813240"/>
                      <a:pt x="2928" y="2809505"/>
                      <a:pt x="7556" y="2809505"/>
                    </a:cubicBezTo>
                    <a:cubicBezTo>
                      <a:pt x="12184" y="2809505"/>
                      <a:pt x="15919" y="2813240"/>
                      <a:pt x="15919" y="2817868"/>
                    </a:cubicBezTo>
                    <a:lnTo>
                      <a:pt x="15919" y="2851320"/>
                    </a:lnTo>
                    <a:cubicBezTo>
                      <a:pt x="15919" y="2855947"/>
                      <a:pt x="12184" y="2859683"/>
                      <a:pt x="7556" y="2859683"/>
                    </a:cubicBezTo>
                    <a:close/>
                    <a:moveTo>
                      <a:pt x="7556" y="2759327"/>
                    </a:moveTo>
                    <a:cubicBezTo>
                      <a:pt x="2928" y="2759327"/>
                      <a:pt x="-807" y="2755591"/>
                      <a:pt x="-807" y="2750964"/>
                    </a:cubicBezTo>
                    <a:lnTo>
                      <a:pt x="-807" y="2717512"/>
                    </a:lnTo>
                    <a:cubicBezTo>
                      <a:pt x="-807" y="2712884"/>
                      <a:pt x="2928" y="2709149"/>
                      <a:pt x="7556" y="2709149"/>
                    </a:cubicBezTo>
                    <a:cubicBezTo>
                      <a:pt x="12184" y="2709149"/>
                      <a:pt x="15919" y="2712884"/>
                      <a:pt x="15919" y="2717512"/>
                    </a:cubicBezTo>
                    <a:lnTo>
                      <a:pt x="15919" y="2750964"/>
                    </a:lnTo>
                    <a:cubicBezTo>
                      <a:pt x="15919" y="2755591"/>
                      <a:pt x="12184" y="2759327"/>
                      <a:pt x="7556" y="2759327"/>
                    </a:cubicBezTo>
                    <a:close/>
                    <a:moveTo>
                      <a:pt x="7556" y="2658971"/>
                    </a:moveTo>
                    <a:cubicBezTo>
                      <a:pt x="2928" y="2658971"/>
                      <a:pt x="-807" y="2655235"/>
                      <a:pt x="-807" y="2650608"/>
                    </a:cubicBezTo>
                    <a:lnTo>
                      <a:pt x="-807" y="2617156"/>
                    </a:lnTo>
                    <a:cubicBezTo>
                      <a:pt x="-807" y="2612539"/>
                      <a:pt x="2928" y="2608793"/>
                      <a:pt x="7556" y="2608793"/>
                    </a:cubicBezTo>
                    <a:cubicBezTo>
                      <a:pt x="12184" y="2608793"/>
                      <a:pt x="15919" y="2612539"/>
                      <a:pt x="15919" y="2617156"/>
                    </a:cubicBezTo>
                    <a:lnTo>
                      <a:pt x="15919" y="2650608"/>
                    </a:lnTo>
                    <a:cubicBezTo>
                      <a:pt x="15919" y="2655235"/>
                      <a:pt x="12184" y="2658971"/>
                      <a:pt x="7556" y="2658971"/>
                    </a:cubicBezTo>
                    <a:close/>
                    <a:moveTo>
                      <a:pt x="7556" y="2558614"/>
                    </a:moveTo>
                    <a:cubicBezTo>
                      <a:pt x="2928" y="2558614"/>
                      <a:pt x="-807" y="2554868"/>
                      <a:pt x="-807" y="2550251"/>
                    </a:cubicBezTo>
                    <a:lnTo>
                      <a:pt x="-807" y="2516799"/>
                    </a:lnTo>
                    <a:cubicBezTo>
                      <a:pt x="-807" y="2512183"/>
                      <a:pt x="2928" y="2508436"/>
                      <a:pt x="7556" y="2508436"/>
                    </a:cubicBezTo>
                    <a:cubicBezTo>
                      <a:pt x="12184" y="2508436"/>
                      <a:pt x="15919" y="2512183"/>
                      <a:pt x="15919" y="2516799"/>
                    </a:cubicBezTo>
                    <a:lnTo>
                      <a:pt x="15919" y="2550251"/>
                    </a:lnTo>
                    <a:cubicBezTo>
                      <a:pt x="15919" y="2554868"/>
                      <a:pt x="12184" y="2558614"/>
                      <a:pt x="7556" y="2558614"/>
                    </a:cubicBezTo>
                    <a:close/>
                    <a:moveTo>
                      <a:pt x="7556" y="2458258"/>
                    </a:moveTo>
                    <a:cubicBezTo>
                      <a:pt x="2928" y="2458258"/>
                      <a:pt x="-807" y="2454512"/>
                      <a:pt x="-807" y="2449895"/>
                    </a:cubicBezTo>
                    <a:lnTo>
                      <a:pt x="-807" y="2416443"/>
                    </a:lnTo>
                    <a:cubicBezTo>
                      <a:pt x="-807" y="2411827"/>
                      <a:pt x="2928" y="2408080"/>
                      <a:pt x="7556" y="2408080"/>
                    </a:cubicBezTo>
                    <a:cubicBezTo>
                      <a:pt x="12184" y="2408080"/>
                      <a:pt x="15919" y="2411827"/>
                      <a:pt x="15919" y="2416443"/>
                    </a:cubicBezTo>
                    <a:lnTo>
                      <a:pt x="15919" y="2449895"/>
                    </a:lnTo>
                    <a:cubicBezTo>
                      <a:pt x="15919" y="2454512"/>
                      <a:pt x="12184" y="2458258"/>
                      <a:pt x="7556" y="2458258"/>
                    </a:cubicBezTo>
                    <a:close/>
                    <a:moveTo>
                      <a:pt x="7556" y="2357902"/>
                    </a:moveTo>
                    <a:cubicBezTo>
                      <a:pt x="2928" y="2357902"/>
                      <a:pt x="-807" y="2354156"/>
                      <a:pt x="-807" y="2349539"/>
                    </a:cubicBezTo>
                    <a:lnTo>
                      <a:pt x="-807" y="2316087"/>
                    </a:lnTo>
                    <a:cubicBezTo>
                      <a:pt x="-807" y="2311471"/>
                      <a:pt x="2928" y="2307724"/>
                      <a:pt x="7556" y="2307724"/>
                    </a:cubicBezTo>
                    <a:cubicBezTo>
                      <a:pt x="12184" y="2307724"/>
                      <a:pt x="15919" y="2311471"/>
                      <a:pt x="15919" y="2316087"/>
                    </a:cubicBezTo>
                    <a:lnTo>
                      <a:pt x="15919" y="2349539"/>
                    </a:lnTo>
                    <a:cubicBezTo>
                      <a:pt x="15919" y="2354156"/>
                      <a:pt x="12184" y="2357902"/>
                      <a:pt x="7556" y="2357902"/>
                    </a:cubicBezTo>
                    <a:close/>
                    <a:moveTo>
                      <a:pt x="7556" y="2257546"/>
                    </a:moveTo>
                    <a:cubicBezTo>
                      <a:pt x="2928" y="2257546"/>
                      <a:pt x="-807" y="2253799"/>
                      <a:pt x="-807" y="2249183"/>
                    </a:cubicBezTo>
                    <a:lnTo>
                      <a:pt x="-807" y="2215731"/>
                    </a:lnTo>
                    <a:cubicBezTo>
                      <a:pt x="-807" y="2211115"/>
                      <a:pt x="2928" y="2207368"/>
                      <a:pt x="7556" y="2207368"/>
                    </a:cubicBezTo>
                    <a:cubicBezTo>
                      <a:pt x="12184" y="2207368"/>
                      <a:pt x="15919" y="2211115"/>
                      <a:pt x="15919" y="2215731"/>
                    </a:cubicBezTo>
                    <a:lnTo>
                      <a:pt x="15919" y="2249183"/>
                    </a:lnTo>
                    <a:cubicBezTo>
                      <a:pt x="15919" y="2253799"/>
                      <a:pt x="12184" y="2257546"/>
                      <a:pt x="7556" y="2257546"/>
                    </a:cubicBezTo>
                    <a:close/>
                    <a:moveTo>
                      <a:pt x="7556" y="2157190"/>
                    </a:moveTo>
                    <a:cubicBezTo>
                      <a:pt x="2928" y="2157190"/>
                      <a:pt x="-807" y="2153443"/>
                      <a:pt x="-807" y="2148827"/>
                    </a:cubicBezTo>
                    <a:lnTo>
                      <a:pt x="-807" y="2115375"/>
                    </a:lnTo>
                    <a:cubicBezTo>
                      <a:pt x="-807" y="2110759"/>
                      <a:pt x="2928" y="2107012"/>
                      <a:pt x="7556" y="2107012"/>
                    </a:cubicBezTo>
                    <a:cubicBezTo>
                      <a:pt x="12184" y="2107012"/>
                      <a:pt x="15919" y="2110759"/>
                      <a:pt x="15919" y="2115375"/>
                    </a:cubicBezTo>
                    <a:lnTo>
                      <a:pt x="15919" y="2148827"/>
                    </a:lnTo>
                    <a:cubicBezTo>
                      <a:pt x="15919" y="2153443"/>
                      <a:pt x="12184" y="2157190"/>
                      <a:pt x="7556" y="2157190"/>
                    </a:cubicBezTo>
                    <a:close/>
                    <a:moveTo>
                      <a:pt x="7556" y="2056834"/>
                    </a:moveTo>
                    <a:cubicBezTo>
                      <a:pt x="2928" y="2056834"/>
                      <a:pt x="-807" y="2053087"/>
                      <a:pt x="-807" y="2048471"/>
                    </a:cubicBezTo>
                    <a:lnTo>
                      <a:pt x="-807" y="2015019"/>
                    </a:lnTo>
                    <a:cubicBezTo>
                      <a:pt x="-807" y="2010402"/>
                      <a:pt x="2928" y="2006656"/>
                      <a:pt x="7556" y="2006656"/>
                    </a:cubicBezTo>
                    <a:cubicBezTo>
                      <a:pt x="12184" y="2006656"/>
                      <a:pt x="15919" y="2010402"/>
                      <a:pt x="15919" y="2015019"/>
                    </a:cubicBezTo>
                    <a:lnTo>
                      <a:pt x="15919" y="2048471"/>
                    </a:lnTo>
                    <a:cubicBezTo>
                      <a:pt x="15919" y="2053087"/>
                      <a:pt x="12184" y="2056834"/>
                      <a:pt x="7556" y="2056834"/>
                    </a:cubicBezTo>
                    <a:close/>
                    <a:moveTo>
                      <a:pt x="7556" y="1956478"/>
                    </a:moveTo>
                    <a:cubicBezTo>
                      <a:pt x="2928" y="1956478"/>
                      <a:pt x="-807" y="1952731"/>
                      <a:pt x="-807" y="1948115"/>
                    </a:cubicBezTo>
                    <a:lnTo>
                      <a:pt x="-807" y="1914663"/>
                    </a:lnTo>
                    <a:cubicBezTo>
                      <a:pt x="-807" y="1910046"/>
                      <a:pt x="2928" y="1906300"/>
                      <a:pt x="7556" y="1906300"/>
                    </a:cubicBezTo>
                    <a:cubicBezTo>
                      <a:pt x="12184" y="1906300"/>
                      <a:pt x="15919" y="1910046"/>
                      <a:pt x="15919" y="1914663"/>
                    </a:cubicBezTo>
                    <a:lnTo>
                      <a:pt x="15919" y="1948115"/>
                    </a:lnTo>
                    <a:cubicBezTo>
                      <a:pt x="15919" y="1952731"/>
                      <a:pt x="12184" y="1956478"/>
                      <a:pt x="7556" y="1956478"/>
                    </a:cubicBezTo>
                    <a:close/>
                    <a:moveTo>
                      <a:pt x="7556" y="1856122"/>
                    </a:moveTo>
                    <a:cubicBezTo>
                      <a:pt x="2928" y="1856122"/>
                      <a:pt x="-807" y="1852375"/>
                      <a:pt x="-807" y="1847759"/>
                    </a:cubicBezTo>
                    <a:lnTo>
                      <a:pt x="-807" y="1814306"/>
                    </a:lnTo>
                    <a:cubicBezTo>
                      <a:pt x="-807" y="1809690"/>
                      <a:pt x="2928" y="1805943"/>
                      <a:pt x="7556" y="1805943"/>
                    </a:cubicBezTo>
                    <a:cubicBezTo>
                      <a:pt x="12184" y="1805943"/>
                      <a:pt x="15919" y="1809690"/>
                      <a:pt x="15919" y="1814306"/>
                    </a:cubicBezTo>
                    <a:lnTo>
                      <a:pt x="15919" y="1847759"/>
                    </a:lnTo>
                    <a:cubicBezTo>
                      <a:pt x="15919" y="1852375"/>
                      <a:pt x="12184" y="1856122"/>
                      <a:pt x="7556" y="1856122"/>
                    </a:cubicBezTo>
                    <a:close/>
                    <a:moveTo>
                      <a:pt x="7556" y="1755765"/>
                    </a:moveTo>
                    <a:cubicBezTo>
                      <a:pt x="2928" y="1755765"/>
                      <a:pt x="-807" y="1752019"/>
                      <a:pt x="-807" y="1747402"/>
                    </a:cubicBezTo>
                    <a:lnTo>
                      <a:pt x="-807" y="1713950"/>
                    </a:lnTo>
                    <a:cubicBezTo>
                      <a:pt x="-807" y="1709334"/>
                      <a:pt x="2928" y="1705587"/>
                      <a:pt x="7556" y="1705587"/>
                    </a:cubicBezTo>
                    <a:cubicBezTo>
                      <a:pt x="12184" y="1705587"/>
                      <a:pt x="15919" y="1709334"/>
                      <a:pt x="15919" y="1713950"/>
                    </a:cubicBezTo>
                    <a:lnTo>
                      <a:pt x="15919" y="1747402"/>
                    </a:lnTo>
                    <a:cubicBezTo>
                      <a:pt x="15919" y="1752019"/>
                      <a:pt x="12184" y="1755765"/>
                      <a:pt x="7556" y="1755765"/>
                    </a:cubicBezTo>
                    <a:close/>
                    <a:moveTo>
                      <a:pt x="7556" y="1655409"/>
                    </a:moveTo>
                    <a:cubicBezTo>
                      <a:pt x="2928" y="1655409"/>
                      <a:pt x="-807" y="1651663"/>
                      <a:pt x="-807" y="1647046"/>
                    </a:cubicBezTo>
                    <a:lnTo>
                      <a:pt x="-807" y="1613594"/>
                    </a:lnTo>
                    <a:cubicBezTo>
                      <a:pt x="-807" y="1608978"/>
                      <a:pt x="2928" y="1605231"/>
                      <a:pt x="7556" y="1605231"/>
                    </a:cubicBezTo>
                    <a:cubicBezTo>
                      <a:pt x="12184" y="1605231"/>
                      <a:pt x="15919" y="1608978"/>
                      <a:pt x="15919" y="1613594"/>
                    </a:cubicBezTo>
                    <a:lnTo>
                      <a:pt x="15919" y="1647046"/>
                    </a:lnTo>
                    <a:cubicBezTo>
                      <a:pt x="15919" y="1651663"/>
                      <a:pt x="12184" y="1655409"/>
                      <a:pt x="7556" y="1655409"/>
                    </a:cubicBezTo>
                    <a:close/>
                    <a:moveTo>
                      <a:pt x="7556" y="1555053"/>
                    </a:moveTo>
                    <a:cubicBezTo>
                      <a:pt x="2928" y="1555053"/>
                      <a:pt x="-807" y="1551307"/>
                      <a:pt x="-807" y="1546690"/>
                    </a:cubicBezTo>
                    <a:lnTo>
                      <a:pt x="-807" y="1513238"/>
                    </a:lnTo>
                    <a:cubicBezTo>
                      <a:pt x="-807" y="1508622"/>
                      <a:pt x="2928" y="1504875"/>
                      <a:pt x="7556" y="1504875"/>
                    </a:cubicBezTo>
                    <a:cubicBezTo>
                      <a:pt x="12184" y="1504875"/>
                      <a:pt x="15919" y="1508622"/>
                      <a:pt x="15919" y="1513238"/>
                    </a:cubicBezTo>
                    <a:lnTo>
                      <a:pt x="15919" y="1546690"/>
                    </a:lnTo>
                    <a:cubicBezTo>
                      <a:pt x="15919" y="1551307"/>
                      <a:pt x="12184" y="1555053"/>
                      <a:pt x="7556" y="1555053"/>
                    </a:cubicBezTo>
                    <a:close/>
                    <a:moveTo>
                      <a:pt x="7556" y="1454697"/>
                    </a:moveTo>
                    <a:cubicBezTo>
                      <a:pt x="2928" y="1454697"/>
                      <a:pt x="-807" y="1450950"/>
                      <a:pt x="-807" y="1446334"/>
                    </a:cubicBezTo>
                    <a:lnTo>
                      <a:pt x="-807" y="1412882"/>
                    </a:lnTo>
                    <a:cubicBezTo>
                      <a:pt x="-807" y="1408266"/>
                      <a:pt x="2928" y="1404519"/>
                      <a:pt x="7556" y="1404519"/>
                    </a:cubicBezTo>
                    <a:cubicBezTo>
                      <a:pt x="12184" y="1404519"/>
                      <a:pt x="15919" y="1408266"/>
                      <a:pt x="15919" y="1412882"/>
                    </a:cubicBezTo>
                    <a:lnTo>
                      <a:pt x="15919" y="1446334"/>
                    </a:lnTo>
                    <a:cubicBezTo>
                      <a:pt x="15919" y="1450950"/>
                      <a:pt x="12184" y="1454697"/>
                      <a:pt x="7556" y="1454697"/>
                    </a:cubicBezTo>
                    <a:close/>
                    <a:moveTo>
                      <a:pt x="7556" y="1354341"/>
                    </a:moveTo>
                    <a:cubicBezTo>
                      <a:pt x="2928" y="1354341"/>
                      <a:pt x="-807" y="1350594"/>
                      <a:pt x="-807" y="1345978"/>
                    </a:cubicBezTo>
                    <a:lnTo>
                      <a:pt x="-807" y="1312526"/>
                    </a:lnTo>
                    <a:cubicBezTo>
                      <a:pt x="-807" y="1307909"/>
                      <a:pt x="2928" y="1304163"/>
                      <a:pt x="7556" y="1304163"/>
                    </a:cubicBezTo>
                    <a:cubicBezTo>
                      <a:pt x="12184" y="1304163"/>
                      <a:pt x="15919" y="1307909"/>
                      <a:pt x="15919" y="1312526"/>
                    </a:cubicBezTo>
                    <a:lnTo>
                      <a:pt x="15919" y="1345978"/>
                    </a:lnTo>
                    <a:cubicBezTo>
                      <a:pt x="15919" y="1350594"/>
                      <a:pt x="12184" y="1354341"/>
                      <a:pt x="7556" y="1354341"/>
                    </a:cubicBezTo>
                    <a:close/>
                    <a:moveTo>
                      <a:pt x="7556" y="1253985"/>
                    </a:moveTo>
                    <a:cubicBezTo>
                      <a:pt x="2928" y="1253985"/>
                      <a:pt x="-807" y="1250238"/>
                      <a:pt x="-807" y="1245622"/>
                    </a:cubicBezTo>
                    <a:lnTo>
                      <a:pt x="-807" y="1212170"/>
                    </a:lnTo>
                    <a:cubicBezTo>
                      <a:pt x="-807" y="1207553"/>
                      <a:pt x="2928" y="1203807"/>
                      <a:pt x="7556" y="1203807"/>
                    </a:cubicBezTo>
                    <a:cubicBezTo>
                      <a:pt x="12184" y="1203807"/>
                      <a:pt x="15919" y="1207553"/>
                      <a:pt x="15919" y="1212170"/>
                    </a:cubicBezTo>
                    <a:lnTo>
                      <a:pt x="15919" y="1245622"/>
                    </a:lnTo>
                    <a:cubicBezTo>
                      <a:pt x="15919" y="1250238"/>
                      <a:pt x="12184" y="1253985"/>
                      <a:pt x="7556" y="1253985"/>
                    </a:cubicBezTo>
                    <a:close/>
                    <a:moveTo>
                      <a:pt x="7556" y="1153629"/>
                    </a:moveTo>
                    <a:cubicBezTo>
                      <a:pt x="2928" y="1153629"/>
                      <a:pt x="-807" y="1149882"/>
                      <a:pt x="-807" y="1145266"/>
                    </a:cubicBezTo>
                    <a:lnTo>
                      <a:pt x="-807" y="1111814"/>
                    </a:lnTo>
                    <a:cubicBezTo>
                      <a:pt x="-807" y="1107197"/>
                      <a:pt x="2928" y="1103451"/>
                      <a:pt x="7556" y="1103451"/>
                    </a:cubicBezTo>
                    <a:cubicBezTo>
                      <a:pt x="12184" y="1103451"/>
                      <a:pt x="15919" y="1107197"/>
                      <a:pt x="15919" y="1111814"/>
                    </a:cubicBezTo>
                    <a:lnTo>
                      <a:pt x="15919" y="1145266"/>
                    </a:lnTo>
                    <a:cubicBezTo>
                      <a:pt x="15919" y="1149882"/>
                      <a:pt x="12184" y="1153629"/>
                      <a:pt x="7556" y="1153629"/>
                    </a:cubicBezTo>
                    <a:close/>
                    <a:moveTo>
                      <a:pt x="7556" y="1053273"/>
                    </a:moveTo>
                    <a:cubicBezTo>
                      <a:pt x="2928" y="1053273"/>
                      <a:pt x="-807" y="1049526"/>
                      <a:pt x="-807" y="1044910"/>
                    </a:cubicBezTo>
                    <a:lnTo>
                      <a:pt x="-807" y="1011457"/>
                    </a:lnTo>
                    <a:cubicBezTo>
                      <a:pt x="-807" y="1006841"/>
                      <a:pt x="2928" y="1003094"/>
                      <a:pt x="7556" y="1003094"/>
                    </a:cubicBezTo>
                    <a:cubicBezTo>
                      <a:pt x="12184" y="1003094"/>
                      <a:pt x="15919" y="1006841"/>
                      <a:pt x="15919" y="1011457"/>
                    </a:cubicBezTo>
                    <a:lnTo>
                      <a:pt x="15919" y="1044910"/>
                    </a:lnTo>
                    <a:cubicBezTo>
                      <a:pt x="15919" y="1049526"/>
                      <a:pt x="12184" y="1053273"/>
                      <a:pt x="7556" y="1053273"/>
                    </a:cubicBezTo>
                    <a:close/>
                    <a:moveTo>
                      <a:pt x="7556" y="952916"/>
                    </a:moveTo>
                    <a:cubicBezTo>
                      <a:pt x="2928" y="952916"/>
                      <a:pt x="-807" y="949170"/>
                      <a:pt x="-807" y="944553"/>
                    </a:cubicBezTo>
                    <a:lnTo>
                      <a:pt x="-807" y="911101"/>
                    </a:lnTo>
                    <a:cubicBezTo>
                      <a:pt x="-807" y="906485"/>
                      <a:pt x="2928" y="902738"/>
                      <a:pt x="7556" y="902738"/>
                    </a:cubicBezTo>
                    <a:cubicBezTo>
                      <a:pt x="12184" y="902738"/>
                      <a:pt x="15919" y="906485"/>
                      <a:pt x="15919" y="911101"/>
                    </a:cubicBezTo>
                    <a:lnTo>
                      <a:pt x="15919" y="944553"/>
                    </a:lnTo>
                    <a:cubicBezTo>
                      <a:pt x="15919" y="949170"/>
                      <a:pt x="12184" y="952916"/>
                      <a:pt x="7556" y="952916"/>
                    </a:cubicBezTo>
                    <a:close/>
                    <a:moveTo>
                      <a:pt x="7556" y="852560"/>
                    </a:moveTo>
                    <a:cubicBezTo>
                      <a:pt x="2928" y="852560"/>
                      <a:pt x="-807" y="848814"/>
                      <a:pt x="-807" y="844197"/>
                    </a:cubicBezTo>
                    <a:lnTo>
                      <a:pt x="-807" y="810745"/>
                    </a:lnTo>
                    <a:cubicBezTo>
                      <a:pt x="-807" y="806129"/>
                      <a:pt x="2928" y="802382"/>
                      <a:pt x="7556" y="802382"/>
                    </a:cubicBezTo>
                    <a:cubicBezTo>
                      <a:pt x="12184" y="802382"/>
                      <a:pt x="15919" y="806129"/>
                      <a:pt x="15919" y="810745"/>
                    </a:cubicBezTo>
                    <a:lnTo>
                      <a:pt x="15919" y="844197"/>
                    </a:lnTo>
                    <a:cubicBezTo>
                      <a:pt x="15919" y="848814"/>
                      <a:pt x="12184" y="852560"/>
                      <a:pt x="7556" y="852560"/>
                    </a:cubicBezTo>
                    <a:close/>
                    <a:moveTo>
                      <a:pt x="7556" y="752204"/>
                    </a:moveTo>
                    <a:cubicBezTo>
                      <a:pt x="2928" y="752204"/>
                      <a:pt x="-807" y="748458"/>
                      <a:pt x="-807" y="743841"/>
                    </a:cubicBezTo>
                    <a:lnTo>
                      <a:pt x="-807" y="710389"/>
                    </a:lnTo>
                    <a:cubicBezTo>
                      <a:pt x="-807" y="705773"/>
                      <a:pt x="2928" y="702026"/>
                      <a:pt x="7556" y="702026"/>
                    </a:cubicBezTo>
                    <a:cubicBezTo>
                      <a:pt x="12184" y="702026"/>
                      <a:pt x="15919" y="705773"/>
                      <a:pt x="15919" y="710389"/>
                    </a:cubicBezTo>
                    <a:lnTo>
                      <a:pt x="15919" y="743841"/>
                    </a:lnTo>
                    <a:cubicBezTo>
                      <a:pt x="15919" y="748458"/>
                      <a:pt x="12184" y="752204"/>
                      <a:pt x="7556" y="752204"/>
                    </a:cubicBezTo>
                    <a:close/>
                    <a:moveTo>
                      <a:pt x="7556" y="651848"/>
                    </a:moveTo>
                    <a:cubicBezTo>
                      <a:pt x="2928" y="651848"/>
                      <a:pt x="-807" y="648101"/>
                      <a:pt x="-807" y="643485"/>
                    </a:cubicBezTo>
                    <a:lnTo>
                      <a:pt x="-807" y="610033"/>
                    </a:lnTo>
                    <a:cubicBezTo>
                      <a:pt x="-807" y="605417"/>
                      <a:pt x="2928" y="601670"/>
                      <a:pt x="7556" y="601670"/>
                    </a:cubicBezTo>
                    <a:cubicBezTo>
                      <a:pt x="12184" y="601670"/>
                      <a:pt x="15919" y="605417"/>
                      <a:pt x="15919" y="610033"/>
                    </a:cubicBezTo>
                    <a:lnTo>
                      <a:pt x="15919" y="643485"/>
                    </a:lnTo>
                    <a:cubicBezTo>
                      <a:pt x="15919" y="648101"/>
                      <a:pt x="12184" y="651848"/>
                      <a:pt x="7556" y="651848"/>
                    </a:cubicBezTo>
                    <a:close/>
                    <a:moveTo>
                      <a:pt x="7556" y="551492"/>
                    </a:moveTo>
                    <a:cubicBezTo>
                      <a:pt x="2928" y="551492"/>
                      <a:pt x="-807" y="547745"/>
                      <a:pt x="-807" y="543129"/>
                    </a:cubicBezTo>
                    <a:lnTo>
                      <a:pt x="-807" y="509677"/>
                    </a:lnTo>
                    <a:cubicBezTo>
                      <a:pt x="-807" y="505060"/>
                      <a:pt x="2928" y="501314"/>
                      <a:pt x="7556" y="501314"/>
                    </a:cubicBezTo>
                    <a:cubicBezTo>
                      <a:pt x="12184" y="501314"/>
                      <a:pt x="15919" y="505060"/>
                      <a:pt x="15919" y="509677"/>
                    </a:cubicBezTo>
                    <a:lnTo>
                      <a:pt x="15919" y="543129"/>
                    </a:lnTo>
                    <a:cubicBezTo>
                      <a:pt x="15919" y="547745"/>
                      <a:pt x="12184" y="551492"/>
                      <a:pt x="7556" y="551492"/>
                    </a:cubicBezTo>
                    <a:close/>
                    <a:moveTo>
                      <a:pt x="7556" y="451136"/>
                    </a:moveTo>
                    <a:cubicBezTo>
                      <a:pt x="2928" y="451136"/>
                      <a:pt x="-807" y="447389"/>
                      <a:pt x="-807" y="442773"/>
                    </a:cubicBezTo>
                    <a:lnTo>
                      <a:pt x="-807" y="409321"/>
                    </a:lnTo>
                    <a:cubicBezTo>
                      <a:pt x="-807" y="404704"/>
                      <a:pt x="2928" y="400958"/>
                      <a:pt x="7556" y="400958"/>
                    </a:cubicBezTo>
                    <a:cubicBezTo>
                      <a:pt x="12184" y="400958"/>
                      <a:pt x="15919" y="404704"/>
                      <a:pt x="15919" y="409321"/>
                    </a:cubicBezTo>
                    <a:lnTo>
                      <a:pt x="15919" y="442773"/>
                    </a:lnTo>
                    <a:cubicBezTo>
                      <a:pt x="15919" y="447389"/>
                      <a:pt x="12184" y="451136"/>
                      <a:pt x="7556" y="451136"/>
                    </a:cubicBezTo>
                    <a:close/>
                    <a:moveTo>
                      <a:pt x="7556" y="350780"/>
                    </a:moveTo>
                    <a:cubicBezTo>
                      <a:pt x="2928" y="350780"/>
                      <a:pt x="-807" y="347033"/>
                      <a:pt x="-807" y="342417"/>
                    </a:cubicBezTo>
                    <a:lnTo>
                      <a:pt x="-807" y="308965"/>
                    </a:lnTo>
                    <a:cubicBezTo>
                      <a:pt x="-807" y="304348"/>
                      <a:pt x="2928" y="300602"/>
                      <a:pt x="7556" y="300602"/>
                    </a:cubicBezTo>
                    <a:cubicBezTo>
                      <a:pt x="12184" y="300602"/>
                      <a:pt x="15919" y="304348"/>
                      <a:pt x="15919" y="308965"/>
                    </a:cubicBezTo>
                    <a:lnTo>
                      <a:pt x="15919" y="342417"/>
                    </a:lnTo>
                    <a:cubicBezTo>
                      <a:pt x="15919" y="347033"/>
                      <a:pt x="12184" y="350780"/>
                      <a:pt x="7556" y="350780"/>
                    </a:cubicBezTo>
                    <a:close/>
                    <a:moveTo>
                      <a:pt x="7556" y="250424"/>
                    </a:moveTo>
                    <a:cubicBezTo>
                      <a:pt x="2928" y="250424"/>
                      <a:pt x="-807" y="246677"/>
                      <a:pt x="-807" y="242060"/>
                    </a:cubicBezTo>
                    <a:lnTo>
                      <a:pt x="-807" y="208608"/>
                    </a:lnTo>
                    <a:cubicBezTo>
                      <a:pt x="-807" y="203992"/>
                      <a:pt x="2928" y="200245"/>
                      <a:pt x="7556" y="200245"/>
                    </a:cubicBezTo>
                    <a:cubicBezTo>
                      <a:pt x="12184" y="200245"/>
                      <a:pt x="15919" y="203992"/>
                      <a:pt x="15919" y="208608"/>
                    </a:cubicBezTo>
                    <a:lnTo>
                      <a:pt x="15919" y="242060"/>
                    </a:lnTo>
                    <a:cubicBezTo>
                      <a:pt x="15919" y="246677"/>
                      <a:pt x="12184" y="250424"/>
                      <a:pt x="7556" y="250424"/>
                    </a:cubicBezTo>
                    <a:close/>
                    <a:moveTo>
                      <a:pt x="7556" y="150067"/>
                    </a:moveTo>
                    <a:cubicBezTo>
                      <a:pt x="2928" y="150067"/>
                      <a:pt x="-807" y="146321"/>
                      <a:pt x="-807" y="141704"/>
                    </a:cubicBezTo>
                    <a:lnTo>
                      <a:pt x="-807" y="108252"/>
                    </a:lnTo>
                    <a:cubicBezTo>
                      <a:pt x="-807" y="103636"/>
                      <a:pt x="2928" y="99889"/>
                      <a:pt x="7556" y="99889"/>
                    </a:cubicBezTo>
                    <a:cubicBezTo>
                      <a:pt x="12184" y="99889"/>
                      <a:pt x="15919" y="103636"/>
                      <a:pt x="15919" y="108252"/>
                    </a:cubicBezTo>
                    <a:lnTo>
                      <a:pt x="15919" y="141704"/>
                    </a:lnTo>
                    <a:cubicBezTo>
                      <a:pt x="15919" y="146321"/>
                      <a:pt x="12184" y="150067"/>
                      <a:pt x="7556" y="150067"/>
                    </a:cubicBezTo>
                    <a:close/>
                    <a:moveTo>
                      <a:pt x="7556" y="49711"/>
                    </a:moveTo>
                    <a:cubicBezTo>
                      <a:pt x="2928" y="49711"/>
                      <a:pt x="-807" y="45965"/>
                      <a:pt x="-807" y="41348"/>
                    </a:cubicBezTo>
                    <a:lnTo>
                      <a:pt x="-807" y="7896"/>
                    </a:lnTo>
                    <a:cubicBezTo>
                      <a:pt x="-807" y="3280"/>
                      <a:pt x="2928" y="-467"/>
                      <a:pt x="7556" y="-467"/>
                    </a:cubicBezTo>
                    <a:cubicBezTo>
                      <a:pt x="12184" y="-467"/>
                      <a:pt x="15919" y="3280"/>
                      <a:pt x="15919" y="7896"/>
                    </a:cubicBezTo>
                    <a:lnTo>
                      <a:pt x="15919" y="41348"/>
                    </a:lnTo>
                    <a:cubicBezTo>
                      <a:pt x="15919" y="45965"/>
                      <a:pt x="12184" y="49711"/>
                      <a:pt x="7556" y="49711"/>
                    </a:cubicBezTo>
                    <a:close/>
                  </a:path>
                </a:pathLst>
              </a:custGeom>
              <a:solidFill>
                <a:srgbClr val="30373B"/>
              </a:solidFill>
              <a:ln w="5573" cap="flat">
                <a:noFill/>
                <a:prstDash val="solid"/>
                <a:miter/>
              </a:ln>
            </p:spPr>
            <p:txBody>
              <a:bodyPr rtlCol="0" anchor="ctr"/>
              <a:lstStyle/>
              <a:p>
                <a:endParaRPr lang="en-GB"/>
              </a:p>
            </p:txBody>
          </p:sp>
          <p:sp>
            <p:nvSpPr>
              <p:cNvPr id="200" name="Graphic 6">
                <a:extLst>
                  <a:ext uri="{FF2B5EF4-FFF2-40B4-BE49-F238E27FC236}">
                    <a16:creationId xmlns:a16="http://schemas.microsoft.com/office/drawing/2014/main" id="{947AE37E-2E27-D82F-97A7-D4057B55B4DB}"/>
                  </a:ext>
                </a:extLst>
              </p:cNvPr>
              <p:cNvSpPr/>
              <p:nvPr/>
            </p:nvSpPr>
            <p:spPr>
              <a:xfrm>
                <a:off x="7553297" y="3241807"/>
                <a:ext cx="1224400" cy="194133"/>
              </a:xfrm>
              <a:custGeom>
                <a:avLst/>
                <a:gdLst>
                  <a:gd name="connsiteX0" fmla="*/ 1042730 w 1224400"/>
                  <a:gd name="connsiteY0" fmla="*/ 193667 h 194133"/>
                  <a:gd name="connsiteX1" fmla="*/ 948953 w 1224400"/>
                  <a:gd name="connsiteY1" fmla="*/ 100280 h 194133"/>
                  <a:gd name="connsiteX2" fmla="*/ 870174 w 1224400"/>
                  <a:gd name="connsiteY2" fmla="*/ 16259 h 194133"/>
                  <a:gd name="connsiteX3" fmla="*/ 791450 w 1224400"/>
                  <a:gd name="connsiteY3" fmla="*/ 100280 h 194133"/>
                  <a:gd name="connsiteX4" fmla="*/ 697616 w 1224400"/>
                  <a:gd name="connsiteY4" fmla="*/ 193667 h 194133"/>
                  <a:gd name="connsiteX5" fmla="*/ 603839 w 1224400"/>
                  <a:gd name="connsiteY5" fmla="*/ 100280 h 194133"/>
                  <a:gd name="connsiteX6" fmla="*/ 525116 w 1224400"/>
                  <a:gd name="connsiteY6" fmla="*/ 16259 h 194133"/>
                  <a:gd name="connsiteX7" fmla="*/ 446392 w 1224400"/>
                  <a:gd name="connsiteY7" fmla="*/ 100280 h 194133"/>
                  <a:gd name="connsiteX8" fmla="*/ 352558 w 1224400"/>
                  <a:gd name="connsiteY8" fmla="*/ 193667 h 194133"/>
                  <a:gd name="connsiteX9" fmla="*/ 258782 w 1224400"/>
                  <a:gd name="connsiteY9" fmla="*/ 100280 h 194133"/>
                  <a:gd name="connsiteX10" fmla="*/ 180058 w 1224400"/>
                  <a:gd name="connsiteY10" fmla="*/ 16259 h 194133"/>
                  <a:gd name="connsiteX11" fmla="*/ 101334 w 1224400"/>
                  <a:gd name="connsiteY11" fmla="*/ 100280 h 194133"/>
                  <a:gd name="connsiteX12" fmla="*/ 7556 w 1224400"/>
                  <a:gd name="connsiteY12" fmla="*/ 193667 h 194133"/>
                  <a:gd name="connsiteX13" fmla="*/ -807 w 1224400"/>
                  <a:gd name="connsiteY13" fmla="*/ 185304 h 194133"/>
                  <a:gd name="connsiteX14" fmla="*/ 7556 w 1224400"/>
                  <a:gd name="connsiteY14" fmla="*/ 176941 h 194133"/>
                  <a:gd name="connsiteX15" fmla="*/ 86280 w 1224400"/>
                  <a:gd name="connsiteY15" fmla="*/ 92976 h 194133"/>
                  <a:gd name="connsiteX16" fmla="*/ 180058 w 1224400"/>
                  <a:gd name="connsiteY16" fmla="*/ -467 h 194133"/>
                  <a:gd name="connsiteX17" fmla="*/ 273835 w 1224400"/>
                  <a:gd name="connsiteY17" fmla="*/ 92976 h 194133"/>
                  <a:gd name="connsiteX18" fmla="*/ 352558 w 1224400"/>
                  <a:gd name="connsiteY18" fmla="*/ 176941 h 194133"/>
                  <a:gd name="connsiteX19" fmla="*/ 431338 w 1224400"/>
                  <a:gd name="connsiteY19" fmla="*/ 92976 h 194133"/>
                  <a:gd name="connsiteX20" fmla="*/ 525116 w 1224400"/>
                  <a:gd name="connsiteY20" fmla="*/ -467 h 194133"/>
                  <a:gd name="connsiteX21" fmla="*/ 618893 w 1224400"/>
                  <a:gd name="connsiteY21" fmla="*/ 92976 h 194133"/>
                  <a:gd name="connsiteX22" fmla="*/ 697616 w 1224400"/>
                  <a:gd name="connsiteY22" fmla="*/ 176941 h 194133"/>
                  <a:gd name="connsiteX23" fmla="*/ 776396 w 1224400"/>
                  <a:gd name="connsiteY23" fmla="*/ 92976 h 194133"/>
                  <a:gd name="connsiteX24" fmla="*/ 870174 w 1224400"/>
                  <a:gd name="connsiteY24" fmla="*/ -467 h 194133"/>
                  <a:gd name="connsiteX25" fmla="*/ 964006 w 1224400"/>
                  <a:gd name="connsiteY25" fmla="*/ 92976 h 194133"/>
                  <a:gd name="connsiteX26" fmla="*/ 1042730 w 1224400"/>
                  <a:gd name="connsiteY26" fmla="*/ 176941 h 194133"/>
                  <a:gd name="connsiteX27" fmla="*/ 1121454 w 1224400"/>
                  <a:gd name="connsiteY27" fmla="*/ 92976 h 194133"/>
                  <a:gd name="connsiteX28" fmla="*/ 1215231 w 1224400"/>
                  <a:gd name="connsiteY28" fmla="*/ -467 h 194133"/>
                  <a:gd name="connsiteX29" fmla="*/ 1223594 w 1224400"/>
                  <a:gd name="connsiteY29" fmla="*/ 7896 h 194133"/>
                  <a:gd name="connsiteX30" fmla="*/ 1215231 w 1224400"/>
                  <a:gd name="connsiteY30" fmla="*/ 16259 h 194133"/>
                  <a:gd name="connsiteX31" fmla="*/ 1136507 w 1224400"/>
                  <a:gd name="connsiteY31" fmla="*/ 100280 h 194133"/>
                  <a:gd name="connsiteX32" fmla="*/ 1042730 w 1224400"/>
                  <a:gd name="connsiteY32" fmla="*/ 193667 h 19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24400" h="194133">
                    <a:moveTo>
                      <a:pt x="1042730" y="193667"/>
                    </a:moveTo>
                    <a:cubicBezTo>
                      <a:pt x="994392" y="193667"/>
                      <a:pt x="971255" y="146165"/>
                      <a:pt x="948953" y="100280"/>
                    </a:cubicBezTo>
                    <a:cubicBezTo>
                      <a:pt x="927934" y="57071"/>
                      <a:pt x="908085" y="16259"/>
                      <a:pt x="870174" y="16259"/>
                    </a:cubicBezTo>
                    <a:cubicBezTo>
                      <a:pt x="832261" y="16259"/>
                      <a:pt x="812412" y="57071"/>
                      <a:pt x="791450" y="100280"/>
                    </a:cubicBezTo>
                    <a:cubicBezTo>
                      <a:pt x="769148" y="146165"/>
                      <a:pt x="746011" y="193667"/>
                      <a:pt x="697616" y="193667"/>
                    </a:cubicBezTo>
                    <a:cubicBezTo>
                      <a:pt x="649223" y="193667"/>
                      <a:pt x="626197" y="146165"/>
                      <a:pt x="603839" y="100280"/>
                    </a:cubicBezTo>
                    <a:cubicBezTo>
                      <a:pt x="582876" y="57071"/>
                      <a:pt x="563028" y="16259"/>
                      <a:pt x="525116" y="16259"/>
                    </a:cubicBezTo>
                    <a:cubicBezTo>
                      <a:pt x="487203" y="16259"/>
                      <a:pt x="467355" y="57071"/>
                      <a:pt x="446392" y="100280"/>
                    </a:cubicBezTo>
                    <a:cubicBezTo>
                      <a:pt x="424091" y="146165"/>
                      <a:pt x="400953" y="193667"/>
                      <a:pt x="352558" y="193667"/>
                    </a:cubicBezTo>
                    <a:cubicBezTo>
                      <a:pt x="304165" y="193667"/>
                      <a:pt x="281139" y="146165"/>
                      <a:pt x="258782" y="100280"/>
                    </a:cubicBezTo>
                    <a:cubicBezTo>
                      <a:pt x="237818" y="57071"/>
                      <a:pt x="217970" y="16259"/>
                      <a:pt x="180058" y="16259"/>
                    </a:cubicBezTo>
                    <a:cubicBezTo>
                      <a:pt x="142145" y="16259"/>
                      <a:pt x="122297" y="57071"/>
                      <a:pt x="101334" y="100280"/>
                    </a:cubicBezTo>
                    <a:cubicBezTo>
                      <a:pt x="79033" y="146165"/>
                      <a:pt x="55895" y="193667"/>
                      <a:pt x="7556" y="193667"/>
                    </a:cubicBezTo>
                    <a:cubicBezTo>
                      <a:pt x="2929" y="193667"/>
                      <a:pt x="-807" y="189920"/>
                      <a:pt x="-807" y="185304"/>
                    </a:cubicBezTo>
                    <a:cubicBezTo>
                      <a:pt x="-807" y="180687"/>
                      <a:pt x="2929" y="176941"/>
                      <a:pt x="7556" y="176941"/>
                    </a:cubicBezTo>
                    <a:cubicBezTo>
                      <a:pt x="45413" y="176941"/>
                      <a:pt x="65262" y="136129"/>
                      <a:pt x="86280" y="92976"/>
                    </a:cubicBezTo>
                    <a:cubicBezTo>
                      <a:pt x="108582" y="47035"/>
                      <a:pt x="131719" y="-467"/>
                      <a:pt x="180058" y="-467"/>
                    </a:cubicBezTo>
                    <a:cubicBezTo>
                      <a:pt x="228396" y="-467"/>
                      <a:pt x="251533" y="47035"/>
                      <a:pt x="273835" y="92976"/>
                    </a:cubicBezTo>
                    <a:cubicBezTo>
                      <a:pt x="294854" y="136129"/>
                      <a:pt x="314702" y="176941"/>
                      <a:pt x="352558" y="176941"/>
                    </a:cubicBezTo>
                    <a:cubicBezTo>
                      <a:pt x="390415" y="176941"/>
                      <a:pt x="410319" y="136129"/>
                      <a:pt x="431338" y="92976"/>
                    </a:cubicBezTo>
                    <a:cubicBezTo>
                      <a:pt x="453639" y="47035"/>
                      <a:pt x="476721" y="-467"/>
                      <a:pt x="525116" y="-467"/>
                    </a:cubicBezTo>
                    <a:cubicBezTo>
                      <a:pt x="573509" y="-467"/>
                      <a:pt x="596591" y="47035"/>
                      <a:pt x="618893" y="92976"/>
                    </a:cubicBezTo>
                    <a:cubicBezTo>
                      <a:pt x="639912" y="136129"/>
                      <a:pt x="659760" y="176941"/>
                      <a:pt x="697616" y="176941"/>
                    </a:cubicBezTo>
                    <a:cubicBezTo>
                      <a:pt x="735473" y="176941"/>
                      <a:pt x="755377" y="136129"/>
                      <a:pt x="776396" y="92976"/>
                    </a:cubicBezTo>
                    <a:cubicBezTo>
                      <a:pt x="798697" y="47035"/>
                      <a:pt x="821835" y="-467"/>
                      <a:pt x="870174" y="-467"/>
                    </a:cubicBezTo>
                    <a:cubicBezTo>
                      <a:pt x="918511" y="-467"/>
                      <a:pt x="941649" y="47035"/>
                      <a:pt x="964006" y="92976"/>
                    </a:cubicBezTo>
                    <a:cubicBezTo>
                      <a:pt x="984970" y="136129"/>
                      <a:pt x="1004817" y="176941"/>
                      <a:pt x="1042730" y="176941"/>
                    </a:cubicBezTo>
                    <a:cubicBezTo>
                      <a:pt x="1080643" y="176941"/>
                      <a:pt x="1100491" y="136129"/>
                      <a:pt x="1121454" y="92976"/>
                    </a:cubicBezTo>
                    <a:cubicBezTo>
                      <a:pt x="1143755" y="47035"/>
                      <a:pt x="1166893" y="-467"/>
                      <a:pt x="1215231" y="-467"/>
                    </a:cubicBezTo>
                    <a:cubicBezTo>
                      <a:pt x="1219859" y="-467"/>
                      <a:pt x="1223594" y="3280"/>
                      <a:pt x="1223594" y="7896"/>
                    </a:cubicBezTo>
                    <a:cubicBezTo>
                      <a:pt x="1223594" y="12513"/>
                      <a:pt x="1219859" y="16259"/>
                      <a:pt x="1215231" y="16259"/>
                    </a:cubicBezTo>
                    <a:cubicBezTo>
                      <a:pt x="1177375" y="16259"/>
                      <a:pt x="1157526" y="57071"/>
                      <a:pt x="1136507" y="100280"/>
                    </a:cubicBezTo>
                    <a:cubicBezTo>
                      <a:pt x="1113983" y="146165"/>
                      <a:pt x="1090901" y="193667"/>
                      <a:pt x="1042730" y="193667"/>
                    </a:cubicBezTo>
                    <a:close/>
                  </a:path>
                </a:pathLst>
              </a:custGeom>
              <a:solidFill>
                <a:srgbClr val="30373B"/>
              </a:solidFill>
              <a:ln w="5573" cap="flat">
                <a:noFill/>
                <a:prstDash val="solid"/>
                <a:miter/>
              </a:ln>
            </p:spPr>
            <p:txBody>
              <a:bodyPr rtlCol="0" anchor="ctr"/>
              <a:lstStyle/>
              <a:p>
                <a:endParaRPr lang="en-GB"/>
              </a:p>
            </p:txBody>
          </p:sp>
          <p:sp>
            <p:nvSpPr>
              <p:cNvPr id="201" name="Graphic 6">
                <a:extLst>
                  <a:ext uri="{FF2B5EF4-FFF2-40B4-BE49-F238E27FC236}">
                    <a16:creationId xmlns:a16="http://schemas.microsoft.com/office/drawing/2014/main" id="{84718D33-3917-5443-C2C9-3016FB33AAEE}"/>
                  </a:ext>
                </a:extLst>
              </p:cNvPr>
              <p:cNvSpPr/>
              <p:nvPr/>
            </p:nvSpPr>
            <p:spPr>
              <a:xfrm>
                <a:off x="5718453" y="6184359"/>
                <a:ext cx="299786" cy="16726"/>
              </a:xfrm>
              <a:custGeom>
                <a:avLst/>
                <a:gdLst>
                  <a:gd name="connsiteX0" fmla="*/ 290617 w 299786"/>
                  <a:gd name="connsiteY0" fmla="*/ 16259 h 16726"/>
                  <a:gd name="connsiteX1" fmla="*/ 7556 w 299786"/>
                  <a:gd name="connsiteY1" fmla="*/ 16259 h 16726"/>
                  <a:gd name="connsiteX2" fmla="*/ -807 w 299786"/>
                  <a:gd name="connsiteY2" fmla="*/ 7896 h 16726"/>
                  <a:gd name="connsiteX3" fmla="*/ 7556 w 299786"/>
                  <a:gd name="connsiteY3" fmla="*/ -467 h 16726"/>
                  <a:gd name="connsiteX4" fmla="*/ 290617 w 299786"/>
                  <a:gd name="connsiteY4" fmla="*/ -467 h 16726"/>
                  <a:gd name="connsiteX5" fmla="*/ 298980 w 299786"/>
                  <a:gd name="connsiteY5" fmla="*/ 7896 h 16726"/>
                  <a:gd name="connsiteX6" fmla="*/ 290617 w 299786"/>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786" h="16726">
                    <a:moveTo>
                      <a:pt x="290617" y="16259"/>
                    </a:moveTo>
                    <a:lnTo>
                      <a:pt x="7556" y="16259"/>
                    </a:lnTo>
                    <a:cubicBezTo>
                      <a:pt x="2940" y="16259"/>
                      <a:pt x="-807" y="12524"/>
                      <a:pt x="-807" y="7896"/>
                    </a:cubicBezTo>
                    <a:cubicBezTo>
                      <a:pt x="-807" y="3269"/>
                      <a:pt x="2940" y="-467"/>
                      <a:pt x="7556" y="-467"/>
                    </a:cubicBezTo>
                    <a:lnTo>
                      <a:pt x="290617" y="-467"/>
                    </a:lnTo>
                    <a:cubicBezTo>
                      <a:pt x="295233" y="-467"/>
                      <a:pt x="298980" y="3269"/>
                      <a:pt x="298980" y="7896"/>
                    </a:cubicBezTo>
                    <a:cubicBezTo>
                      <a:pt x="298980" y="12524"/>
                      <a:pt x="295233" y="16259"/>
                      <a:pt x="290617" y="16259"/>
                    </a:cubicBezTo>
                    <a:close/>
                  </a:path>
                </a:pathLst>
              </a:custGeom>
              <a:solidFill>
                <a:srgbClr val="30373B"/>
              </a:solidFill>
              <a:ln w="5573" cap="flat">
                <a:noFill/>
                <a:prstDash val="solid"/>
                <a:miter/>
              </a:ln>
            </p:spPr>
            <p:txBody>
              <a:bodyPr rtlCol="0" anchor="ctr"/>
              <a:lstStyle/>
              <a:p>
                <a:endParaRPr lang="en-GB"/>
              </a:p>
            </p:txBody>
          </p:sp>
          <p:sp>
            <p:nvSpPr>
              <p:cNvPr id="202" name="Graphic 6">
                <a:extLst>
                  <a:ext uri="{FF2B5EF4-FFF2-40B4-BE49-F238E27FC236}">
                    <a16:creationId xmlns:a16="http://schemas.microsoft.com/office/drawing/2014/main" id="{DF89199F-4735-4A23-F7C2-5AA2E10E491E}"/>
                  </a:ext>
                </a:extLst>
              </p:cNvPr>
              <p:cNvSpPr/>
              <p:nvPr/>
            </p:nvSpPr>
            <p:spPr>
              <a:xfrm>
                <a:off x="5828064" y="6109316"/>
                <a:ext cx="190174" cy="16726"/>
              </a:xfrm>
              <a:custGeom>
                <a:avLst/>
                <a:gdLst>
                  <a:gd name="connsiteX0" fmla="*/ 181005 w 190174"/>
                  <a:gd name="connsiteY0" fmla="*/ 16259 h 16726"/>
                  <a:gd name="connsiteX1" fmla="*/ 7556 w 190174"/>
                  <a:gd name="connsiteY1" fmla="*/ 16259 h 16726"/>
                  <a:gd name="connsiteX2" fmla="*/ -807 w 190174"/>
                  <a:gd name="connsiteY2" fmla="*/ 7896 h 16726"/>
                  <a:gd name="connsiteX3" fmla="*/ 7556 w 190174"/>
                  <a:gd name="connsiteY3" fmla="*/ -467 h 16726"/>
                  <a:gd name="connsiteX4" fmla="*/ 181005 w 190174"/>
                  <a:gd name="connsiteY4" fmla="*/ -467 h 16726"/>
                  <a:gd name="connsiteX5" fmla="*/ 189368 w 190174"/>
                  <a:gd name="connsiteY5" fmla="*/ 7896 h 16726"/>
                  <a:gd name="connsiteX6" fmla="*/ 181005 w 190174"/>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74" h="16726">
                    <a:moveTo>
                      <a:pt x="181005" y="16259"/>
                    </a:moveTo>
                    <a:lnTo>
                      <a:pt x="7556" y="16259"/>
                    </a:lnTo>
                    <a:cubicBezTo>
                      <a:pt x="2940" y="16259"/>
                      <a:pt x="-807" y="12523"/>
                      <a:pt x="-807" y="7896"/>
                    </a:cubicBezTo>
                    <a:cubicBezTo>
                      <a:pt x="-807" y="3269"/>
                      <a:pt x="2940" y="-467"/>
                      <a:pt x="7556" y="-467"/>
                    </a:cubicBezTo>
                    <a:lnTo>
                      <a:pt x="181005" y="-467"/>
                    </a:lnTo>
                    <a:cubicBezTo>
                      <a:pt x="185622" y="-467"/>
                      <a:pt x="189368" y="3269"/>
                      <a:pt x="189368" y="7896"/>
                    </a:cubicBezTo>
                    <a:cubicBezTo>
                      <a:pt x="189368" y="12523"/>
                      <a:pt x="185622" y="16259"/>
                      <a:pt x="181005" y="16259"/>
                    </a:cubicBezTo>
                    <a:close/>
                  </a:path>
                </a:pathLst>
              </a:custGeom>
              <a:solidFill>
                <a:srgbClr val="30373B"/>
              </a:solidFill>
              <a:ln w="5573" cap="flat">
                <a:noFill/>
                <a:prstDash val="solid"/>
                <a:miter/>
              </a:ln>
            </p:spPr>
            <p:txBody>
              <a:bodyPr rtlCol="0" anchor="ctr"/>
              <a:lstStyle/>
              <a:p>
                <a:endParaRPr lang="en-GB"/>
              </a:p>
            </p:txBody>
          </p:sp>
        </p:grpSp>
      </p:grpSp>
      <p:sp>
        <p:nvSpPr>
          <p:cNvPr id="2" name="TextBox 1">
            <a:extLst>
              <a:ext uri="{FF2B5EF4-FFF2-40B4-BE49-F238E27FC236}">
                <a16:creationId xmlns:a16="http://schemas.microsoft.com/office/drawing/2014/main" id="{6031A85D-62B0-6940-6C9F-8008E5EFB8C8}"/>
              </a:ext>
            </a:extLst>
          </p:cNvPr>
          <p:cNvSpPr txBox="1"/>
          <p:nvPr/>
        </p:nvSpPr>
        <p:spPr>
          <a:xfrm>
            <a:off x="918291" y="1324542"/>
            <a:ext cx="7795585" cy="1323439"/>
          </a:xfrm>
          <a:prstGeom prst="rect">
            <a:avLst/>
          </a:prstGeom>
          <a:noFill/>
        </p:spPr>
        <p:txBody>
          <a:bodyPr wrap="square" lIns="91440" tIns="45720" rIns="91440" bIns="45720" rtlCol="0" anchor="t">
            <a:spAutoFit/>
          </a:bodyPr>
          <a:lstStyle/>
          <a:p>
            <a:r>
              <a:rPr lang="da-DK" sz="2000" dirty="0">
                <a:solidFill>
                  <a:schemeClr val="bg1"/>
                </a:solidFill>
              </a:rPr>
              <a:t>Hvem: </a:t>
            </a:r>
          </a:p>
          <a:p>
            <a:pPr marL="285750" indent="-285750">
              <a:buFont typeface="Courier New" panose="02070309020205020404" pitchFamily="49" charset="0"/>
              <a:buChar char="o"/>
            </a:pPr>
            <a:r>
              <a:rPr lang="da-DK" sz="2000" dirty="0">
                <a:solidFill>
                  <a:schemeClr val="bg1"/>
                </a:solidFill>
              </a:rPr>
              <a:t>PGR’er, Procesgruppemedlemmer, Testmanagere, UX'er,  Teknikere (lokale integrationer, datamigrering) , superbrugere, ambassadører, andre?</a:t>
            </a:r>
            <a:endParaRPr lang="da-DK" sz="2000" dirty="0">
              <a:solidFill>
                <a:schemeClr val="bg1"/>
              </a:solidFill>
              <a:cs typeface="Arial"/>
            </a:endParaRPr>
          </a:p>
        </p:txBody>
      </p:sp>
      <p:sp>
        <p:nvSpPr>
          <p:cNvPr id="5" name="TextBox 4">
            <a:extLst>
              <a:ext uri="{FF2B5EF4-FFF2-40B4-BE49-F238E27FC236}">
                <a16:creationId xmlns:a16="http://schemas.microsoft.com/office/drawing/2014/main" id="{91692557-3451-9332-57A8-23ED0CECC283}"/>
              </a:ext>
            </a:extLst>
          </p:cNvPr>
          <p:cNvSpPr txBox="1"/>
          <p:nvPr/>
        </p:nvSpPr>
        <p:spPr>
          <a:xfrm>
            <a:off x="913998" y="2345387"/>
            <a:ext cx="9083368" cy="4647426"/>
          </a:xfrm>
          <a:prstGeom prst="rect">
            <a:avLst/>
          </a:prstGeom>
          <a:noFill/>
        </p:spPr>
        <p:txBody>
          <a:bodyPr wrap="square" lIns="91440" tIns="45720" rIns="91440" bIns="45720" rtlCol="0" anchor="t">
            <a:spAutoFit/>
          </a:bodyPr>
          <a:lstStyle/>
          <a:p>
            <a:endParaRPr lang="da-DK" dirty="0">
              <a:solidFill>
                <a:schemeClr val="bg1"/>
              </a:solidFill>
            </a:endParaRPr>
          </a:p>
          <a:p>
            <a:endParaRPr lang="da-DK" sz="2000" dirty="0">
              <a:solidFill>
                <a:schemeClr val="bg1"/>
              </a:solidFill>
            </a:endParaRPr>
          </a:p>
          <a:p>
            <a:r>
              <a:rPr lang="da-DK" sz="2000" dirty="0">
                <a:solidFill>
                  <a:schemeClr val="bg1"/>
                </a:solidFill>
              </a:rPr>
              <a:t>Hvordan: </a:t>
            </a:r>
          </a:p>
          <a:p>
            <a:pPr marL="285750" indent="-285750">
              <a:buFont typeface="Courier New" panose="02070309020205020404" pitchFamily="49" charset="0"/>
              <a:buChar char="o"/>
            </a:pPr>
            <a:r>
              <a:rPr lang="da-DK" sz="2000" dirty="0">
                <a:solidFill>
                  <a:schemeClr val="bg1"/>
                </a:solidFill>
              </a:rPr>
              <a:t>Universiteterne får adgang til et miljø, med et antal testpersonaer og med konstruerede testdata. </a:t>
            </a:r>
          </a:p>
          <a:p>
            <a:pPr marL="285750" indent="-285750">
              <a:buFont typeface="Courier New" panose="02070309020205020404" pitchFamily="49" charset="0"/>
              <a:buChar char="o"/>
            </a:pPr>
            <a:endParaRPr lang="da-DK" sz="2000" dirty="0">
              <a:solidFill>
                <a:schemeClr val="bg1"/>
              </a:solidFill>
            </a:endParaRPr>
          </a:p>
          <a:p>
            <a:pPr marL="285750" indent="-285750">
              <a:buFont typeface="Courier New" panose="02070309020205020404" pitchFamily="49" charset="0"/>
              <a:buChar char="o"/>
            </a:pPr>
            <a:r>
              <a:rPr lang="da-DK" sz="2000" dirty="0">
                <a:solidFill>
                  <a:schemeClr val="bg1"/>
                </a:solidFill>
              </a:rPr>
              <a:t>Der kan udføres uformelle eksplorative afprøvninger og/eller test efter testcases </a:t>
            </a:r>
            <a:br>
              <a:rPr lang="da-DK" sz="2000" dirty="0">
                <a:solidFill>
                  <a:schemeClr val="bg1"/>
                </a:solidFill>
              </a:rPr>
            </a:br>
            <a:endParaRPr lang="da-DK" sz="2000" dirty="0">
              <a:solidFill>
                <a:schemeClr val="bg1"/>
              </a:solidFill>
            </a:endParaRPr>
          </a:p>
          <a:p>
            <a:pPr marL="285750" indent="-285750">
              <a:buFont typeface="Courier New" panose="02070309020205020404" pitchFamily="49" charset="0"/>
              <a:buChar char="o"/>
            </a:pPr>
            <a:r>
              <a:rPr lang="da-DK" sz="2000" dirty="0">
                <a:solidFill>
                  <a:schemeClr val="bg1"/>
                </a:solidFill>
              </a:rPr>
              <a:t>En styret testproces, som faciliteres af Universiteterne, som screener og prioriterer feedback, inden den registreres hos Leverandøren</a:t>
            </a:r>
          </a:p>
          <a:p>
            <a:pPr marL="285750" indent="-285750">
              <a:buFont typeface="Courier New" panose="02070309020205020404" pitchFamily="49" charset="0"/>
              <a:buChar char="o"/>
            </a:pPr>
            <a:endParaRPr lang="da-DK" sz="2000" dirty="0">
              <a:solidFill>
                <a:schemeClr val="bg1"/>
              </a:solidFill>
            </a:endParaRPr>
          </a:p>
          <a:p>
            <a:pPr marL="285750" indent="-285750">
              <a:buFont typeface="Courier New" panose="02070309020205020404" pitchFamily="49" charset="0"/>
              <a:buChar char="o"/>
            </a:pPr>
            <a:r>
              <a:rPr lang="da-DK" sz="2000" dirty="0">
                <a:solidFill>
                  <a:schemeClr val="bg1"/>
                </a:solidFill>
              </a:rPr>
              <a:t>Testen afrapporteres ikke formelt, på nær af fejl og mangler, som prioriteres af Kundens testmanager</a:t>
            </a:r>
            <a:endParaRPr lang="da-DK" sz="2000" dirty="0">
              <a:solidFill>
                <a:schemeClr val="bg1"/>
              </a:solidFill>
              <a:cs typeface="Arial"/>
            </a:endParaRPr>
          </a:p>
          <a:p>
            <a:pPr marL="285750" indent="-285750">
              <a:buFont typeface="Courier New" panose="02070309020205020404" pitchFamily="49" charset="0"/>
              <a:buChar char="o"/>
            </a:pPr>
            <a:endParaRPr lang="da-DK" dirty="0">
              <a:solidFill>
                <a:schemeClr val="bg1"/>
              </a:solidFill>
            </a:endParaRPr>
          </a:p>
        </p:txBody>
      </p:sp>
    </p:spTree>
    <p:extLst>
      <p:ext uri="{BB962C8B-B14F-4D97-AF65-F5344CB8AC3E}">
        <p14:creationId xmlns:p14="http://schemas.microsoft.com/office/powerpoint/2010/main" val="2804027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D0D4D9-33FD-C540-5C26-3CD4766C8884}"/>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B8B30A20-FA4F-33C7-99B7-A28E9BA6B7B8}"/>
              </a:ext>
            </a:extLst>
          </p:cNvPr>
          <p:cNvSpPr>
            <a:spLocks noGrp="1"/>
          </p:cNvSpPr>
          <p:nvPr>
            <p:ph type="ctrTitle"/>
          </p:nvPr>
        </p:nvSpPr>
        <p:spPr>
          <a:xfrm>
            <a:off x="587505" y="1143466"/>
            <a:ext cx="5304412" cy="3300745"/>
          </a:xfrm>
        </p:spPr>
        <p:txBody>
          <a:bodyPr>
            <a:normAutofit/>
          </a:bodyPr>
          <a:lstStyle/>
          <a:p>
            <a:pPr algn="l">
              <a:lnSpc>
                <a:spcPct val="85000"/>
              </a:lnSpc>
            </a:pPr>
            <a:r>
              <a:rPr lang="da-DK" sz="3600" dirty="0">
                <a:solidFill>
                  <a:schemeClr val="bg1"/>
                </a:solidFill>
                <a:latin typeface="+mn-lt"/>
              </a:rPr>
              <a:t>Test i </a:t>
            </a:r>
            <a:br>
              <a:rPr lang="da-DK" sz="3600" dirty="0">
                <a:solidFill>
                  <a:schemeClr val="bg1"/>
                </a:solidFill>
                <a:latin typeface="+mn-lt"/>
              </a:rPr>
            </a:br>
            <a:r>
              <a:rPr lang="da-DK" sz="3600" dirty="0">
                <a:solidFill>
                  <a:schemeClr val="bg1"/>
                </a:solidFill>
                <a:latin typeface="+mn-lt"/>
                <a:cs typeface="Arial"/>
              </a:rPr>
              <a:t>Fælles SIS Programmet</a:t>
            </a:r>
            <a:br>
              <a:rPr lang="da-DK" sz="3600" dirty="0">
                <a:solidFill>
                  <a:schemeClr val="bg1"/>
                </a:solidFill>
                <a:latin typeface="+mn-lt"/>
                <a:cs typeface="Arial"/>
              </a:rPr>
            </a:br>
            <a:endParaRPr lang="da-DK" sz="3600" dirty="0"/>
          </a:p>
        </p:txBody>
      </p:sp>
      <p:sp>
        <p:nvSpPr>
          <p:cNvPr id="4" name="Slide Number Placeholder 3">
            <a:extLst>
              <a:ext uri="{FF2B5EF4-FFF2-40B4-BE49-F238E27FC236}">
                <a16:creationId xmlns:a16="http://schemas.microsoft.com/office/drawing/2014/main" id="{E0CC7EFF-F2BE-177C-2C9E-1953A94F1E5D}"/>
              </a:ext>
            </a:extLst>
          </p:cNvPr>
          <p:cNvSpPr>
            <a:spLocks noGrp="1"/>
          </p:cNvSpPr>
          <p:nvPr>
            <p:ph type="sldNum" sz="quarter" idx="4294967295"/>
          </p:nvPr>
        </p:nvSpPr>
        <p:spPr>
          <a:xfrm>
            <a:off x="9699625" y="6367463"/>
            <a:ext cx="2492375" cy="365125"/>
          </a:xfrm>
        </p:spPr>
        <p:txBody>
          <a:bodyPr/>
          <a:lstStyle/>
          <a:p>
            <a:fld id="{39DF810D-F77C-4BB2-BE6A-BDC67BB44902}" type="slidenum">
              <a:rPr lang="da-DK" smtClean="0"/>
              <a:pPr/>
              <a:t>2</a:t>
            </a:fld>
            <a:endParaRPr lang="da-DK"/>
          </a:p>
        </p:txBody>
      </p:sp>
      <p:sp>
        <p:nvSpPr>
          <p:cNvPr id="5" name="Date Placeholder 4">
            <a:extLst>
              <a:ext uri="{FF2B5EF4-FFF2-40B4-BE49-F238E27FC236}">
                <a16:creationId xmlns:a16="http://schemas.microsoft.com/office/drawing/2014/main" id="{D29F7FAA-D4FF-2B57-0491-479BF6594667}"/>
              </a:ext>
            </a:extLst>
          </p:cNvPr>
          <p:cNvSpPr>
            <a:spLocks noGrp="1"/>
          </p:cNvSpPr>
          <p:nvPr>
            <p:ph type="dt" sz="half" idx="4294967295"/>
          </p:nvPr>
        </p:nvSpPr>
        <p:spPr>
          <a:xfrm>
            <a:off x="0" y="6367463"/>
            <a:ext cx="2743200" cy="365125"/>
          </a:xfrm>
        </p:spPr>
        <p:txBody>
          <a:bodyPr/>
          <a:lstStyle/>
          <a:p>
            <a:fld id="{6585D110-0B52-4CB9-8AE7-B495E4D5B418}" type="datetime1">
              <a:rPr lang="da-DK" noProof="0" smtClean="0"/>
              <a:t>12-05-2025</a:t>
            </a:fld>
            <a:endParaRPr lang="da-DK" noProof="0"/>
          </a:p>
        </p:txBody>
      </p:sp>
      <p:sp>
        <p:nvSpPr>
          <p:cNvPr id="3" name="TextBox 2">
            <a:extLst>
              <a:ext uri="{FF2B5EF4-FFF2-40B4-BE49-F238E27FC236}">
                <a16:creationId xmlns:a16="http://schemas.microsoft.com/office/drawing/2014/main" id="{ECD2D62C-D034-D12F-7195-555114B1359B}"/>
              </a:ext>
            </a:extLst>
          </p:cNvPr>
          <p:cNvSpPr txBox="1"/>
          <p:nvPr/>
        </p:nvSpPr>
        <p:spPr>
          <a:xfrm>
            <a:off x="6981245" y="678950"/>
            <a:ext cx="4623250" cy="5909310"/>
          </a:xfrm>
          <a:prstGeom prst="rect">
            <a:avLst/>
          </a:prstGeom>
          <a:noFill/>
        </p:spPr>
        <p:txBody>
          <a:bodyPr wrap="square" rtlCol="0">
            <a:spAutoFit/>
          </a:bodyPr>
          <a:lstStyle/>
          <a:p>
            <a:pPr marL="342900" indent="-342900">
              <a:lnSpc>
                <a:spcPct val="150000"/>
              </a:lnSpc>
              <a:buFont typeface="+mj-lt"/>
              <a:buAutoNum type="arabicPeriod"/>
            </a:pPr>
            <a:r>
              <a:rPr lang="da-DK" sz="2000" dirty="0"/>
              <a:t>Organisering, forpligtelser og mandat</a:t>
            </a:r>
          </a:p>
          <a:p>
            <a:pPr marL="342900" indent="-342900">
              <a:lnSpc>
                <a:spcPct val="150000"/>
              </a:lnSpc>
              <a:buFont typeface="+mj-lt"/>
              <a:buAutoNum type="arabicPeriod"/>
            </a:pPr>
            <a:r>
              <a:rPr lang="da-DK" sz="2000" dirty="0"/>
              <a:t>Testsporets ydelser</a:t>
            </a:r>
          </a:p>
          <a:p>
            <a:pPr marL="342900" indent="-342900">
              <a:lnSpc>
                <a:spcPct val="150000"/>
              </a:lnSpc>
              <a:buFont typeface="+mj-lt"/>
              <a:buAutoNum type="arabicPeriod"/>
            </a:pPr>
            <a:r>
              <a:rPr lang="da-DK" sz="2000" dirty="0"/>
              <a:t>Testaktiviteter og niveauer</a:t>
            </a:r>
          </a:p>
          <a:p>
            <a:pPr marL="342900" indent="-342900">
              <a:lnSpc>
                <a:spcPct val="150000"/>
              </a:lnSpc>
              <a:buFont typeface="+mj-lt"/>
              <a:buAutoNum type="arabicPeriod"/>
            </a:pPr>
            <a:r>
              <a:rPr lang="da-DK" sz="2000" dirty="0"/>
              <a:t>Testtyper og indhold</a:t>
            </a:r>
          </a:p>
          <a:p>
            <a:pPr marL="342900" indent="-342900">
              <a:lnSpc>
                <a:spcPct val="150000"/>
              </a:lnSpc>
              <a:buFont typeface="+mj-lt"/>
              <a:buAutoNum type="arabicPeriod"/>
            </a:pPr>
            <a:r>
              <a:rPr lang="da-DK" sz="2000" dirty="0"/>
              <a:t>Testleverance eksempler</a:t>
            </a:r>
          </a:p>
          <a:p>
            <a:pPr marL="800100" lvl="1" indent="-342900">
              <a:lnSpc>
                <a:spcPct val="150000"/>
              </a:lnSpc>
              <a:buFont typeface="+mj-lt"/>
              <a:buAutoNum type="alphaLcParenR"/>
            </a:pPr>
            <a:r>
              <a:rPr lang="da-DK" sz="2000" dirty="0"/>
              <a:t>Sporbarhed fra krav til testcase</a:t>
            </a:r>
          </a:p>
          <a:p>
            <a:pPr marL="800100" lvl="1" indent="-342900">
              <a:lnSpc>
                <a:spcPct val="150000"/>
              </a:lnSpc>
              <a:buFont typeface="+mj-lt"/>
              <a:buAutoNum type="alphaLcParenR"/>
            </a:pPr>
            <a:r>
              <a:rPr lang="da-DK" sz="2000" dirty="0"/>
              <a:t>Produkt Risiko </a:t>
            </a:r>
            <a:r>
              <a:rPr lang="da-DK" sz="2000" dirty="0" err="1"/>
              <a:t>Assesment</a:t>
            </a:r>
            <a:r>
              <a:rPr lang="da-DK" sz="2000" dirty="0"/>
              <a:t> (PRA)</a:t>
            </a:r>
          </a:p>
          <a:p>
            <a:pPr marL="800100" lvl="1" indent="-342900">
              <a:lnSpc>
                <a:spcPct val="150000"/>
              </a:lnSpc>
              <a:buFont typeface="+mj-lt"/>
              <a:buAutoNum type="alphaLcParenR"/>
            </a:pPr>
            <a:r>
              <a:rPr lang="da-DK" sz="2000" dirty="0"/>
              <a:t>Brugervenligheds tests</a:t>
            </a:r>
          </a:p>
          <a:p>
            <a:pPr lvl="1">
              <a:lnSpc>
                <a:spcPct val="150000"/>
              </a:lnSpc>
            </a:pPr>
            <a:endParaRPr lang="da-DK" sz="2000" dirty="0"/>
          </a:p>
          <a:p>
            <a:pPr lvl="1">
              <a:lnSpc>
                <a:spcPct val="150000"/>
              </a:lnSpc>
            </a:pPr>
            <a:endParaRPr lang="da-DK" sz="2000" dirty="0"/>
          </a:p>
          <a:p>
            <a:endParaRPr lang="da-DK" dirty="0"/>
          </a:p>
        </p:txBody>
      </p:sp>
    </p:spTree>
    <p:extLst>
      <p:ext uri="{BB962C8B-B14F-4D97-AF65-F5344CB8AC3E}">
        <p14:creationId xmlns:p14="http://schemas.microsoft.com/office/powerpoint/2010/main" val="2029406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4866A-5043-B2BE-1700-98C9AD747A16}"/>
            </a:ext>
          </a:extLst>
        </p:cNvPr>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150E10D1-6A87-1A74-8174-4BA4EDB70F95}"/>
              </a:ext>
            </a:extLst>
          </p:cNvPr>
          <p:cNvSpPr>
            <a:spLocks noGrp="1"/>
          </p:cNvSpPr>
          <p:nvPr>
            <p:ph type="sldNum" sz="quarter" idx="4"/>
          </p:nvPr>
        </p:nvSpPr>
        <p:spPr/>
        <p:txBody>
          <a:bodyPr/>
          <a:lstStyle/>
          <a:p>
            <a:fld id="{39DF810D-F77C-4BB2-BE6A-BDC67BB44902}" type="slidenum">
              <a:rPr lang="da-DK" smtClean="0"/>
              <a:pPr/>
              <a:t>3</a:t>
            </a:fld>
            <a:endParaRPr lang="da-DK"/>
          </a:p>
        </p:txBody>
      </p:sp>
      <p:sp>
        <p:nvSpPr>
          <p:cNvPr id="7" name="Rektangel 6">
            <a:extLst>
              <a:ext uri="{FF2B5EF4-FFF2-40B4-BE49-F238E27FC236}">
                <a16:creationId xmlns:a16="http://schemas.microsoft.com/office/drawing/2014/main" id="{CDCAA69E-7275-FB66-2494-4DDC6372EBBE}"/>
              </a:ext>
            </a:extLst>
          </p:cNvPr>
          <p:cNvSpPr/>
          <p:nvPr/>
        </p:nvSpPr>
        <p:spPr>
          <a:xfrm>
            <a:off x="-62753" y="0"/>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a-DK" dirty="0">
              <a:solidFill>
                <a:schemeClr val="bg1"/>
              </a:solidFill>
              <a:cs typeface="Arial"/>
            </a:endParaRPr>
          </a:p>
        </p:txBody>
      </p:sp>
      <p:sp>
        <p:nvSpPr>
          <p:cNvPr id="9" name="Title 5">
            <a:extLst>
              <a:ext uri="{FF2B5EF4-FFF2-40B4-BE49-F238E27FC236}">
                <a16:creationId xmlns:a16="http://schemas.microsoft.com/office/drawing/2014/main" id="{F08D03CC-4734-6458-4024-E8DFEABA925C}"/>
              </a:ext>
            </a:extLst>
          </p:cNvPr>
          <p:cNvSpPr txBox="1">
            <a:spLocks/>
          </p:cNvSpPr>
          <p:nvPr/>
        </p:nvSpPr>
        <p:spPr>
          <a:xfrm>
            <a:off x="1110780" y="596961"/>
            <a:ext cx="10331071" cy="627864"/>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4800" dirty="0">
                <a:solidFill>
                  <a:schemeClr val="bg1"/>
                </a:solidFill>
                <a:latin typeface="+mn-lt"/>
              </a:rPr>
              <a:t>Testsporets organisering og rolle</a:t>
            </a:r>
            <a:endParaRPr lang="nb-NO" sz="4800" dirty="0">
              <a:solidFill>
                <a:schemeClr val="bg1"/>
              </a:solidFill>
              <a:latin typeface="+mn-lt"/>
            </a:endParaRPr>
          </a:p>
        </p:txBody>
      </p:sp>
      <p:grpSp>
        <p:nvGrpSpPr>
          <p:cNvPr id="104" name="Group 103">
            <a:extLst>
              <a:ext uri="{FF2B5EF4-FFF2-40B4-BE49-F238E27FC236}">
                <a16:creationId xmlns:a16="http://schemas.microsoft.com/office/drawing/2014/main" id="{D845CEA9-BEE4-54CF-C5A2-F12B1996D5A4}"/>
              </a:ext>
            </a:extLst>
          </p:cNvPr>
          <p:cNvGrpSpPr/>
          <p:nvPr/>
        </p:nvGrpSpPr>
        <p:grpSpPr>
          <a:xfrm>
            <a:off x="7290846" y="2455866"/>
            <a:ext cx="4554050" cy="4063084"/>
            <a:chOff x="5088160" y="2252854"/>
            <a:chExt cx="4554050" cy="4063084"/>
          </a:xfrm>
        </p:grpSpPr>
        <p:grpSp>
          <p:nvGrpSpPr>
            <p:cNvPr id="105" name="Group 104">
              <a:extLst>
                <a:ext uri="{FF2B5EF4-FFF2-40B4-BE49-F238E27FC236}">
                  <a16:creationId xmlns:a16="http://schemas.microsoft.com/office/drawing/2014/main" id="{82E43A62-996D-2524-4A3C-69C177103BCB}"/>
                </a:ext>
              </a:extLst>
            </p:cNvPr>
            <p:cNvGrpSpPr/>
            <p:nvPr/>
          </p:nvGrpSpPr>
          <p:grpSpPr>
            <a:xfrm>
              <a:off x="5507648" y="3152769"/>
              <a:ext cx="3209500" cy="3163169"/>
              <a:chOff x="5507648" y="3152769"/>
              <a:chExt cx="3209500" cy="3163169"/>
            </a:xfrm>
          </p:grpSpPr>
          <p:sp>
            <p:nvSpPr>
              <p:cNvPr id="203" name="Graphic 6">
                <a:extLst>
                  <a:ext uri="{FF2B5EF4-FFF2-40B4-BE49-F238E27FC236}">
                    <a16:creationId xmlns:a16="http://schemas.microsoft.com/office/drawing/2014/main" id="{D997849E-1D04-72BB-E17E-034629999C80}"/>
                  </a:ext>
                </a:extLst>
              </p:cNvPr>
              <p:cNvSpPr/>
              <p:nvPr/>
            </p:nvSpPr>
            <p:spPr>
              <a:xfrm>
                <a:off x="7508973"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579"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579"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4" name="Graphic 6">
                <a:extLst>
                  <a:ext uri="{FF2B5EF4-FFF2-40B4-BE49-F238E27FC236}">
                    <a16:creationId xmlns:a16="http://schemas.microsoft.com/office/drawing/2014/main" id="{6EE97004-91B0-0B81-89A1-BBEC7DC79F13}"/>
                  </a:ext>
                </a:extLst>
              </p:cNvPr>
              <p:cNvSpPr/>
              <p:nvPr/>
            </p:nvSpPr>
            <p:spPr>
              <a:xfrm>
                <a:off x="5907457"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635"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635"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5" name="Graphic 6">
                <a:extLst>
                  <a:ext uri="{FF2B5EF4-FFF2-40B4-BE49-F238E27FC236}">
                    <a16:creationId xmlns:a16="http://schemas.microsoft.com/office/drawing/2014/main" id="{EE2E9BE8-37EA-4B90-7E5A-F31DA3A9DF5C}"/>
                  </a:ext>
                </a:extLst>
              </p:cNvPr>
              <p:cNvSpPr/>
              <p:nvPr/>
            </p:nvSpPr>
            <p:spPr>
              <a:xfrm>
                <a:off x="8131627" y="3835803"/>
                <a:ext cx="325711" cy="325711"/>
              </a:xfrm>
              <a:custGeom>
                <a:avLst/>
                <a:gdLst>
                  <a:gd name="connsiteX0" fmla="*/ 249943 w 325711"/>
                  <a:gd name="connsiteY0" fmla="*/ 0 h 325711"/>
                  <a:gd name="connsiteX1" fmla="*/ 325712 w 325711"/>
                  <a:gd name="connsiteY1" fmla="*/ 0 h 325711"/>
                  <a:gd name="connsiteX2" fmla="*/ 325712 w 325711"/>
                  <a:gd name="connsiteY2" fmla="*/ 325711 h 325711"/>
                  <a:gd name="connsiteX3" fmla="*/ 249943 w 325711"/>
                  <a:gd name="connsiteY3" fmla="*/ 325711 h 325711"/>
                  <a:gd name="connsiteX4" fmla="*/ 75769 w 325711"/>
                  <a:gd name="connsiteY4" fmla="*/ 325711 h 325711"/>
                  <a:gd name="connsiteX5" fmla="*/ 0 w 325711"/>
                  <a:gd name="connsiteY5" fmla="*/ 325711 h 325711"/>
                  <a:gd name="connsiteX6" fmla="*/ 0 w 325711"/>
                  <a:gd name="connsiteY6" fmla="*/ 0 h 325711"/>
                  <a:gd name="connsiteX7" fmla="*/ 75769 w 325711"/>
                  <a:gd name="connsiteY7" fmla="*/ 0 h 32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11" h="325711">
                    <a:moveTo>
                      <a:pt x="249943" y="0"/>
                    </a:moveTo>
                    <a:cubicBezTo>
                      <a:pt x="291789" y="0"/>
                      <a:pt x="325712" y="0"/>
                      <a:pt x="325712" y="0"/>
                    </a:cubicBezTo>
                    <a:lnTo>
                      <a:pt x="325712" y="325711"/>
                    </a:lnTo>
                    <a:cubicBezTo>
                      <a:pt x="325712" y="325711"/>
                      <a:pt x="291789" y="325711"/>
                      <a:pt x="249943" y="325711"/>
                    </a:cubicBezTo>
                    <a:lnTo>
                      <a:pt x="75769" y="325711"/>
                    </a:lnTo>
                    <a:cubicBezTo>
                      <a:pt x="33923" y="325711"/>
                      <a:pt x="0" y="325711"/>
                      <a:pt x="0" y="325711"/>
                    </a:cubicBezTo>
                    <a:lnTo>
                      <a:pt x="0" y="0"/>
                    </a:lnTo>
                    <a:cubicBezTo>
                      <a:pt x="0" y="0"/>
                      <a:pt x="33923" y="0"/>
                      <a:pt x="75769" y="0"/>
                    </a:cubicBezTo>
                    <a:close/>
                  </a:path>
                </a:pathLst>
              </a:custGeom>
              <a:solidFill>
                <a:schemeClr val="accent2"/>
              </a:solidFill>
              <a:ln w="5573" cap="flat">
                <a:noFill/>
                <a:prstDash val="solid"/>
                <a:miter/>
              </a:ln>
            </p:spPr>
            <p:txBody>
              <a:bodyPr rtlCol="0" anchor="ctr"/>
              <a:lstStyle/>
              <a:p>
                <a:endParaRPr lang="en-GB"/>
              </a:p>
            </p:txBody>
          </p:sp>
          <p:sp>
            <p:nvSpPr>
              <p:cNvPr id="206" name="Graphic 6">
                <a:extLst>
                  <a:ext uri="{FF2B5EF4-FFF2-40B4-BE49-F238E27FC236}">
                    <a16:creationId xmlns:a16="http://schemas.microsoft.com/office/drawing/2014/main" id="{EA410076-92A7-043D-6D5B-8A9BE872CA9F}"/>
                  </a:ext>
                </a:extLst>
              </p:cNvPr>
              <p:cNvSpPr/>
              <p:nvPr/>
            </p:nvSpPr>
            <p:spPr>
              <a:xfrm>
                <a:off x="7522020" y="4946244"/>
                <a:ext cx="435991" cy="435991"/>
              </a:xfrm>
              <a:custGeom>
                <a:avLst/>
                <a:gdLst>
                  <a:gd name="connsiteX0" fmla="*/ 435992 w 435991"/>
                  <a:gd name="connsiteY0" fmla="*/ 217996 h 435991"/>
                  <a:gd name="connsiteX1" fmla="*/ 217996 w 435991"/>
                  <a:gd name="connsiteY1" fmla="*/ 435991 h 435991"/>
                  <a:gd name="connsiteX2" fmla="*/ 0 w 435991"/>
                  <a:gd name="connsiteY2" fmla="*/ 217996 h 435991"/>
                  <a:gd name="connsiteX3" fmla="*/ 217996 w 435991"/>
                  <a:gd name="connsiteY3" fmla="*/ 0 h 435991"/>
                  <a:gd name="connsiteX4" fmla="*/ 435992 w 435991"/>
                  <a:gd name="connsiteY4" fmla="*/ 217996 h 435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91" h="435991">
                    <a:moveTo>
                      <a:pt x="435992" y="217996"/>
                    </a:moveTo>
                    <a:cubicBezTo>
                      <a:pt x="435992" y="338392"/>
                      <a:pt x="338392" y="435991"/>
                      <a:pt x="217996" y="435991"/>
                    </a:cubicBezTo>
                    <a:cubicBezTo>
                      <a:pt x="97600" y="435991"/>
                      <a:pt x="0" y="338391"/>
                      <a:pt x="0" y="217996"/>
                    </a:cubicBezTo>
                    <a:cubicBezTo>
                      <a:pt x="0" y="97600"/>
                      <a:pt x="97600" y="0"/>
                      <a:pt x="217996" y="0"/>
                    </a:cubicBezTo>
                    <a:cubicBezTo>
                      <a:pt x="338392" y="0"/>
                      <a:pt x="435992" y="97600"/>
                      <a:pt x="435992" y="217996"/>
                    </a:cubicBezTo>
                    <a:close/>
                  </a:path>
                </a:pathLst>
              </a:custGeom>
              <a:solidFill>
                <a:schemeClr val="accent2"/>
              </a:solidFill>
              <a:ln w="5573" cap="flat">
                <a:noFill/>
                <a:prstDash val="solid"/>
                <a:miter/>
              </a:ln>
            </p:spPr>
            <p:txBody>
              <a:bodyPr rtlCol="0" anchor="ctr"/>
              <a:lstStyle/>
              <a:p>
                <a:endParaRPr lang="en-GB"/>
              </a:p>
            </p:txBody>
          </p:sp>
          <p:sp>
            <p:nvSpPr>
              <p:cNvPr id="207" name="Graphic 6">
                <a:extLst>
                  <a:ext uri="{FF2B5EF4-FFF2-40B4-BE49-F238E27FC236}">
                    <a16:creationId xmlns:a16="http://schemas.microsoft.com/office/drawing/2014/main" id="{91A6E73D-E397-6A8D-BE98-419F1623927A}"/>
                  </a:ext>
                </a:extLst>
              </p:cNvPr>
              <p:cNvSpPr/>
              <p:nvPr/>
            </p:nvSpPr>
            <p:spPr>
              <a:xfrm>
                <a:off x="8395842" y="5369370"/>
                <a:ext cx="292649" cy="338353"/>
              </a:xfrm>
              <a:custGeom>
                <a:avLst/>
                <a:gdLst>
                  <a:gd name="connsiteX0" fmla="*/ 287495 w 292649"/>
                  <a:gd name="connsiteY0" fmla="*/ 238813 h 338353"/>
                  <a:gd name="connsiteX1" fmla="*/ 174259 w 292649"/>
                  <a:gd name="connsiteY1" fmla="*/ 203409 h 338353"/>
                  <a:gd name="connsiteX2" fmla="*/ 189034 w 292649"/>
                  <a:gd name="connsiteY2" fmla="*/ 125355 h 338353"/>
                  <a:gd name="connsiteX3" fmla="*/ 291843 w 292649"/>
                  <a:gd name="connsiteY3" fmla="*/ 133495 h 338353"/>
                  <a:gd name="connsiteX4" fmla="*/ 291843 w 292649"/>
                  <a:gd name="connsiteY4" fmla="*/ 105228 h 338353"/>
                  <a:gd name="connsiteX5" fmla="*/ 282533 w 292649"/>
                  <a:gd name="connsiteY5" fmla="*/ 87665 h 338353"/>
                  <a:gd name="connsiteX6" fmla="*/ 157143 w 292649"/>
                  <a:gd name="connsiteY6" fmla="*/ 3088 h 338353"/>
                  <a:gd name="connsiteX7" fmla="*/ 133950 w 292649"/>
                  <a:gd name="connsiteY7" fmla="*/ 3088 h 338353"/>
                  <a:gd name="connsiteX8" fmla="*/ 8560 w 292649"/>
                  <a:gd name="connsiteY8" fmla="*/ 87665 h 338353"/>
                  <a:gd name="connsiteX9" fmla="*/ -807 w 292649"/>
                  <a:gd name="connsiteY9" fmla="*/ 105228 h 338353"/>
                  <a:gd name="connsiteX10" fmla="*/ -807 w 292649"/>
                  <a:gd name="connsiteY10" fmla="*/ 232178 h 338353"/>
                  <a:gd name="connsiteX11" fmla="*/ 8560 w 292649"/>
                  <a:gd name="connsiteY11" fmla="*/ 249741 h 338353"/>
                  <a:gd name="connsiteX12" fmla="*/ 133950 w 292649"/>
                  <a:gd name="connsiteY12" fmla="*/ 334374 h 338353"/>
                  <a:gd name="connsiteX13" fmla="*/ 145490 w 292649"/>
                  <a:gd name="connsiteY13" fmla="*/ 337887 h 338353"/>
                  <a:gd name="connsiteX14" fmla="*/ 157143 w 292649"/>
                  <a:gd name="connsiteY14" fmla="*/ 334374 h 338353"/>
                  <a:gd name="connsiteX15" fmla="*/ 282533 w 292649"/>
                  <a:gd name="connsiteY15" fmla="*/ 249741 h 338353"/>
                  <a:gd name="connsiteX16" fmla="*/ 291397 w 292649"/>
                  <a:gd name="connsiteY16" fmla="*/ 236081 h 33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649" h="338353">
                    <a:moveTo>
                      <a:pt x="287495" y="238813"/>
                    </a:moveTo>
                    <a:lnTo>
                      <a:pt x="174259" y="203409"/>
                    </a:lnTo>
                    <a:lnTo>
                      <a:pt x="189034" y="125355"/>
                    </a:lnTo>
                    <a:lnTo>
                      <a:pt x="291843" y="133495"/>
                    </a:lnTo>
                    <a:lnTo>
                      <a:pt x="291843" y="105228"/>
                    </a:lnTo>
                    <a:cubicBezTo>
                      <a:pt x="291843" y="98203"/>
                      <a:pt x="288331" y="91624"/>
                      <a:pt x="282533" y="87665"/>
                    </a:cubicBezTo>
                    <a:lnTo>
                      <a:pt x="157143" y="3088"/>
                    </a:lnTo>
                    <a:cubicBezTo>
                      <a:pt x="150118" y="-1652"/>
                      <a:pt x="140975" y="-1652"/>
                      <a:pt x="133950" y="3088"/>
                    </a:cubicBezTo>
                    <a:lnTo>
                      <a:pt x="8560" y="87665"/>
                    </a:lnTo>
                    <a:cubicBezTo>
                      <a:pt x="2706" y="91569"/>
                      <a:pt x="-807" y="98203"/>
                      <a:pt x="-807" y="105228"/>
                    </a:cubicBezTo>
                    <a:lnTo>
                      <a:pt x="-807" y="232178"/>
                    </a:lnTo>
                    <a:cubicBezTo>
                      <a:pt x="-807" y="239203"/>
                      <a:pt x="2706" y="245838"/>
                      <a:pt x="8560" y="249741"/>
                    </a:cubicBezTo>
                    <a:lnTo>
                      <a:pt x="133950" y="334374"/>
                    </a:lnTo>
                    <a:cubicBezTo>
                      <a:pt x="137350" y="336660"/>
                      <a:pt x="141365" y="337887"/>
                      <a:pt x="145490" y="337887"/>
                    </a:cubicBezTo>
                    <a:cubicBezTo>
                      <a:pt x="149617" y="337887"/>
                      <a:pt x="153687" y="336660"/>
                      <a:pt x="157143" y="334374"/>
                    </a:cubicBezTo>
                    <a:lnTo>
                      <a:pt x="282533" y="249741"/>
                    </a:lnTo>
                    <a:cubicBezTo>
                      <a:pt x="287216" y="246563"/>
                      <a:pt x="290394" y="241656"/>
                      <a:pt x="291397" y="236081"/>
                    </a:cubicBezTo>
                    <a:close/>
                  </a:path>
                </a:pathLst>
              </a:custGeom>
              <a:solidFill>
                <a:schemeClr val="accent2"/>
              </a:solidFill>
              <a:ln w="5573" cap="flat">
                <a:noFill/>
                <a:prstDash val="solid"/>
                <a:miter/>
              </a:ln>
            </p:spPr>
            <p:txBody>
              <a:bodyPr rtlCol="0" anchor="ctr"/>
              <a:lstStyle/>
              <a:p>
                <a:endParaRPr lang="en-GB"/>
              </a:p>
            </p:txBody>
          </p:sp>
          <p:sp>
            <p:nvSpPr>
              <p:cNvPr id="208" name="Graphic 6">
                <a:extLst>
                  <a:ext uri="{FF2B5EF4-FFF2-40B4-BE49-F238E27FC236}">
                    <a16:creationId xmlns:a16="http://schemas.microsoft.com/office/drawing/2014/main" id="{9153E183-00AC-65D6-CCC3-979D851E82C7}"/>
                  </a:ext>
                </a:extLst>
              </p:cNvPr>
              <p:cNvSpPr/>
              <p:nvPr/>
            </p:nvSpPr>
            <p:spPr>
              <a:xfrm>
                <a:off x="5507648" y="6090694"/>
                <a:ext cx="485724" cy="225244"/>
              </a:xfrm>
              <a:custGeom>
                <a:avLst/>
                <a:gdLst>
                  <a:gd name="connsiteX0" fmla="*/ -806 w 485724"/>
                  <a:gd name="connsiteY0" fmla="*/ 176383 h 225244"/>
                  <a:gd name="connsiteX1" fmla="*/ 45235 w 485724"/>
                  <a:gd name="connsiteY1" fmla="*/ 222881 h 225244"/>
                  <a:gd name="connsiteX2" fmla="*/ 78029 w 485724"/>
                  <a:gd name="connsiteY2" fmla="*/ 209500 h 225244"/>
                  <a:gd name="connsiteX3" fmla="*/ 110924 w 485724"/>
                  <a:gd name="connsiteY3" fmla="*/ 176940 h 225244"/>
                  <a:gd name="connsiteX4" fmla="*/ 143484 w 485724"/>
                  <a:gd name="connsiteY4" fmla="*/ 209835 h 225244"/>
                  <a:gd name="connsiteX5" fmla="*/ 176100 w 485724"/>
                  <a:gd name="connsiteY5" fmla="*/ 223550 h 225244"/>
                  <a:gd name="connsiteX6" fmla="*/ 437806 w 485724"/>
                  <a:gd name="connsiteY6" fmla="*/ 224777 h 225244"/>
                  <a:gd name="connsiteX7" fmla="*/ 484249 w 485724"/>
                  <a:gd name="connsiteY7" fmla="*/ 178725 h 225244"/>
                  <a:gd name="connsiteX8" fmla="*/ 484918 w 485724"/>
                  <a:gd name="connsiteY8" fmla="*/ 47871 h 225244"/>
                  <a:gd name="connsiteX9" fmla="*/ 438866 w 485724"/>
                  <a:gd name="connsiteY9" fmla="*/ 1428 h 225244"/>
                  <a:gd name="connsiteX10" fmla="*/ 177159 w 485724"/>
                  <a:gd name="connsiteY10" fmla="*/ 146 h 225244"/>
                  <a:gd name="connsiteX11" fmla="*/ 144432 w 485724"/>
                  <a:gd name="connsiteY11" fmla="*/ 13527 h 225244"/>
                  <a:gd name="connsiteX12" fmla="*/ 111537 w 485724"/>
                  <a:gd name="connsiteY12" fmla="*/ 46087 h 225244"/>
                  <a:gd name="connsiteX13" fmla="*/ 78921 w 485724"/>
                  <a:gd name="connsiteY13" fmla="*/ 13192 h 225244"/>
                  <a:gd name="connsiteX14" fmla="*/ 28743 w 485724"/>
                  <a:gd name="connsiteY14" fmla="*/ 2934 h 225244"/>
                  <a:gd name="connsiteX15" fmla="*/ 13690 w 485724"/>
                  <a:gd name="connsiteY15" fmla="*/ 12914 h 225244"/>
                  <a:gd name="connsiteX16" fmla="*/ -25 w 485724"/>
                  <a:gd name="connsiteY16" fmla="*/ 45530 h 2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5724" h="225244">
                    <a:moveTo>
                      <a:pt x="-806" y="176383"/>
                    </a:moveTo>
                    <a:cubicBezTo>
                      <a:pt x="-934" y="201917"/>
                      <a:pt x="19678" y="222769"/>
                      <a:pt x="45235" y="222881"/>
                    </a:cubicBezTo>
                    <a:cubicBezTo>
                      <a:pt x="57507" y="222937"/>
                      <a:pt x="69304" y="218142"/>
                      <a:pt x="78029" y="209500"/>
                    </a:cubicBezTo>
                    <a:lnTo>
                      <a:pt x="110924" y="176940"/>
                    </a:lnTo>
                    <a:lnTo>
                      <a:pt x="143484" y="209835"/>
                    </a:lnTo>
                    <a:cubicBezTo>
                      <a:pt x="152120" y="218533"/>
                      <a:pt x="163845" y="223438"/>
                      <a:pt x="176100" y="223550"/>
                    </a:cubicBezTo>
                    <a:lnTo>
                      <a:pt x="437806" y="224777"/>
                    </a:lnTo>
                    <a:cubicBezTo>
                      <a:pt x="463341" y="224888"/>
                      <a:pt x="484126" y="204259"/>
                      <a:pt x="484249" y="178725"/>
                    </a:cubicBezTo>
                    <a:lnTo>
                      <a:pt x="484918" y="47871"/>
                    </a:lnTo>
                    <a:cubicBezTo>
                      <a:pt x="485013" y="22336"/>
                      <a:pt x="464400" y="1540"/>
                      <a:pt x="438866" y="1428"/>
                    </a:cubicBezTo>
                    <a:lnTo>
                      <a:pt x="177159" y="146"/>
                    </a:lnTo>
                    <a:cubicBezTo>
                      <a:pt x="164910" y="90"/>
                      <a:pt x="153146" y="4941"/>
                      <a:pt x="144432" y="13527"/>
                    </a:cubicBezTo>
                    <a:lnTo>
                      <a:pt x="111537" y="46087"/>
                    </a:lnTo>
                    <a:lnTo>
                      <a:pt x="78921" y="13192"/>
                    </a:lnTo>
                    <a:cubicBezTo>
                      <a:pt x="65797" y="-21"/>
                      <a:pt x="46004" y="-4091"/>
                      <a:pt x="28743" y="2934"/>
                    </a:cubicBezTo>
                    <a:cubicBezTo>
                      <a:pt x="23112" y="5220"/>
                      <a:pt x="17989" y="8621"/>
                      <a:pt x="13690" y="12914"/>
                    </a:cubicBezTo>
                    <a:cubicBezTo>
                      <a:pt x="4959" y="21500"/>
                      <a:pt x="19" y="33263"/>
                      <a:pt x="-25" y="45530"/>
                    </a:cubicBezTo>
                    <a:close/>
                  </a:path>
                </a:pathLst>
              </a:custGeom>
              <a:solidFill>
                <a:schemeClr val="accent2"/>
              </a:solidFill>
              <a:ln w="5573" cap="flat">
                <a:noFill/>
                <a:prstDash val="solid"/>
                <a:miter/>
              </a:ln>
            </p:spPr>
            <p:txBody>
              <a:bodyPr rtlCol="0" anchor="ctr"/>
              <a:lstStyle/>
              <a:p>
                <a:endParaRPr lang="en-GB"/>
              </a:p>
            </p:txBody>
          </p:sp>
        </p:grpSp>
        <p:grpSp>
          <p:nvGrpSpPr>
            <p:cNvPr id="106" name="Group 105">
              <a:extLst>
                <a:ext uri="{FF2B5EF4-FFF2-40B4-BE49-F238E27FC236}">
                  <a16:creationId xmlns:a16="http://schemas.microsoft.com/office/drawing/2014/main" id="{550591B5-E58E-0D49-392E-07F64B5A6FE0}"/>
                </a:ext>
              </a:extLst>
            </p:cNvPr>
            <p:cNvGrpSpPr/>
            <p:nvPr/>
          </p:nvGrpSpPr>
          <p:grpSpPr>
            <a:xfrm>
              <a:off x="5088160" y="2252854"/>
              <a:ext cx="4554050" cy="4023387"/>
              <a:chOff x="5088160" y="2252854"/>
              <a:chExt cx="4554050" cy="4023387"/>
            </a:xfrm>
          </p:grpSpPr>
          <p:sp>
            <p:nvSpPr>
              <p:cNvPr id="107" name="Graphic 6">
                <a:extLst>
                  <a:ext uri="{FF2B5EF4-FFF2-40B4-BE49-F238E27FC236}">
                    <a16:creationId xmlns:a16="http://schemas.microsoft.com/office/drawing/2014/main" id="{CC4F18FA-4B6D-4047-1F57-E0990B428AC8}"/>
                  </a:ext>
                </a:extLst>
              </p:cNvPr>
              <p:cNvSpPr/>
              <p:nvPr/>
            </p:nvSpPr>
            <p:spPr>
              <a:xfrm>
                <a:off x="6175301" y="5778799"/>
                <a:ext cx="68023" cy="497392"/>
              </a:xfrm>
              <a:custGeom>
                <a:avLst/>
                <a:gdLst>
                  <a:gd name="connsiteX0" fmla="*/ 7272 w 68023"/>
                  <a:gd name="connsiteY0" fmla="*/ 496920 h 497392"/>
                  <a:gd name="connsiteX1" fmla="*/ 6603 w 68023"/>
                  <a:gd name="connsiteY1" fmla="*/ 496920 h 497392"/>
                  <a:gd name="connsiteX2" fmla="*/ -756 w 68023"/>
                  <a:gd name="connsiteY2" fmla="*/ 487776 h 497392"/>
                  <a:gd name="connsiteX3" fmla="*/ -756 w 68023"/>
                  <a:gd name="connsiteY3" fmla="*/ 487664 h 497392"/>
                  <a:gd name="connsiteX4" fmla="*/ 47582 w 68023"/>
                  <a:gd name="connsiteY4" fmla="*/ 66894 h 497392"/>
                  <a:gd name="connsiteX5" fmla="*/ 50481 w 68023"/>
                  <a:gd name="connsiteY5" fmla="*/ 7516 h 497392"/>
                  <a:gd name="connsiteX6" fmla="*/ 59290 w 68023"/>
                  <a:gd name="connsiteY6" fmla="*/ -457 h 497392"/>
                  <a:gd name="connsiteX7" fmla="*/ 67207 w 68023"/>
                  <a:gd name="connsiteY7" fmla="*/ 8353 h 497392"/>
                  <a:gd name="connsiteX8" fmla="*/ 64308 w 68023"/>
                  <a:gd name="connsiteY8" fmla="*/ 68287 h 497392"/>
                  <a:gd name="connsiteX9" fmla="*/ 15914 w 68023"/>
                  <a:gd name="connsiteY9" fmla="*/ 489560 h 497392"/>
                  <a:gd name="connsiteX10" fmla="*/ 7272 w 68023"/>
                  <a:gd name="connsiteY10" fmla="*/ 496920 h 49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23" h="497392">
                    <a:moveTo>
                      <a:pt x="7272" y="496920"/>
                    </a:moveTo>
                    <a:lnTo>
                      <a:pt x="6603" y="496920"/>
                    </a:lnTo>
                    <a:cubicBezTo>
                      <a:pt x="2032" y="496417"/>
                      <a:pt x="-1258" y="492347"/>
                      <a:pt x="-756" y="487776"/>
                    </a:cubicBezTo>
                    <a:cubicBezTo>
                      <a:pt x="-756" y="487720"/>
                      <a:pt x="-756" y="487720"/>
                      <a:pt x="-756" y="487664"/>
                    </a:cubicBezTo>
                    <a:lnTo>
                      <a:pt x="47582" y="66894"/>
                    </a:lnTo>
                    <a:lnTo>
                      <a:pt x="50481" y="7516"/>
                    </a:lnTo>
                    <a:cubicBezTo>
                      <a:pt x="50704" y="2888"/>
                      <a:pt x="54663" y="-679"/>
                      <a:pt x="59290" y="-457"/>
                    </a:cubicBezTo>
                    <a:cubicBezTo>
                      <a:pt x="63862" y="-178"/>
                      <a:pt x="67430" y="3725"/>
                      <a:pt x="67207" y="8353"/>
                    </a:cubicBezTo>
                    <a:lnTo>
                      <a:pt x="64308" y="68287"/>
                    </a:lnTo>
                    <a:lnTo>
                      <a:pt x="15914" y="489560"/>
                    </a:lnTo>
                    <a:cubicBezTo>
                      <a:pt x="15413" y="493909"/>
                      <a:pt x="11621" y="497086"/>
                      <a:pt x="7272" y="496920"/>
                    </a:cubicBezTo>
                    <a:close/>
                  </a:path>
                </a:pathLst>
              </a:custGeom>
              <a:solidFill>
                <a:srgbClr val="30373B"/>
              </a:solidFill>
              <a:ln w="5573" cap="flat">
                <a:noFill/>
                <a:prstDash val="solid"/>
                <a:miter/>
              </a:ln>
            </p:spPr>
            <p:txBody>
              <a:bodyPr rtlCol="0" anchor="ctr"/>
              <a:lstStyle/>
              <a:p>
                <a:endParaRPr lang="en-GB"/>
              </a:p>
            </p:txBody>
          </p:sp>
          <p:sp>
            <p:nvSpPr>
              <p:cNvPr id="108" name="Graphic 6">
                <a:extLst>
                  <a:ext uri="{FF2B5EF4-FFF2-40B4-BE49-F238E27FC236}">
                    <a16:creationId xmlns:a16="http://schemas.microsoft.com/office/drawing/2014/main" id="{4821A49D-1FEE-AFA8-D5AA-46F0191F4F6E}"/>
                  </a:ext>
                </a:extLst>
              </p:cNvPr>
              <p:cNvSpPr/>
              <p:nvPr/>
            </p:nvSpPr>
            <p:spPr>
              <a:xfrm>
                <a:off x="6174031" y="5582446"/>
                <a:ext cx="309926" cy="192429"/>
              </a:xfrm>
              <a:custGeom>
                <a:avLst/>
                <a:gdLst>
                  <a:gd name="connsiteX0" fmla="*/ 279336 w 309926"/>
                  <a:gd name="connsiteY0" fmla="*/ 191938 h 192429"/>
                  <a:gd name="connsiteX1" fmla="*/ 205241 w 309926"/>
                  <a:gd name="connsiteY1" fmla="*/ 166738 h 192429"/>
                  <a:gd name="connsiteX2" fmla="*/ 130363 w 309926"/>
                  <a:gd name="connsiteY2" fmla="*/ 136241 h 192429"/>
                  <a:gd name="connsiteX3" fmla="*/ 125401 w 309926"/>
                  <a:gd name="connsiteY3" fmla="*/ 125480 h 192429"/>
                  <a:gd name="connsiteX4" fmla="*/ 135549 w 309926"/>
                  <a:gd name="connsiteY4" fmla="*/ 120351 h 192429"/>
                  <a:gd name="connsiteX5" fmla="*/ 212098 w 309926"/>
                  <a:gd name="connsiteY5" fmla="*/ 151461 h 192429"/>
                  <a:gd name="connsiteX6" fmla="*/ 287365 w 309926"/>
                  <a:gd name="connsiteY6" fmla="*/ 172982 h 192429"/>
                  <a:gd name="connsiteX7" fmla="*/ 288424 w 309926"/>
                  <a:gd name="connsiteY7" fmla="*/ 122804 h 192429"/>
                  <a:gd name="connsiteX8" fmla="*/ 284912 w 309926"/>
                  <a:gd name="connsiteY8" fmla="*/ 105576 h 192429"/>
                  <a:gd name="connsiteX9" fmla="*/ 207192 w 309926"/>
                  <a:gd name="connsiteY9" fmla="*/ 16371 h 192429"/>
                  <a:gd name="connsiteX10" fmla="*/ 118878 w 309926"/>
                  <a:gd name="connsiteY10" fmla="*/ 16371 h 192429"/>
                  <a:gd name="connsiteX11" fmla="*/ 24599 w 309926"/>
                  <a:gd name="connsiteY11" fmla="*/ 82049 h 192429"/>
                  <a:gd name="connsiteX12" fmla="*/ 22146 w 309926"/>
                  <a:gd name="connsiteY12" fmla="*/ 164006 h 192429"/>
                  <a:gd name="connsiteX13" fmla="*/ 131256 w 309926"/>
                  <a:gd name="connsiteY13" fmla="*/ 37055 h 192429"/>
                  <a:gd name="connsiteX14" fmla="*/ 142406 w 309926"/>
                  <a:gd name="connsiteY14" fmla="*/ 33543 h 192429"/>
                  <a:gd name="connsiteX15" fmla="*/ 145919 w 309926"/>
                  <a:gd name="connsiteY15" fmla="*/ 44693 h 192429"/>
                  <a:gd name="connsiteX16" fmla="*/ 145919 w 309926"/>
                  <a:gd name="connsiteY16" fmla="*/ 44693 h 192429"/>
                  <a:gd name="connsiteX17" fmla="*/ 80687 w 309926"/>
                  <a:gd name="connsiteY17" fmla="*/ 141370 h 192429"/>
                  <a:gd name="connsiteX18" fmla="*/ 16236 w 309926"/>
                  <a:gd name="connsiteY18" fmla="*/ 179617 h 192429"/>
                  <a:gd name="connsiteX19" fmla="*/ 8208 w 309926"/>
                  <a:gd name="connsiteY19" fmla="*/ 78201 h 192429"/>
                  <a:gd name="connsiteX20" fmla="*/ 118767 w 309926"/>
                  <a:gd name="connsiteY20" fmla="*/ -467 h 192429"/>
                  <a:gd name="connsiteX21" fmla="*/ 207080 w 309926"/>
                  <a:gd name="connsiteY21" fmla="*/ -467 h 192429"/>
                  <a:gd name="connsiteX22" fmla="*/ 301192 w 309926"/>
                  <a:gd name="connsiteY22" fmla="*/ 102343 h 192429"/>
                  <a:gd name="connsiteX23" fmla="*/ 304704 w 309926"/>
                  <a:gd name="connsiteY23" fmla="*/ 119459 h 192429"/>
                  <a:gd name="connsiteX24" fmla="*/ 297735 w 309926"/>
                  <a:gd name="connsiteY24" fmla="*/ 186028 h 192429"/>
                  <a:gd name="connsiteX25" fmla="*/ 279336 w 309926"/>
                  <a:gd name="connsiteY25" fmla="*/ 191938 h 19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9926" h="192429">
                    <a:moveTo>
                      <a:pt x="279336" y="191938"/>
                    </a:moveTo>
                    <a:cubicBezTo>
                      <a:pt x="261161" y="191938"/>
                      <a:pt x="236295" y="180788"/>
                      <a:pt x="205241" y="166738"/>
                    </a:cubicBezTo>
                    <a:cubicBezTo>
                      <a:pt x="180820" y="155253"/>
                      <a:pt x="155843" y="145049"/>
                      <a:pt x="130363" y="136241"/>
                    </a:cubicBezTo>
                    <a:cubicBezTo>
                      <a:pt x="126014" y="134624"/>
                      <a:pt x="123785" y="129829"/>
                      <a:pt x="125401" y="125480"/>
                    </a:cubicBezTo>
                    <a:cubicBezTo>
                      <a:pt x="126907" y="121410"/>
                      <a:pt x="131367" y="119124"/>
                      <a:pt x="135549" y="120351"/>
                    </a:cubicBezTo>
                    <a:cubicBezTo>
                      <a:pt x="161585" y="129327"/>
                      <a:pt x="187176" y="139753"/>
                      <a:pt x="212098" y="151461"/>
                    </a:cubicBezTo>
                    <a:cubicBezTo>
                      <a:pt x="245550" y="166626"/>
                      <a:pt x="277497" y="180955"/>
                      <a:pt x="287365" y="172982"/>
                    </a:cubicBezTo>
                    <a:cubicBezTo>
                      <a:pt x="291045" y="170083"/>
                      <a:pt x="296062" y="159601"/>
                      <a:pt x="288424" y="122804"/>
                    </a:cubicBezTo>
                    <a:lnTo>
                      <a:pt x="284912" y="105576"/>
                    </a:lnTo>
                    <a:cubicBezTo>
                      <a:pt x="272256" y="42408"/>
                      <a:pt x="267015" y="16371"/>
                      <a:pt x="207192" y="16371"/>
                    </a:cubicBezTo>
                    <a:lnTo>
                      <a:pt x="118878" y="16371"/>
                    </a:lnTo>
                    <a:cubicBezTo>
                      <a:pt x="69927" y="16371"/>
                      <a:pt x="33854" y="41571"/>
                      <a:pt x="24599" y="82049"/>
                    </a:cubicBezTo>
                    <a:cubicBezTo>
                      <a:pt x="7371" y="157650"/>
                      <a:pt x="21533" y="163783"/>
                      <a:pt x="22146" y="164006"/>
                    </a:cubicBezTo>
                    <a:cubicBezTo>
                      <a:pt x="36252" y="169191"/>
                      <a:pt x="89385" y="117005"/>
                      <a:pt x="131256" y="37055"/>
                    </a:cubicBezTo>
                    <a:cubicBezTo>
                      <a:pt x="133374" y="33041"/>
                      <a:pt x="138336" y="31480"/>
                      <a:pt x="142406" y="33543"/>
                    </a:cubicBezTo>
                    <a:cubicBezTo>
                      <a:pt x="146476" y="35661"/>
                      <a:pt x="148037" y="40623"/>
                      <a:pt x="145919" y="44693"/>
                    </a:cubicBezTo>
                    <a:cubicBezTo>
                      <a:pt x="145919" y="44693"/>
                      <a:pt x="145919" y="44693"/>
                      <a:pt x="145919" y="44693"/>
                    </a:cubicBezTo>
                    <a:cubicBezTo>
                      <a:pt x="127966" y="79317"/>
                      <a:pt x="106055" y="111765"/>
                      <a:pt x="80687" y="141370"/>
                    </a:cubicBezTo>
                    <a:cubicBezTo>
                      <a:pt x="53257" y="172369"/>
                      <a:pt x="31569" y="185248"/>
                      <a:pt x="16236" y="179617"/>
                    </a:cubicBezTo>
                    <a:cubicBezTo>
                      <a:pt x="-3389" y="172369"/>
                      <a:pt x="-6065" y="140143"/>
                      <a:pt x="8208" y="78201"/>
                    </a:cubicBezTo>
                    <a:cubicBezTo>
                      <a:pt x="19359" y="29696"/>
                      <a:pt x="61620" y="-467"/>
                      <a:pt x="118767" y="-467"/>
                    </a:cubicBezTo>
                    <a:lnTo>
                      <a:pt x="207080" y="-467"/>
                    </a:lnTo>
                    <a:cubicBezTo>
                      <a:pt x="280619" y="-467"/>
                      <a:pt x="288815" y="40456"/>
                      <a:pt x="301192" y="102343"/>
                    </a:cubicBezTo>
                    <a:cubicBezTo>
                      <a:pt x="302307" y="107918"/>
                      <a:pt x="303478" y="113494"/>
                      <a:pt x="304704" y="119459"/>
                    </a:cubicBezTo>
                    <a:cubicBezTo>
                      <a:pt x="312231" y="155643"/>
                      <a:pt x="310280" y="176160"/>
                      <a:pt x="297735" y="186028"/>
                    </a:cubicBezTo>
                    <a:cubicBezTo>
                      <a:pt x="292495" y="190099"/>
                      <a:pt x="285971" y="192217"/>
                      <a:pt x="279336" y="191938"/>
                    </a:cubicBezTo>
                    <a:close/>
                  </a:path>
                </a:pathLst>
              </a:custGeom>
              <a:solidFill>
                <a:srgbClr val="30373B"/>
              </a:solidFill>
              <a:ln w="5573" cap="flat">
                <a:noFill/>
                <a:prstDash val="solid"/>
                <a:miter/>
              </a:ln>
            </p:spPr>
            <p:txBody>
              <a:bodyPr rtlCol="0" anchor="ctr"/>
              <a:lstStyle/>
              <a:p>
                <a:endParaRPr lang="en-GB"/>
              </a:p>
            </p:txBody>
          </p:sp>
          <p:sp>
            <p:nvSpPr>
              <p:cNvPr id="109" name="Graphic 6">
                <a:extLst>
                  <a:ext uri="{FF2B5EF4-FFF2-40B4-BE49-F238E27FC236}">
                    <a16:creationId xmlns:a16="http://schemas.microsoft.com/office/drawing/2014/main" id="{8BC41E68-01ED-35B8-3549-2958CD36D8A6}"/>
                  </a:ext>
                </a:extLst>
              </p:cNvPr>
              <p:cNvSpPr/>
              <p:nvPr/>
            </p:nvSpPr>
            <p:spPr>
              <a:xfrm>
                <a:off x="6250492" y="5415353"/>
                <a:ext cx="143189" cy="183762"/>
              </a:xfrm>
              <a:custGeom>
                <a:avLst/>
                <a:gdLst>
                  <a:gd name="connsiteX0" fmla="*/ 70797 w 143189"/>
                  <a:gd name="connsiteY0" fmla="*/ 183296 h 183762"/>
                  <a:gd name="connsiteX1" fmla="*/ -289 w 143189"/>
                  <a:gd name="connsiteY1" fmla="*/ 92140 h 183762"/>
                  <a:gd name="connsiteX2" fmla="*/ 19503 w 143189"/>
                  <a:gd name="connsiteY2" fmla="*/ 20608 h 183762"/>
                  <a:gd name="connsiteX3" fmla="*/ 122089 w 143189"/>
                  <a:gd name="connsiteY3" fmla="*/ 20608 h 183762"/>
                  <a:gd name="connsiteX4" fmla="*/ 141882 w 143189"/>
                  <a:gd name="connsiteY4" fmla="*/ 92140 h 183762"/>
                  <a:gd name="connsiteX5" fmla="*/ 131289 w 143189"/>
                  <a:gd name="connsiteY5" fmla="*/ 134289 h 183762"/>
                  <a:gd name="connsiteX6" fmla="*/ 120194 w 143189"/>
                  <a:gd name="connsiteY6" fmla="*/ 138526 h 183762"/>
                  <a:gd name="connsiteX7" fmla="*/ 120138 w 143189"/>
                  <a:gd name="connsiteY7" fmla="*/ 138526 h 183762"/>
                  <a:gd name="connsiteX8" fmla="*/ 115845 w 143189"/>
                  <a:gd name="connsiteY8" fmla="*/ 127487 h 183762"/>
                  <a:gd name="connsiteX9" fmla="*/ 115901 w 143189"/>
                  <a:gd name="connsiteY9" fmla="*/ 127375 h 183762"/>
                  <a:gd name="connsiteX10" fmla="*/ 125100 w 143189"/>
                  <a:gd name="connsiteY10" fmla="*/ 90578 h 183762"/>
                  <a:gd name="connsiteX11" fmla="*/ 109656 w 143189"/>
                  <a:gd name="connsiteY11" fmla="*/ 31759 h 183762"/>
                  <a:gd name="connsiteX12" fmla="*/ 31602 w 143189"/>
                  <a:gd name="connsiteY12" fmla="*/ 31759 h 183762"/>
                  <a:gd name="connsiteX13" fmla="*/ 16102 w 143189"/>
                  <a:gd name="connsiteY13" fmla="*/ 90522 h 183762"/>
                  <a:gd name="connsiteX14" fmla="*/ 70517 w 143189"/>
                  <a:gd name="connsiteY14" fmla="*/ 166403 h 183762"/>
                  <a:gd name="connsiteX15" fmla="*/ 78880 w 143189"/>
                  <a:gd name="connsiteY15" fmla="*/ 174766 h 183762"/>
                  <a:gd name="connsiteX16" fmla="*/ 70517 w 143189"/>
                  <a:gd name="connsiteY16" fmla="*/ 183129 h 18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189" h="183762">
                    <a:moveTo>
                      <a:pt x="70797" y="183296"/>
                    </a:moveTo>
                    <a:cubicBezTo>
                      <a:pt x="31769" y="183296"/>
                      <a:pt x="3558" y="136017"/>
                      <a:pt x="-289" y="92140"/>
                    </a:cubicBezTo>
                    <a:cubicBezTo>
                      <a:pt x="-2854" y="62813"/>
                      <a:pt x="4171" y="37389"/>
                      <a:pt x="19503" y="20608"/>
                    </a:cubicBezTo>
                    <a:cubicBezTo>
                      <a:pt x="47938" y="-7492"/>
                      <a:pt x="93655" y="-7492"/>
                      <a:pt x="122089" y="20608"/>
                    </a:cubicBezTo>
                    <a:cubicBezTo>
                      <a:pt x="137422" y="37334"/>
                      <a:pt x="144391" y="62813"/>
                      <a:pt x="141882" y="92140"/>
                    </a:cubicBezTo>
                    <a:cubicBezTo>
                      <a:pt x="140712" y="106691"/>
                      <a:pt x="137143" y="120908"/>
                      <a:pt x="131289" y="134289"/>
                    </a:cubicBezTo>
                    <a:cubicBezTo>
                      <a:pt x="129393" y="138526"/>
                      <a:pt x="124431" y="140422"/>
                      <a:pt x="120194" y="138526"/>
                    </a:cubicBezTo>
                    <a:cubicBezTo>
                      <a:pt x="120138" y="138526"/>
                      <a:pt x="120138" y="138526"/>
                      <a:pt x="120138" y="138526"/>
                    </a:cubicBezTo>
                    <a:cubicBezTo>
                      <a:pt x="115901" y="136686"/>
                      <a:pt x="114005" y="131724"/>
                      <a:pt x="115845" y="127487"/>
                    </a:cubicBezTo>
                    <a:cubicBezTo>
                      <a:pt x="115845" y="127487"/>
                      <a:pt x="115901" y="127431"/>
                      <a:pt x="115901" y="127375"/>
                    </a:cubicBezTo>
                    <a:cubicBezTo>
                      <a:pt x="120975" y="115723"/>
                      <a:pt x="124097" y="103290"/>
                      <a:pt x="125100" y="90578"/>
                    </a:cubicBezTo>
                    <a:cubicBezTo>
                      <a:pt x="127275" y="65936"/>
                      <a:pt x="121755" y="45083"/>
                      <a:pt x="109656" y="31759"/>
                    </a:cubicBezTo>
                    <a:cubicBezTo>
                      <a:pt x="87857" y="10795"/>
                      <a:pt x="53401" y="10795"/>
                      <a:pt x="31602" y="31759"/>
                    </a:cubicBezTo>
                    <a:cubicBezTo>
                      <a:pt x="19448" y="45028"/>
                      <a:pt x="13928" y="65880"/>
                      <a:pt x="16102" y="90522"/>
                    </a:cubicBezTo>
                    <a:cubicBezTo>
                      <a:pt x="20451" y="140031"/>
                      <a:pt x="50502" y="166403"/>
                      <a:pt x="70517" y="166403"/>
                    </a:cubicBezTo>
                    <a:cubicBezTo>
                      <a:pt x="75145" y="166403"/>
                      <a:pt x="78880" y="170138"/>
                      <a:pt x="78880" y="174766"/>
                    </a:cubicBezTo>
                    <a:cubicBezTo>
                      <a:pt x="78880" y="179394"/>
                      <a:pt x="75145" y="183129"/>
                      <a:pt x="70517" y="183129"/>
                    </a:cubicBezTo>
                    <a:close/>
                  </a:path>
                </a:pathLst>
              </a:custGeom>
              <a:solidFill>
                <a:srgbClr val="30373B"/>
              </a:solidFill>
              <a:ln w="5573" cap="flat">
                <a:noFill/>
                <a:prstDash val="solid"/>
                <a:miter/>
              </a:ln>
            </p:spPr>
            <p:txBody>
              <a:bodyPr rtlCol="0" anchor="ctr"/>
              <a:lstStyle/>
              <a:p>
                <a:endParaRPr lang="en-GB"/>
              </a:p>
            </p:txBody>
          </p:sp>
          <p:sp>
            <p:nvSpPr>
              <p:cNvPr id="110" name="Graphic 6">
                <a:extLst>
                  <a:ext uri="{FF2B5EF4-FFF2-40B4-BE49-F238E27FC236}">
                    <a16:creationId xmlns:a16="http://schemas.microsoft.com/office/drawing/2014/main" id="{95511240-A282-C031-CCF8-73DA57E5CC63}"/>
                  </a:ext>
                </a:extLst>
              </p:cNvPr>
              <p:cNvSpPr/>
              <p:nvPr/>
            </p:nvSpPr>
            <p:spPr>
              <a:xfrm>
                <a:off x="6373644" y="5800148"/>
                <a:ext cx="47022" cy="474589"/>
              </a:xfrm>
              <a:custGeom>
                <a:avLst/>
                <a:gdLst>
                  <a:gd name="connsiteX0" fmla="*/ 7579 w 47022"/>
                  <a:gd name="connsiteY0" fmla="*/ 474122 h 474589"/>
                  <a:gd name="connsiteX1" fmla="*/ 6966 w 47022"/>
                  <a:gd name="connsiteY1" fmla="*/ 474122 h 474589"/>
                  <a:gd name="connsiteX2" fmla="*/ -784 w 47022"/>
                  <a:gd name="connsiteY2" fmla="*/ 465145 h 474589"/>
                  <a:gd name="connsiteX3" fmla="*/ 29434 w 47022"/>
                  <a:gd name="connsiteY3" fmla="*/ 44820 h 474589"/>
                  <a:gd name="connsiteX4" fmla="*/ 27427 w 47022"/>
                  <a:gd name="connsiteY4" fmla="*/ 8358 h 474589"/>
                  <a:gd name="connsiteX5" fmla="*/ 35344 w 47022"/>
                  <a:gd name="connsiteY5" fmla="*/ -451 h 474589"/>
                  <a:gd name="connsiteX6" fmla="*/ 44153 w 47022"/>
                  <a:gd name="connsiteY6" fmla="*/ 7409 h 474589"/>
                  <a:gd name="connsiteX7" fmla="*/ 46216 w 47022"/>
                  <a:gd name="connsiteY7" fmla="*/ 44430 h 474589"/>
                  <a:gd name="connsiteX8" fmla="*/ 46216 w 47022"/>
                  <a:gd name="connsiteY8" fmla="*/ 45489 h 474589"/>
                  <a:gd name="connsiteX9" fmla="*/ 15998 w 47022"/>
                  <a:gd name="connsiteY9" fmla="*/ 466372 h 474589"/>
                  <a:gd name="connsiteX10" fmla="*/ 7579 w 47022"/>
                  <a:gd name="connsiteY10" fmla="*/ 474122 h 47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22" h="474589">
                    <a:moveTo>
                      <a:pt x="7579" y="474122"/>
                    </a:moveTo>
                    <a:lnTo>
                      <a:pt x="6966" y="474122"/>
                    </a:lnTo>
                    <a:cubicBezTo>
                      <a:pt x="2338" y="473787"/>
                      <a:pt x="-1119" y="469773"/>
                      <a:pt x="-784" y="465145"/>
                    </a:cubicBezTo>
                    <a:lnTo>
                      <a:pt x="29434" y="44820"/>
                    </a:lnTo>
                    <a:lnTo>
                      <a:pt x="27427" y="8358"/>
                    </a:lnTo>
                    <a:cubicBezTo>
                      <a:pt x="27148" y="3730"/>
                      <a:pt x="30717" y="-229"/>
                      <a:pt x="35344" y="-451"/>
                    </a:cubicBezTo>
                    <a:cubicBezTo>
                      <a:pt x="39916" y="-730"/>
                      <a:pt x="43874" y="2782"/>
                      <a:pt x="44153" y="7409"/>
                    </a:cubicBezTo>
                    <a:lnTo>
                      <a:pt x="46216" y="44430"/>
                    </a:lnTo>
                    <a:lnTo>
                      <a:pt x="46216" y="45489"/>
                    </a:lnTo>
                    <a:lnTo>
                      <a:pt x="15998" y="466372"/>
                    </a:lnTo>
                    <a:cubicBezTo>
                      <a:pt x="15663" y="470776"/>
                      <a:pt x="11984" y="474177"/>
                      <a:pt x="7579" y="474122"/>
                    </a:cubicBezTo>
                    <a:close/>
                  </a:path>
                </a:pathLst>
              </a:custGeom>
              <a:solidFill>
                <a:srgbClr val="30373B"/>
              </a:solidFill>
              <a:ln w="5573" cap="flat">
                <a:noFill/>
                <a:prstDash val="solid"/>
                <a:miter/>
              </a:ln>
            </p:spPr>
            <p:txBody>
              <a:bodyPr rtlCol="0" anchor="ctr"/>
              <a:lstStyle/>
              <a:p>
                <a:endParaRPr lang="en-GB"/>
              </a:p>
            </p:txBody>
          </p:sp>
          <p:sp>
            <p:nvSpPr>
              <p:cNvPr id="111" name="Graphic 6">
                <a:extLst>
                  <a:ext uri="{FF2B5EF4-FFF2-40B4-BE49-F238E27FC236}">
                    <a16:creationId xmlns:a16="http://schemas.microsoft.com/office/drawing/2014/main" id="{FF1A75E8-02EB-1C2D-206F-2FEF0DF5B4AB}"/>
                  </a:ext>
                </a:extLst>
              </p:cNvPr>
              <p:cNvSpPr/>
              <p:nvPr/>
            </p:nvSpPr>
            <p:spPr>
              <a:xfrm>
                <a:off x="6228344" y="5918566"/>
                <a:ext cx="102565" cy="357662"/>
              </a:xfrm>
              <a:custGeom>
                <a:avLst/>
                <a:gdLst>
                  <a:gd name="connsiteX0" fmla="*/ 7530 w 102565"/>
                  <a:gd name="connsiteY0" fmla="*/ 357153 h 357662"/>
                  <a:gd name="connsiteX1" fmla="*/ 5467 w 102565"/>
                  <a:gd name="connsiteY1" fmla="*/ 357153 h 357662"/>
                  <a:gd name="connsiteX2" fmla="*/ -554 w 102565"/>
                  <a:gd name="connsiteY2" fmla="*/ 347006 h 357662"/>
                  <a:gd name="connsiteX3" fmla="*/ 84972 w 102565"/>
                  <a:gd name="connsiteY3" fmla="*/ 6910 h 357662"/>
                  <a:gd name="connsiteX4" fmla="*/ 94394 w 102565"/>
                  <a:gd name="connsiteY4" fmla="*/ -393 h 357662"/>
                  <a:gd name="connsiteX5" fmla="*/ 101698 w 102565"/>
                  <a:gd name="connsiteY5" fmla="*/ 8973 h 357662"/>
                  <a:gd name="connsiteX6" fmla="*/ 101698 w 102565"/>
                  <a:gd name="connsiteY6" fmla="*/ 348735 h 357662"/>
                  <a:gd name="connsiteX7" fmla="*/ 93335 w 102565"/>
                  <a:gd name="connsiteY7" fmla="*/ 357098 h 357662"/>
                  <a:gd name="connsiteX8" fmla="*/ 84972 w 102565"/>
                  <a:gd name="connsiteY8" fmla="*/ 348735 h 357662"/>
                  <a:gd name="connsiteX9" fmla="*/ 84972 w 102565"/>
                  <a:gd name="connsiteY9" fmla="*/ 76434 h 357662"/>
                  <a:gd name="connsiteX10" fmla="*/ 15893 w 102565"/>
                  <a:gd name="connsiteY10" fmla="*/ 350797 h 357662"/>
                  <a:gd name="connsiteX11" fmla="*/ 7530 w 102565"/>
                  <a:gd name="connsiteY11" fmla="*/ 357153 h 35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565" h="357662">
                    <a:moveTo>
                      <a:pt x="7530" y="357153"/>
                    </a:moveTo>
                    <a:cubicBezTo>
                      <a:pt x="6861" y="357209"/>
                      <a:pt x="6136" y="357209"/>
                      <a:pt x="5467" y="357153"/>
                    </a:cubicBezTo>
                    <a:cubicBezTo>
                      <a:pt x="1007" y="355982"/>
                      <a:pt x="-1669" y="351466"/>
                      <a:pt x="-554" y="347006"/>
                    </a:cubicBezTo>
                    <a:lnTo>
                      <a:pt x="84972" y="6910"/>
                    </a:lnTo>
                    <a:cubicBezTo>
                      <a:pt x="85530" y="2283"/>
                      <a:pt x="89767" y="-1006"/>
                      <a:pt x="94394" y="-393"/>
                    </a:cubicBezTo>
                    <a:cubicBezTo>
                      <a:pt x="98966" y="164"/>
                      <a:pt x="102256" y="4346"/>
                      <a:pt x="101698" y="8973"/>
                    </a:cubicBezTo>
                    <a:lnTo>
                      <a:pt x="101698" y="348735"/>
                    </a:lnTo>
                    <a:cubicBezTo>
                      <a:pt x="101698" y="353362"/>
                      <a:pt x="97963" y="357098"/>
                      <a:pt x="93335" y="357098"/>
                    </a:cubicBezTo>
                    <a:cubicBezTo>
                      <a:pt x="88707" y="357098"/>
                      <a:pt x="84972" y="353362"/>
                      <a:pt x="84972" y="348735"/>
                    </a:cubicBezTo>
                    <a:lnTo>
                      <a:pt x="84972" y="76434"/>
                    </a:lnTo>
                    <a:lnTo>
                      <a:pt x="15893" y="350797"/>
                    </a:lnTo>
                    <a:cubicBezTo>
                      <a:pt x="14946" y="354588"/>
                      <a:pt x="11433" y="357264"/>
                      <a:pt x="7530" y="357153"/>
                    </a:cubicBezTo>
                    <a:close/>
                  </a:path>
                </a:pathLst>
              </a:custGeom>
              <a:solidFill>
                <a:srgbClr val="30373B"/>
              </a:solidFill>
              <a:ln w="5573" cap="flat">
                <a:noFill/>
                <a:prstDash val="solid"/>
                <a:miter/>
              </a:ln>
            </p:spPr>
            <p:txBody>
              <a:bodyPr rtlCol="0" anchor="ctr"/>
              <a:lstStyle/>
              <a:p>
                <a:endParaRPr lang="en-GB"/>
              </a:p>
            </p:txBody>
          </p:sp>
          <p:sp>
            <p:nvSpPr>
              <p:cNvPr id="112" name="Graphic 6">
                <a:extLst>
                  <a:ext uri="{FF2B5EF4-FFF2-40B4-BE49-F238E27FC236}">
                    <a16:creationId xmlns:a16="http://schemas.microsoft.com/office/drawing/2014/main" id="{98A2B879-D93D-5DA2-99D7-1D93238E904B}"/>
                  </a:ext>
                </a:extLst>
              </p:cNvPr>
              <p:cNvSpPr/>
              <p:nvPr/>
            </p:nvSpPr>
            <p:spPr>
              <a:xfrm>
                <a:off x="9575903" y="5824226"/>
                <a:ext cx="45922" cy="439024"/>
              </a:xfrm>
              <a:custGeom>
                <a:avLst/>
                <a:gdLst>
                  <a:gd name="connsiteX0" fmla="*/ 7572 w 45922"/>
                  <a:gd name="connsiteY0" fmla="*/ 438557 h 439024"/>
                  <a:gd name="connsiteX1" fmla="*/ 6959 w 45922"/>
                  <a:gd name="connsiteY1" fmla="*/ 438557 h 439024"/>
                  <a:gd name="connsiteX2" fmla="*/ -791 w 45922"/>
                  <a:gd name="connsiteY2" fmla="*/ 429637 h 439024"/>
                  <a:gd name="connsiteX3" fmla="*/ 28368 w 45922"/>
                  <a:gd name="connsiteY3" fmla="*/ 7361 h 439024"/>
                  <a:gd name="connsiteX4" fmla="*/ 37288 w 45922"/>
                  <a:gd name="connsiteY4" fmla="*/ -445 h 439024"/>
                  <a:gd name="connsiteX5" fmla="*/ 45094 w 45922"/>
                  <a:gd name="connsiteY5" fmla="*/ 8476 h 439024"/>
                  <a:gd name="connsiteX6" fmla="*/ 15935 w 45922"/>
                  <a:gd name="connsiteY6" fmla="*/ 430752 h 439024"/>
                  <a:gd name="connsiteX7" fmla="*/ 7572 w 45922"/>
                  <a:gd name="connsiteY7" fmla="*/ 438557 h 43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22" h="439024">
                    <a:moveTo>
                      <a:pt x="7572" y="438557"/>
                    </a:moveTo>
                    <a:lnTo>
                      <a:pt x="6959" y="438557"/>
                    </a:lnTo>
                    <a:cubicBezTo>
                      <a:pt x="2387" y="438223"/>
                      <a:pt x="-1069" y="434209"/>
                      <a:pt x="-791" y="429637"/>
                    </a:cubicBezTo>
                    <a:lnTo>
                      <a:pt x="28368" y="7361"/>
                    </a:lnTo>
                    <a:cubicBezTo>
                      <a:pt x="28703" y="2734"/>
                      <a:pt x="32661" y="-779"/>
                      <a:pt x="37288" y="-445"/>
                    </a:cubicBezTo>
                    <a:cubicBezTo>
                      <a:pt x="41916" y="-110"/>
                      <a:pt x="45429" y="3848"/>
                      <a:pt x="45094" y="8476"/>
                    </a:cubicBezTo>
                    <a:lnTo>
                      <a:pt x="15935" y="430752"/>
                    </a:lnTo>
                    <a:cubicBezTo>
                      <a:pt x="15657" y="435157"/>
                      <a:pt x="11977" y="438613"/>
                      <a:pt x="7572" y="438557"/>
                    </a:cubicBezTo>
                    <a:close/>
                  </a:path>
                </a:pathLst>
              </a:custGeom>
              <a:solidFill>
                <a:srgbClr val="30373B"/>
              </a:solidFill>
              <a:ln w="5573" cap="flat">
                <a:noFill/>
                <a:prstDash val="solid"/>
                <a:miter/>
              </a:ln>
            </p:spPr>
            <p:txBody>
              <a:bodyPr rtlCol="0" anchor="ctr"/>
              <a:lstStyle/>
              <a:p>
                <a:endParaRPr lang="en-GB"/>
              </a:p>
            </p:txBody>
          </p:sp>
          <p:sp>
            <p:nvSpPr>
              <p:cNvPr id="113" name="Graphic 6">
                <a:extLst>
                  <a:ext uri="{FF2B5EF4-FFF2-40B4-BE49-F238E27FC236}">
                    <a16:creationId xmlns:a16="http://schemas.microsoft.com/office/drawing/2014/main" id="{86484B6D-8435-5231-8DDB-085A3F5CA6E0}"/>
                  </a:ext>
                </a:extLst>
              </p:cNvPr>
              <p:cNvSpPr/>
              <p:nvPr/>
            </p:nvSpPr>
            <p:spPr>
              <a:xfrm>
                <a:off x="9428242" y="5557517"/>
                <a:ext cx="213968" cy="283462"/>
              </a:xfrm>
              <a:custGeom>
                <a:avLst/>
                <a:gdLst>
                  <a:gd name="connsiteX0" fmla="*/ 43114 w 213968"/>
                  <a:gd name="connsiteY0" fmla="*/ 282990 h 283462"/>
                  <a:gd name="connsiteX1" fmla="*/ 34416 w 213968"/>
                  <a:gd name="connsiteY1" fmla="*/ 274962 h 283462"/>
                  <a:gd name="connsiteX2" fmla="*/ 42500 w 213968"/>
                  <a:gd name="connsiteY2" fmla="*/ 266264 h 283462"/>
                  <a:gd name="connsiteX3" fmla="*/ 120555 w 213968"/>
                  <a:gd name="connsiteY3" fmla="*/ 243015 h 283462"/>
                  <a:gd name="connsiteX4" fmla="*/ 196435 w 213968"/>
                  <a:gd name="connsiteY4" fmla="*/ 118295 h 283462"/>
                  <a:gd name="connsiteX5" fmla="*/ 122785 w 213968"/>
                  <a:gd name="connsiteY5" fmla="*/ 16266 h 283462"/>
                  <a:gd name="connsiteX6" fmla="*/ 47852 w 213968"/>
                  <a:gd name="connsiteY6" fmla="*/ 16266 h 283462"/>
                  <a:gd name="connsiteX7" fmla="*/ 21649 w 213968"/>
                  <a:gd name="connsiteY7" fmla="*/ 25466 h 283462"/>
                  <a:gd name="connsiteX8" fmla="*/ 2302 w 213968"/>
                  <a:gd name="connsiteY8" fmla="*/ 20949 h 283462"/>
                  <a:gd name="connsiteX9" fmla="*/ 47852 w 213968"/>
                  <a:gd name="connsiteY9" fmla="*/ -460 h 283462"/>
                  <a:gd name="connsiteX10" fmla="*/ 122785 w 213968"/>
                  <a:gd name="connsiteY10" fmla="*/ -460 h 283462"/>
                  <a:gd name="connsiteX11" fmla="*/ 213161 w 213968"/>
                  <a:gd name="connsiteY11" fmla="*/ 118295 h 283462"/>
                  <a:gd name="connsiteX12" fmla="*/ 43783 w 213968"/>
                  <a:gd name="connsiteY12" fmla="*/ 282935 h 28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968" h="283462">
                    <a:moveTo>
                      <a:pt x="43114" y="282990"/>
                    </a:moveTo>
                    <a:cubicBezTo>
                      <a:pt x="38486" y="283158"/>
                      <a:pt x="34639" y="279534"/>
                      <a:pt x="34416" y="274962"/>
                    </a:cubicBezTo>
                    <a:cubicBezTo>
                      <a:pt x="34249" y="270334"/>
                      <a:pt x="37873" y="266432"/>
                      <a:pt x="42500" y="266264"/>
                    </a:cubicBezTo>
                    <a:cubicBezTo>
                      <a:pt x="69708" y="263254"/>
                      <a:pt x="96135" y="255393"/>
                      <a:pt x="120555" y="243015"/>
                    </a:cubicBezTo>
                    <a:cubicBezTo>
                      <a:pt x="170733" y="216644"/>
                      <a:pt x="196435" y="174717"/>
                      <a:pt x="196435" y="118295"/>
                    </a:cubicBezTo>
                    <a:cubicBezTo>
                      <a:pt x="196435" y="26357"/>
                      <a:pt x="172852" y="16266"/>
                      <a:pt x="122785" y="16266"/>
                    </a:cubicBezTo>
                    <a:lnTo>
                      <a:pt x="47852" y="16266"/>
                    </a:lnTo>
                    <a:cubicBezTo>
                      <a:pt x="38319" y="16099"/>
                      <a:pt x="29008" y="19388"/>
                      <a:pt x="21649" y="25466"/>
                    </a:cubicBezTo>
                    <a:cubicBezTo>
                      <a:pt x="9438" y="35389"/>
                      <a:pt x="-7957" y="32769"/>
                      <a:pt x="2302" y="20949"/>
                    </a:cubicBezTo>
                    <a:cubicBezTo>
                      <a:pt x="13397" y="7179"/>
                      <a:pt x="30179" y="-739"/>
                      <a:pt x="47852" y="-460"/>
                    </a:cubicBezTo>
                    <a:lnTo>
                      <a:pt x="122785" y="-460"/>
                    </a:lnTo>
                    <a:cubicBezTo>
                      <a:pt x="182720" y="-460"/>
                      <a:pt x="213161" y="17939"/>
                      <a:pt x="213161" y="118295"/>
                    </a:cubicBezTo>
                    <a:cubicBezTo>
                      <a:pt x="213161" y="268829"/>
                      <a:pt x="45455" y="282823"/>
                      <a:pt x="43783" y="282935"/>
                    </a:cubicBezTo>
                    <a:close/>
                  </a:path>
                </a:pathLst>
              </a:custGeom>
              <a:solidFill>
                <a:srgbClr val="30373B"/>
              </a:solidFill>
              <a:ln w="5573" cap="flat">
                <a:noFill/>
                <a:prstDash val="solid"/>
                <a:miter/>
              </a:ln>
            </p:spPr>
            <p:txBody>
              <a:bodyPr rtlCol="0" anchor="ctr"/>
              <a:lstStyle/>
              <a:p>
                <a:endParaRPr lang="en-GB"/>
              </a:p>
            </p:txBody>
          </p:sp>
          <p:sp>
            <p:nvSpPr>
              <p:cNvPr id="114" name="Graphic 6">
                <a:extLst>
                  <a:ext uri="{FF2B5EF4-FFF2-40B4-BE49-F238E27FC236}">
                    <a16:creationId xmlns:a16="http://schemas.microsoft.com/office/drawing/2014/main" id="{F812C3D1-A004-8429-4334-D03EB848601C}"/>
                  </a:ext>
                </a:extLst>
              </p:cNvPr>
              <p:cNvSpPr/>
              <p:nvPr/>
            </p:nvSpPr>
            <p:spPr>
              <a:xfrm>
                <a:off x="9450556" y="5387964"/>
                <a:ext cx="145184" cy="186286"/>
              </a:xfrm>
              <a:custGeom>
                <a:avLst/>
                <a:gdLst>
                  <a:gd name="connsiteX0" fmla="*/ 71758 w 145184"/>
                  <a:gd name="connsiteY0" fmla="*/ 185820 h 186286"/>
                  <a:gd name="connsiteX1" fmla="*/ -276 w 145184"/>
                  <a:gd name="connsiteY1" fmla="*/ 93380 h 186286"/>
                  <a:gd name="connsiteX2" fmla="*/ 19795 w 145184"/>
                  <a:gd name="connsiteY2" fmla="*/ 20901 h 186286"/>
                  <a:gd name="connsiteX3" fmla="*/ 123776 w 145184"/>
                  <a:gd name="connsiteY3" fmla="*/ 20901 h 186286"/>
                  <a:gd name="connsiteX4" fmla="*/ 143847 w 145184"/>
                  <a:gd name="connsiteY4" fmla="*/ 93380 h 186286"/>
                  <a:gd name="connsiteX5" fmla="*/ 133087 w 145184"/>
                  <a:gd name="connsiteY5" fmla="*/ 136087 h 186286"/>
                  <a:gd name="connsiteX6" fmla="*/ 121936 w 145184"/>
                  <a:gd name="connsiteY6" fmla="*/ 140101 h 186286"/>
                  <a:gd name="connsiteX7" fmla="*/ 117810 w 145184"/>
                  <a:gd name="connsiteY7" fmla="*/ 129286 h 186286"/>
                  <a:gd name="connsiteX8" fmla="*/ 127177 w 145184"/>
                  <a:gd name="connsiteY8" fmla="*/ 91931 h 186286"/>
                  <a:gd name="connsiteX9" fmla="*/ 111399 w 145184"/>
                  <a:gd name="connsiteY9" fmla="*/ 32107 h 186286"/>
                  <a:gd name="connsiteX10" fmla="*/ 32173 w 145184"/>
                  <a:gd name="connsiteY10" fmla="*/ 32107 h 186286"/>
                  <a:gd name="connsiteX11" fmla="*/ 16395 w 145184"/>
                  <a:gd name="connsiteY11" fmla="*/ 91931 h 186286"/>
                  <a:gd name="connsiteX12" fmla="*/ 71758 w 145184"/>
                  <a:gd name="connsiteY12" fmla="*/ 169094 h 186286"/>
                  <a:gd name="connsiteX13" fmla="*/ 80121 w 145184"/>
                  <a:gd name="connsiteY13" fmla="*/ 177457 h 186286"/>
                  <a:gd name="connsiteX14" fmla="*/ 71758 w 145184"/>
                  <a:gd name="connsiteY14" fmla="*/ 185820 h 18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184" h="186286">
                    <a:moveTo>
                      <a:pt x="71758" y="185820"/>
                    </a:moveTo>
                    <a:cubicBezTo>
                      <a:pt x="32340" y="185820"/>
                      <a:pt x="3683" y="137872"/>
                      <a:pt x="-276" y="93380"/>
                    </a:cubicBezTo>
                    <a:cubicBezTo>
                      <a:pt x="-2896" y="63608"/>
                      <a:pt x="4241" y="37627"/>
                      <a:pt x="19795" y="20901"/>
                    </a:cubicBezTo>
                    <a:cubicBezTo>
                      <a:pt x="48620" y="-7589"/>
                      <a:pt x="94952" y="-7589"/>
                      <a:pt x="123776" y="20901"/>
                    </a:cubicBezTo>
                    <a:cubicBezTo>
                      <a:pt x="139331" y="37627"/>
                      <a:pt x="146468" y="63664"/>
                      <a:pt x="143847" y="93380"/>
                    </a:cubicBezTo>
                    <a:cubicBezTo>
                      <a:pt x="142620" y="108099"/>
                      <a:pt x="138996" y="122540"/>
                      <a:pt x="133087" y="136087"/>
                    </a:cubicBezTo>
                    <a:cubicBezTo>
                      <a:pt x="131136" y="140269"/>
                      <a:pt x="126118" y="142053"/>
                      <a:pt x="121936" y="140101"/>
                    </a:cubicBezTo>
                    <a:cubicBezTo>
                      <a:pt x="117922" y="138206"/>
                      <a:pt x="116082" y="133411"/>
                      <a:pt x="117810" y="129286"/>
                    </a:cubicBezTo>
                    <a:cubicBezTo>
                      <a:pt x="122995" y="117466"/>
                      <a:pt x="126173" y="104810"/>
                      <a:pt x="127177" y="91931"/>
                    </a:cubicBezTo>
                    <a:cubicBezTo>
                      <a:pt x="129407" y="66842"/>
                      <a:pt x="123776" y="45600"/>
                      <a:pt x="111399" y="32107"/>
                    </a:cubicBezTo>
                    <a:cubicBezTo>
                      <a:pt x="89265" y="10921"/>
                      <a:pt x="54307" y="10921"/>
                      <a:pt x="32173" y="32107"/>
                    </a:cubicBezTo>
                    <a:cubicBezTo>
                      <a:pt x="19795" y="45600"/>
                      <a:pt x="14165" y="66842"/>
                      <a:pt x="16395" y="91931"/>
                    </a:cubicBezTo>
                    <a:cubicBezTo>
                      <a:pt x="20855" y="142109"/>
                      <a:pt x="51408" y="169094"/>
                      <a:pt x="71758" y="169094"/>
                    </a:cubicBezTo>
                    <a:cubicBezTo>
                      <a:pt x="76385" y="169094"/>
                      <a:pt x="80121" y="172829"/>
                      <a:pt x="80121" y="177457"/>
                    </a:cubicBezTo>
                    <a:cubicBezTo>
                      <a:pt x="80121" y="182084"/>
                      <a:pt x="76385" y="185820"/>
                      <a:pt x="71758" y="185820"/>
                    </a:cubicBezTo>
                    <a:close/>
                  </a:path>
                </a:pathLst>
              </a:custGeom>
              <a:solidFill>
                <a:srgbClr val="30373B"/>
              </a:solidFill>
              <a:ln w="5573" cap="flat">
                <a:noFill/>
                <a:prstDash val="solid"/>
                <a:miter/>
              </a:ln>
            </p:spPr>
            <p:txBody>
              <a:bodyPr rtlCol="0" anchor="ctr"/>
              <a:lstStyle/>
              <a:p>
                <a:endParaRPr lang="en-GB"/>
              </a:p>
            </p:txBody>
          </p:sp>
          <p:sp>
            <p:nvSpPr>
              <p:cNvPr id="115" name="Graphic 6">
                <a:extLst>
                  <a:ext uri="{FF2B5EF4-FFF2-40B4-BE49-F238E27FC236}">
                    <a16:creationId xmlns:a16="http://schemas.microsoft.com/office/drawing/2014/main" id="{6E23AB37-B54F-414A-A730-917E3019B7C3}"/>
                  </a:ext>
                </a:extLst>
              </p:cNvPr>
              <p:cNvSpPr/>
              <p:nvPr/>
            </p:nvSpPr>
            <p:spPr>
              <a:xfrm>
                <a:off x="9422988" y="5807690"/>
                <a:ext cx="47356" cy="459909"/>
              </a:xfrm>
              <a:custGeom>
                <a:avLst/>
                <a:gdLst>
                  <a:gd name="connsiteX0" fmla="*/ 38221 w 47356"/>
                  <a:gd name="connsiteY0" fmla="*/ 459387 h 459909"/>
                  <a:gd name="connsiteX1" fmla="*/ 29858 w 47356"/>
                  <a:gd name="connsiteY1" fmla="*/ 451582 h 459909"/>
                  <a:gd name="connsiteX2" fmla="*/ -807 w 47356"/>
                  <a:gd name="connsiteY2" fmla="*/ 7283 h 459909"/>
                  <a:gd name="connsiteX3" fmla="*/ -807 w 47356"/>
                  <a:gd name="connsiteY3" fmla="*/ 6335 h 459909"/>
                  <a:gd name="connsiteX4" fmla="*/ -807 w 47356"/>
                  <a:gd name="connsiteY4" fmla="*/ 760 h 459909"/>
                  <a:gd name="connsiteX5" fmla="*/ 15919 w 47356"/>
                  <a:gd name="connsiteY5" fmla="*/ -467 h 459909"/>
                  <a:gd name="connsiteX6" fmla="*/ 15919 w 47356"/>
                  <a:gd name="connsiteY6" fmla="*/ 6670 h 459909"/>
                  <a:gd name="connsiteX7" fmla="*/ 46528 w 47356"/>
                  <a:gd name="connsiteY7" fmla="*/ 450523 h 459909"/>
                  <a:gd name="connsiteX8" fmla="*/ 38778 w 47356"/>
                  <a:gd name="connsiteY8" fmla="*/ 459443 h 45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56" h="459909">
                    <a:moveTo>
                      <a:pt x="38221" y="459387"/>
                    </a:moveTo>
                    <a:cubicBezTo>
                      <a:pt x="33816" y="459387"/>
                      <a:pt x="30192" y="455986"/>
                      <a:pt x="29858" y="451582"/>
                    </a:cubicBezTo>
                    <a:lnTo>
                      <a:pt x="-807" y="7283"/>
                    </a:lnTo>
                    <a:lnTo>
                      <a:pt x="-807" y="6335"/>
                    </a:lnTo>
                    <a:lnTo>
                      <a:pt x="-807" y="760"/>
                    </a:lnTo>
                    <a:lnTo>
                      <a:pt x="15919" y="-467"/>
                    </a:lnTo>
                    <a:lnTo>
                      <a:pt x="15919" y="6670"/>
                    </a:lnTo>
                    <a:lnTo>
                      <a:pt x="46528" y="450523"/>
                    </a:lnTo>
                    <a:cubicBezTo>
                      <a:pt x="46862" y="455150"/>
                      <a:pt x="43405" y="459108"/>
                      <a:pt x="38778" y="459443"/>
                    </a:cubicBezTo>
                    <a:close/>
                  </a:path>
                </a:pathLst>
              </a:custGeom>
              <a:solidFill>
                <a:srgbClr val="30373B"/>
              </a:solidFill>
              <a:ln w="5573" cap="flat">
                <a:noFill/>
                <a:prstDash val="solid"/>
                <a:miter/>
              </a:ln>
            </p:spPr>
            <p:txBody>
              <a:bodyPr rtlCol="0" anchor="ctr"/>
              <a:lstStyle/>
              <a:p>
                <a:endParaRPr lang="en-GB"/>
              </a:p>
            </p:txBody>
          </p:sp>
          <p:sp>
            <p:nvSpPr>
              <p:cNvPr id="116" name="Graphic 6">
                <a:extLst>
                  <a:ext uri="{FF2B5EF4-FFF2-40B4-BE49-F238E27FC236}">
                    <a16:creationId xmlns:a16="http://schemas.microsoft.com/office/drawing/2014/main" id="{D65B27D9-CB63-DBD2-9FA1-85794DE8A2C1}"/>
                  </a:ext>
                </a:extLst>
              </p:cNvPr>
              <p:cNvSpPr/>
              <p:nvPr/>
            </p:nvSpPr>
            <p:spPr>
              <a:xfrm>
                <a:off x="9507173" y="5866671"/>
                <a:ext cx="24313" cy="409514"/>
              </a:xfrm>
              <a:custGeom>
                <a:avLst/>
                <a:gdLst>
                  <a:gd name="connsiteX0" fmla="*/ 15141 w 24313"/>
                  <a:gd name="connsiteY0" fmla="*/ 409048 h 409514"/>
                  <a:gd name="connsiteX1" fmla="*/ 6834 w 24313"/>
                  <a:gd name="connsiteY1" fmla="*/ 400852 h 409514"/>
                  <a:gd name="connsiteX2" fmla="*/ -804 w 24313"/>
                  <a:gd name="connsiteY2" fmla="*/ 8069 h 409514"/>
                  <a:gd name="connsiteX3" fmla="*/ 7391 w 24313"/>
                  <a:gd name="connsiteY3" fmla="*/ -461 h 409514"/>
                  <a:gd name="connsiteX4" fmla="*/ 7391 w 24313"/>
                  <a:gd name="connsiteY4" fmla="*/ -461 h 409514"/>
                  <a:gd name="connsiteX5" fmla="*/ 15866 w 24313"/>
                  <a:gd name="connsiteY5" fmla="*/ 7456 h 409514"/>
                  <a:gd name="connsiteX6" fmla="*/ 15866 w 24313"/>
                  <a:gd name="connsiteY6" fmla="*/ 7734 h 409514"/>
                  <a:gd name="connsiteX7" fmla="*/ 23504 w 24313"/>
                  <a:gd name="connsiteY7" fmla="*/ 400518 h 409514"/>
                  <a:gd name="connsiteX8" fmla="*/ 15420 w 24313"/>
                  <a:gd name="connsiteY8" fmla="*/ 409048 h 409514"/>
                  <a:gd name="connsiteX9" fmla="*/ 15309 w 24313"/>
                  <a:gd name="connsiteY9" fmla="*/ 409048 h 4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13" h="409514">
                    <a:moveTo>
                      <a:pt x="15141" y="409048"/>
                    </a:moveTo>
                    <a:cubicBezTo>
                      <a:pt x="10569" y="409048"/>
                      <a:pt x="6890" y="405424"/>
                      <a:pt x="6834" y="400852"/>
                    </a:cubicBezTo>
                    <a:lnTo>
                      <a:pt x="-804" y="8069"/>
                    </a:lnTo>
                    <a:cubicBezTo>
                      <a:pt x="-916" y="3442"/>
                      <a:pt x="2764" y="-350"/>
                      <a:pt x="7391" y="-461"/>
                    </a:cubicBezTo>
                    <a:cubicBezTo>
                      <a:pt x="7391" y="-461"/>
                      <a:pt x="7391" y="-461"/>
                      <a:pt x="7391" y="-461"/>
                    </a:cubicBezTo>
                    <a:cubicBezTo>
                      <a:pt x="11908" y="-629"/>
                      <a:pt x="15699" y="2940"/>
                      <a:pt x="15866" y="7456"/>
                    </a:cubicBezTo>
                    <a:cubicBezTo>
                      <a:pt x="15866" y="7568"/>
                      <a:pt x="15866" y="7624"/>
                      <a:pt x="15866" y="7734"/>
                    </a:cubicBezTo>
                    <a:lnTo>
                      <a:pt x="23504" y="400518"/>
                    </a:lnTo>
                    <a:cubicBezTo>
                      <a:pt x="23616" y="405089"/>
                      <a:pt x="19992" y="408936"/>
                      <a:pt x="15420" y="409048"/>
                    </a:cubicBezTo>
                    <a:cubicBezTo>
                      <a:pt x="15364" y="409048"/>
                      <a:pt x="15364" y="409048"/>
                      <a:pt x="15309" y="409048"/>
                    </a:cubicBezTo>
                    <a:close/>
                  </a:path>
                </a:pathLst>
              </a:custGeom>
              <a:solidFill>
                <a:srgbClr val="30373B"/>
              </a:solidFill>
              <a:ln w="5573" cap="flat">
                <a:noFill/>
                <a:prstDash val="solid"/>
                <a:miter/>
              </a:ln>
            </p:spPr>
            <p:txBody>
              <a:bodyPr rtlCol="0" anchor="ctr"/>
              <a:lstStyle/>
              <a:p>
                <a:endParaRPr lang="en-GB"/>
              </a:p>
            </p:txBody>
          </p:sp>
          <p:sp>
            <p:nvSpPr>
              <p:cNvPr id="117" name="Graphic 6">
                <a:extLst>
                  <a:ext uri="{FF2B5EF4-FFF2-40B4-BE49-F238E27FC236}">
                    <a16:creationId xmlns:a16="http://schemas.microsoft.com/office/drawing/2014/main" id="{F18D7590-018E-F735-1739-DD477C524BEA}"/>
                  </a:ext>
                </a:extLst>
              </p:cNvPr>
              <p:cNvSpPr/>
              <p:nvPr/>
            </p:nvSpPr>
            <p:spPr>
              <a:xfrm>
                <a:off x="7035611" y="2582920"/>
                <a:ext cx="46500" cy="522068"/>
              </a:xfrm>
              <a:custGeom>
                <a:avLst/>
                <a:gdLst>
                  <a:gd name="connsiteX0" fmla="*/ 7572 w 46500"/>
                  <a:gd name="connsiteY0" fmla="*/ 521601 h 522068"/>
                  <a:gd name="connsiteX1" fmla="*/ 7015 w 46500"/>
                  <a:gd name="connsiteY1" fmla="*/ 521601 h 522068"/>
                  <a:gd name="connsiteX2" fmla="*/ -791 w 46500"/>
                  <a:gd name="connsiteY2" fmla="*/ 512680 h 522068"/>
                  <a:gd name="connsiteX3" fmla="*/ 28870 w 46500"/>
                  <a:gd name="connsiteY3" fmla="*/ 83379 h 522068"/>
                  <a:gd name="connsiteX4" fmla="*/ 23685 w 46500"/>
                  <a:gd name="connsiteY4" fmla="*/ 8502 h 522068"/>
                  <a:gd name="connsiteX5" fmla="*/ 31490 w 46500"/>
                  <a:gd name="connsiteY5" fmla="*/ -446 h 522068"/>
                  <a:gd name="connsiteX6" fmla="*/ 40411 w 46500"/>
                  <a:gd name="connsiteY6" fmla="*/ 7332 h 522068"/>
                  <a:gd name="connsiteX7" fmla="*/ 45652 w 46500"/>
                  <a:gd name="connsiteY7" fmla="*/ 82766 h 522068"/>
                  <a:gd name="connsiteX8" fmla="*/ 45652 w 46500"/>
                  <a:gd name="connsiteY8" fmla="*/ 83937 h 522068"/>
                  <a:gd name="connsiteX9" fmla="*/ 16047 w 46500"/>
                  <a:gd name="connsiteY9" fmla="*/ 513851 h 522068"/>
                  <a:gd name="connsiteX10" fmla="*/ 7572 w 46500"/>
                  <a:gd name="connsiteY10" fmla="*/ 521601 h 5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00" h="522068">
                    <a:moveTo>
                      <a:pt x="7572" y="521601"/>
                    </a:moveTo>
                    <a:lnTo>
                      <a:pt x="7015" y="521601"/>
                    </a:lnTo>
                    <a:cubicBezTo>
                      <a:pt x="2387" y="521272"/>
                      <a:pt x="-1069" y="517291"/>
                      <a:pt x="-791" y="512680"/>
                    </a:cubicBezTo>
                    <a:lnTo>
                      <a:pt x="28870" y="83379"/>
                    </a:lnTo>
                    <a:lnTo>
                      <a:pt x="23685" y="8502"/>
                    </a:lnTo>
                    <a:cubicBezTo>
                      <a:pt x="23351" y="3886"/>
                      <a:pt x="26863" y="-123"/>
                      <a:pt x="31490" y="-446"/>
                    </a:cubicBezTo>
                    <a:cubicBezTo>
                      <a:pt x="36062" y="-769"/>
                      <a:pt x="40077" y="2715"/>
                      <a:pt x="40411" y="7332"/>
                    </a:cubicBezTo>
                    <a:lnTo>
                      <a:pt x="45652" y="82766"/>
                    </a:lnTo>
                    <a:cubicBezTo>
                      <a:pt x="45707" y="83156"/>
                      <a:pt x="45707" y="83547"/>
                      <a:pt x="45652" y="83937"/>
                    </a:cubicBezTo>
                    <a:lnTo>
                      <a:pt x="16047" y="513851"/>
                    </a:lnTo>
                    <a:cubicBezTo>
                      <a:pt x="15712" y="518273"/>
                      <a:pt x="12033" y="521674"/>
                      <a:pt x="7572" y="521601"/>
                    </a:cubicBezTo>
                    <a:close/>
                  </a:path>
                </a:pathLst>
              </a:custGeom>
              <a:solidFill>
                <a:srgbClr val="30373B"/>
              </a:solidFill>
              <a:ln w="5573" cap="flat">
                <a:noFill/>
                <a:prstDash val="solid"/>
                <a:miter/>
              </a:ln>
            </p:spPr>
            <p:txBody>
              <a:bodyPr rtlCol="0" anchor="ctr"/>
              <a:lstStyle/>
              <a:p>
                <a:endParaRPr lang="en-GB"/>
              </a:p>
            </p:txBody>
          </p:sp>
          <p:sp>
            <p:nvSpPr>
              <p:cNvPr id="118" name="Graphic 6">
                <a:extLst>
                  <a:ext uri="{FF2B5EF4-FFF2-40B4-BE49-F238E27FC236}">
                    <a16:creationId xmlns:a16="http://schemas.microsoft.com/office/drawing/2014/main" id="{DA6F255B-234C-21DF-A376-7B82D93F8490}"/>
                  </a:ext>
                </a:extLst>
              </p:cNvPr>
              <p:cNvSpPr/>
              <p:nvPr/>
            </p:nvSpPr>
            <p:spPr>
              <a:xfrm>
                <a:off x="6829373" y="2414761"/>
                <a:ext cx="191145" cy="368195"/>
              </a:xfrm>
              <a:custGeom>
                <a:avLst/>
                <a:gdLst>
                  <a:gd name="connsiteX0" fmla="*/ 17893 w 191145"/>
                  <a:gd name="connsiteY0" fmla="*/ 367729 h 368195"/>
                  <a:gd name="connsiteX1" fmla="*/ 9586 w 191145"/>
                  <a:gd name="connsiteY1" fmla="*/ 360481 h 368195"/>
                  <a:gd name="connsiteX2" fmla="*/ -561 w 191145"/>
                  <a:gd name="connsiteY2" fmla="*/ 257337 h 368195"/>
                  <a:gd name="connsiteX3" fmla="*/ 107879 w 191145"/>
                  <a:gd name="connsiteY3" fmla="*/ -467 h 368195"/>
                  <a:gd name="connsiteX4" fmla="*/ 181976 w 191145"/>
                  <a:gd name="connsiteY4" fmla="*/ -467 h 368195"/>
                  <a:gd name="connsiteX5" fmla="*/ 190339 w 191145"/>
                  <a:gd name="connsiteY5" fmla="*/ 7896 h 368195"/>
                  <a:gd name="connsiteX6" fmla="*/ 181976 w 191145"/>
                  <a:gd name="connsiteY6" fmla="*/ 16259 h 368195"/>
                  <a:gd name="connsiteX7" fmla="*/ 109161 w 191145"/>
                  <a:gd name="connsiteY7" fmla="*/ 16259 h 368195"/>
                  <a:gd name="connsiteX8" fmla="*/ 24974 w 191145"/>
                  <a:gd name="connsiteY8" fmla="*/ 138527 h 368195"/>
                  <a:gd name="connsiteX9" fmla="*/ 16221 w 191145"/>
                  <a:gd name="connsiteY9" fmla="*/ 257337 h 368195"/>
                  <a:gd name="connsiteX10" fmla="*/ 16221 w 191145"/>
                  <a:gd name="connsiteY10" fmla="*/ 259177 h 368195"/>
                  <a:gd name="connsiteX11" fmla="*/ 26368 w 191145"/>
                  <a:gd name="connsiteY11" fmla="*/ 358195 h 368195"/>
                  <a:gd name="connsiteX12" fmla="*/ 19231 w 191145"/>
                  <a:gd name="connsiteY12" fmla="*/ 367612 h 368195"/>
                  <a:gd name="connsiteX13" fmla="*/ 19175 w 191145"/>
                  <a:gd name="connsiteY13" fmla="*/ 367617 h 3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145" h="368195">
                    <a:moveTo>
                      <a:pt x="17893" y="367729"/>
                    </a:moveTo>
                    <a:cubicBezTo>
                      <a:pt x="13711" y="367712"/>
                      <a:pt x="10143" y="364623"/>
                      <a:pt x="9586" y="360481"/>
                    </a:cubicBezTo>
                    <a:cubicBezTo>
                      <a:pt x="7579" y="345762"/>
                      <a:pt x="-2178" y="273060"/>
                      <a:pt x="-561" y="257337"/>
                    </a:cubicBezTo>
                    <a:cubicBezTo>
                      <a:pt x="-1174" y="239886"/>
                      <a:pt x="-7419" y="11186"/>
                      <a:pt x="107879" y="-467"/>
                    </a:cubicBezTo>
                    <a:lnTo>
                      <a:pt x="181976" y="-467"/>
                    </a:lnTo>
                    <a:cubicBezTo>
                      <a:pt x="186603" y="-467"/>
                      <a:pt x="190339" y="3280"/>
                      <a:pt x="190339" y="7896"/>
                    </a:cubicBezTo>
                    <a:cubicBezTo>
                      <a:pt x="190339" y="12513"/>
                      <a:pt x="186603" y="16259"/>
                      <a:pt x="181976" y="16259"/>
                    </a:cubicBezTo>
                    <a:lnTo>
                      <a:pt x="109161" y="16259"/>
                    </a:lnTo>
                    <a:cubicBezTo>
                      <a:pt x="57367" y="21835"/>
                      <a:pt x="34786" y="85784"/>
                      <a:pt x="24974" y="138527"/>
                    </a:cubicBezTo>
                    <a:cubicBezTo>
                      <a:pt x="18116" y="177743"/>
                      <a:pt x="15217" y="217540"/>
                      <a:pt x="16221" y="257337"/>
                    </a:cubicBezTo>
                    <a:cubicBezTo>
                      <a:pt x="16277" y="257950"/>
                      <a:pt x="16277" y="258563"/>
                      <a:pt x="16221" y="259177"/>
                    </a:cubicBezTo>
                    <a:cubicBezTo>
                      <a:pt x="14994" y="266146"/>
                      <a:pt x="20402" y="314930"/>
                      <a:pt x="26368" y="358195"/>
                    </a:cubicBezTo>
                    <a:cubicBezTo>
                      <a:pt x="26981" y="362772"/>
                      <a:pt x="23803" y="366987"/>
                      <a:pt x="19231" y="367612"/>
                    </a:cubicBezTo>
                    <a:cubicBezTo>
                      <a:pt x="19175" y="367612"/>
                      <a:pt x="19175" y="367617"/>
                      <a:pt x="19175" y="367617"/>
                    </a:cubicBezTo>
                    <a:close/>
                  </a:path>
                </a:pathLst>
              </a:custGeom>
              <a:solidFill>
                <a:srgbClr val="30373B"/>
              </a:solidFill>
              <a:ln w="5573" cap="flat">
                <a:noFill/>
                <a:prstDash val="solid"/>
                <a:miter/>
              </a:ln>
            </p:spPr>
            <p:txBody>
              <a:bodyPr rtlCol="0" anchor="ctr"/>
              <a:lstStyle/>
              <a:p>
                <a:endParaRPr lang="en-GB"/>
              </a:p>
            </p:txBody>
          </p:sp>
          <p:sp>
            <p:nvSpPr>
              <p:cNvPr id="119" name="Graphic 6">
                <a:extLst>
                  <a:ext uri="{FF2B5EF4-FFF2-40B4-BE49-F238E27FC236}">
                    <a16:creationId xmlns:a16="http://schemas.microsoft.com/office/drawing/2014/main" id="{61C8894D-5430-E57A-9209-B60A0546F030}"/>
                  </a:ext>
                </a:extLst>
              </p:cNvPr>
              <p:cNvSpPr/>
              <p:nvPr/>
            </p:nvSpPr>
            <p:spPr>
              <a:xfrm>
                <a:off x="6881436" y="2252854"/>
                <a:ext cx="148082" cy="178857"/>
              </a:xfrm>
              <a:custGeom>
                <a:avLst/>
                <a:gdLst>
                  <a:gd name="connsiteX0" fmla="*/ 90383 w 148082"/>
                  <a:gd name="connsiteY0" fmla="*/ 178389 h 178857"/>
                  <a:gd name="connsiteX1" fmla="*/ 9708 w 148082"/>
                  <a:gd name="connsiteY1" fmla="*/ 113604 h 178857"/>
                  <a:gd name="connsiteX2" fmla="*/ 4801 w 148082"/>
                  <a:gd name="connsiteY2" fmla="*/ 40009 h 178857"/>
                  <a:gd name="connsiteX3" fmla="*/ 100920 w 148082"/>
                  <a:gd name="connsiteY3" fmla="*/ 6557 h 178857"/>
                  <a:gd name="connsiteX4" fmla="*/ 143014 w 148082"/>
                  <a:gd name="connsiteY4" fmla="*/ 67161 h 178857"/>
                  <a:gd name="connsiteX5" fmla="*/ 146917 w 148082"/>
                  <a:gd name="connsiteY5" fmla="*/ 110091 h 178857"/>
                  <a:gd name="connsiteX6" fmla="*/ 137829 w 148082"/>
                  <a:gd name="connsiteY6" fmla="*/ 117757 h 178857"/>
                  <a:gd name="connsiteX7" fmla="*/ 130191 w 148082"/>
                  <a:gd name="connsiteY7" fmla="*/ 108697 h 178857"/>
                  <a:gd name="connsiteX8" fmla="*/ 126734 w 148082"/>
                  <a:gd name="connsiteY8" fmla="*/ 71287 h 178857"/>
                  <a:gd name="connsiteX9" fmla="*/ 93282 w 148082"/>
                  <a:gd name="connsiteY9" fmla="*/ 21109 h 178857"/>
                  <a:gd name="connsiteX10" fmla="*/ 20357 w 148082"/>
                  <a:gd name="connsiteY10" fmla="*/ 46588 h 178857"/>
                  <a:gd name="connsiteX11" fmla="*/ 25207 w 148082"/>
                  <a:gd name="connsiteY11" fmla="*/ 106746 h 178857"/>
                  <a:gd name="connsiteX12" fmla="*/ 100976 w 148082"/>
                  <a:gd name="connsiteY12" fmla="*/ 159935 h 178857"/>
                  <a:gd name="connsiteX13" fmla="*/ 111625 w 148082"/>
                  <a:gd name="connsiteY13" fmla="*/ 165036 h 178857"/>
                  <a:gd name="connsiteX14" fmla="*/ 106551 w 148082"/>
                  <a:gd name="connsiteY14" fmla="*/ 175713 h 178857"/>
                  <a:gd name="connsiteX15" fmla="*/ 90383 w 148082"/>
                  <a:gd name="connsiteY15" fmla="*/ 178389 h 17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082" h="178857">
                    <a:moveTo>
                      <a:pt x="90383" y="178389"/>
                    </a:moveTo>
                    <a:cubicBezTo>
                      <a:pt x="58269" y="178389"/>
                      <a:pt x="25151" y="147781"/>
                      <a:pt x="9708" y="113604"/>
                    </a:cubicBezTo>
                    <a:cubicBezTo>
                      <a:pt x="-2335" y="86954"/>
                      <a:pt x="-4119" y="60805"/>
                      <a:pt x="4801" y="40009"/>
                    </a:cubicBezTo>
                    <a:cubicBezTo>
                      <a:pt x="22308" y="4455"/>
                      <a:pt x="65127" y="-10442"/>
                      <a:pt x="100920" y="6557"/>
                    </a:cubicBezTo>
                    <a:cubicBezTo>
                      <a:pt x="120880" y="17262"/>
                      <a:pt x="135822" y="38783"/>
                      <a:pt x="143014" y="67161"/>
                    </a:cubicBezTo>
                    <a:cubicBezTo>
                      <a:pt x="146694" y="81155"/>
                      <a:pt x="147976" y="95662"/>
                      <a:pt x="146917" y="110091"/>
                    </a:cubicBezTo>
                    <a:cubicBezTo>
                      <a:pt x="146527" y="114708"/>
                      <a:pt x="142457" y="118142"/>
                      <a:pt x="137829" y="117757"/>
                    </a:cubicBezTo>
                    <a:cubicBezTo>
                      <a:pt x="133257" y="117373"/>
                      <a:pt x="129801" y="113314"/>
                      <a:pt x="130191" y="108697"/>
                    </a:cubicBezTo>
                    <a:cubicBezTo>
                      <a:pt x="131083" y="96119"/>
                      <a:pt x="129968" y="83480"/>
                      <a:pt x="126734" y="71287"/>
                    </a:cubicBezTo>
                    <a:cubicBezTo>
                      <a:pt x="120713" y="47480"/>
                      <a:pt x="108726" y="29751"/>
                      <a:pt x="93282" y="21109"/>
                    </a:cubicBezTo>
                    <a:cubicBezTo>
                      <a:pt x="66074" y="8659"/>
                      <a:pt x="33905" y="19905"/>
                      <a:pt x="20357" y="46588"/>
                    </a:cubicBezTo>
                    <a:cubicBezTo>
                      <a:pt x="13387" y="63035"/>
                      <a:pt x="15060" y="84389"/>
                      <a:pt x="25207" y="106746"/>
                    </a:cubicBezTo>
                    <a:cubicBezTo>
                      <a:pt x="45501" y="151628"/>
                      <a:pt x="82299" y="166514"/>
                      <a:pt x="100976" y="159935"/>
                    </a:cubicBezTo>
                    <a:cubicBezTo>
                      <a:pt x="105325" y="158396"/>
                      <a:pt x="110119" y="160682"/>
                      <a:pt x="111625" y="165036"/>
                    </a:cubicBezTo>
                    <a:cubicBezTo>
                      <a:pt x="113186" y="169396"/>
                      <a:pt x="110900" y="174174"/>
                      <a:pt x="106551" y="175713"/>
                    </a:cubicBezTo>
                    <a:cubicBezTo>
                      <a:pt x="101366" y="177525"/>
                      <a:pt x="95903" y="178434"/>
                      <a:pt x="90383" y="178389"/>
                    </a:cubicBezTo>
                    <a:close/>
                  </a:path>
                </a:pathLst>
              </a:custGeom>
              <a:solidFill>
                <a:srgbClr val="30373B"/>
              </a:solidFill>
              <a:ln w="5573" cap="flat">
                <a:noFill/>
                <a:prstDash val="solid"/>
                <a:miter/>
              </a:ln>
            </p:spPr>
            <p:txBody>
              <a:bodyPr rtlCol="0" anchor="ctr"/>
              <a:lstStyle/>
              <a:p>
                <a:endParaRPr lang="en-GB"/>
              </a:p>
            </p:txBody>
          </p:sp>
          <p:sp>
            <p:nvSpPr>
              <p:cNvPr id="120" name="Graphic 6">
                <a:extLst>
                  <a:ext uri="{FF2B5EF4-FFF2-40B4-BE49-F238E27FC236}">
                    <a16:creationId xmlns:a16="http://schemas.microsoft.com/office/drawing/2014/main" id="{368D344F-9951-BA9E-8221-835AAECBE645}"/>
                  </a:ext>
                </a:extLst>
              </p:cNvPr>
              <p:cNvSpPr/>
              <p:nvPr/>
            </p:nvSpPr>
            <p:spPr>
              <a:xfrm>
                <a:off x="6885929" y="2591630"/>
                <a:ext cx="46799" cy="517483"/>
              </a:xfrm>
              <a:custGeom>
                <a:avLst/>
                <a:gdLst>
                  <a:gd name="connsiteX0" fmla="*/ 37496 w 46799"/>
                  <a:gd name="connsiteY0" fmla="*/ 517016 h 517483"/>
                  <a:gd name="connsiteX1" fmla="*/ 29133 w 46799"/>
                  <a:gd name="connsiteY1" fmla="*/ 509211 h 517483"/>
                  <a:gd name="connsiteX2" fmla="*/ -807 w 46799"/>
                  <a:gd name="connsiteY2" fmla="*/ 74836 h 517483"/>
                  <a:gd name="connsiteX3" fmla="*/ -807 w 46799"/>
                  <a:gd name="connsiteY3" fmla="*/ 73889 h 517483"/>
                  <a:gd name="connsiteX4" fmla="*/ 2148 w 46799"/>
                  <a:gd name="connsiteY4" fmla="*/ 7542 h 517483"/>
                  <a:gd name="connsiteX5" fmla="*/ 10846 w 46799"/>
                  <a:gd name="connsiteY5" fmla="*/ -459 h 517483"/>
                  <a:gd name="connsiteX6" fmla="*/ 18874 w 46799"/>
                  <a:gd name="connsiteY6" fmla="*/ 8267 h 517483"/>
                  <a:gd name="connsiteX7" fmla="*/ 15975 w 46799"/>
                  <a:gd name="connsiteY7" fmla="*/ 74167 h 517483"/>
                  <a:gd name="connsiteX8" fmla="*/ 45971 w 46799"/>
                  <a:gd name="connsiteY8" fmla="*/ 508040 h 517483"/>
                  <a:gd name="connsiteX9" fmla="*/ 38221 w 46799"/>
                  <a:gd name="connsiteY9" fmla="*/ 516961 h 517483"/>
                  <a:gd name="connsiteX10" fmla="*/ 38165 w 46799"/>
                  <a:gd name="connsiteY10" fmla="*/ 516961 h 51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9" h="517483">
                    <a:moveTo>
                      <a:pt x="37496" y="517016"/>
                    </a:moveTo>
                    <a:cubicBezTo>
                      <a:pt x="33091" y="517000"/>
                      <a:pt x="29468" y="513599"/>
                      <a:pt x="29133" y="509211"/>
                    </a:cubicBezTo>
                    <a:lnTo>
                      <a:pt x="-807" y="74836"/>
                    </a:lnTo>
                    <a:cubicBezTo>
                      <a:pt x="-807" y="74518"/>
                      <a:pt x="-807" y="74206"/>
                      <a:pt x="-807" y="73889"/>
                    </a:cubicBezTo>
                    <a:lnTo>
                      <a:pt x="2148" y="7542"/>
                    </a:lnTo>
                    <a:cubicBezTo>
                      <a:pt x="2371" y="2925"/>
                      <a:pt x="6274" y="-660"/>
                      <a:pt x="10846" y="-459"/>
                    </a:cubicBezTo>
                    <a:cubicBezTo>
                      <a:pt x="15474" y="-258"/>
                      <a:pt x="19097" y="3650"/>
                      <a:pt x="18874" y="8267"/>
                    </a:cubicBezTo>
                    <a:lnTo>
                      <a:pt x="15975" y="74167"/>
                    </a:lnTo>
                    <a:lnTo>
                      <a:pt x="45971" y="508040"/>
                    </a:lnTo>
                    <a:cubicBezTo>
                      <a:pt x="46305" y="512645"/>
                      <a:pt x="42792" y="516643"/>
                      <a:pt x="38221" y="516961"/>
                    </a:cubicBezTo>
                    <a:cubicBezTo>
                      <a:pt x="38165" y="516961"/>
                      <a:pt x="38165" y="516961"/>
                      <a:pt x="38165" y="516961"/>
                    </a:cubicBezTo>
                    <a:close/>
                  </a:path>
                </a:pathLst>
              </a:custGeom>
              <a:solidFill>
                <a:srgbClr val="30373B"/>
              </a:solidFill>
              <a:ln w="5573" cap="flat">
                <a:noFill/>
                <a:prstDash val="solid"/>
                <a:miter/>
              </a:ln>
            </p:spPr>
            <p:txBody>
              <a:bodyPr rtlCol="0" anchor="ctr"/>
              <a:lstStyle/>
              <a:p>
                <a:endParaRPr lang="en-GB"/>
              </a:p>
            </p:txBody>
          </p:sp>
          <p:sp>
            <p:nvSpPr>
              <p:cNvPr id="121" name="Graphic 6">
                <a:extLst>
                  <a:ext uri="{FF2B5EF4-FFF2-40B4-BE49-F238E27FC236}">
                    <a16:creationId xmlns:a16="http://schemas.microsoft.com/office/drawing/2014/main" id="{D62DE01F-7387-C642-CED7-32F3DD598EA6}"/>
                  </a:ext>
                </a:extLst>
              </p:cNvPr>
              <p:cNvSpPr/>
              <p:nvPr/>
            </p:nvSpPr>
            <p:spPr>
              <a:xfrm>
                <a:off x="6853176" y="2399739"/>
                <a:ext cx="234981" cy="190421"/>
              </a:xfrm>
              <a:custGeom>
                <a:avLst/>
                <a:gdLst>
                  <a:gd name="connsiteX0" fmla="*/ 125501 w 234981"/>
                  <a:gd name="connsiteY0" fmla="*/ 189955 h 190421"/>
                  <a:gd name="connsiteX1" fmla="*/ 101638 w 234981"/>
                  <a:gd name="connsiteY1" fmla="*/ 185774 h 190421"/>
                  <a:gd name="connsiteX2" fmla="*/ -669 w 234981"/>
                  <a:gd name="connsiteY2" fmla="*/ 9537 h 190421"/>
                  <a:gd name="connsiteX3" fmla="*/ 6188 w 234981"/>
                  <a:gd name="connsiteY3" fmla="*/ -331 h 190421"/>
                  <a:gd name="connsiteX4" fmla="*/ 16057 w 234981"/>
                  <a:gd name="connsiteY4" fmla="*/ 6526 h 190421"/>
                  <a:gd name="connsiteX5" fmla="*/ 107548 w 234981"/>
                  <a:gd name="connsiteY5" fmla="*/ 170051 h 190421"/>
                  <a:gd name="connsiteX6" fmla="*/ 184878 w 234981"/>
                  <a:gd name="connsiteY6" fmla="*/ 146356 h 190421"/>
                  <a:gd name="connsiteX7" fmla="*/ 214204 w 234981"/>
                  <a:gd name="connsiteY7" fmla="*/ 70085 h 190421"/>
                  <a:gd name="connsiteX8" fmla="*/ 158451 w 234981"/>
                  <a:gd name="connsiteY8" fmla="*/ 31337 h 190421"/>
                  <a:gd name="connsiteX9" fmla="*/ 150088 w 234981"/>
                  <a:gd name="connsiteY9" fmla="*/ 22974 h 190421"/>
                  <a:gd name="connsiteX10" fmla="*/ 158451 w 234981"/>
                  <a:gd name="connsiteY10" fmla="*/ 14611 h 190421"/>
                  <a:gd name="connsiteX11" fmla="*/ 229871 w 234981"/>
                  <a:gd name="connsiteY11" fmla="*/ 64343 h 190421"/>
                  <a:gd name="connsiteX12" fmla="*/ 195694 w 234981"/>
                  <a:gd name="connsiteY12" fmla="*/ 159124 h 190421"/>
                  <a:gd name="connsiteX13" fmla="*/ 125501 w 234981"/>
                  <a:gd name="connsiteY13" fmla="*/ 189955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981" h="190421">
                    <a:moveTo>
                      <a:pt x="125501" y="189955"/>
                    </a:moveTo>
                    <a:cubicBezTo>
                      <a:pt x="117360" y="189950"/>
                      <a:pt x="109276" y="188539"/>
                      <a:pt x="101638" y="185774"/>
                    </a:cubicBezTo>
                    <a:cubicBezTo>
                      <a:pt x="27932" y="159458"/>
                      <a:pt x="501" y="15670"/>
                      <a:pt x="-669" y="9537"/>
                    </a:cubicBezTo>
                    <a:cubicBezTo>
                      <a:pt x="-1506" y="4921"/>
                      <a:pt x="1561" y="499"/>
                      <a:pt x="6188" y="-331"/>
                    </a:cubicBezTo>
                    <a:cubicBezTo>
                      <a:pt x="10816" y="-1162"/>
                      <a:pt x="15220" y="1910"/>
                      <a:pt x="16057" y="6526"/>
                    </a:cubicBezTo>
                    <a:cubicBezTo>
                      <a:pt x="16057" y="7920"/>
                      <a:pt x="42874" y="146969"/>
                      <a:pt x="107548" y="170051"/>
                    </a:cubicBezTo>
                    <a:cubicBezTo>
                      <a:pt x="130519" y="178247"/>
                      <a:pt x="156555" y="170051"/>
                      <a:pt x="184878" y="146356"/>
                    </a:cubicBezTo>
                    <a:cubicBezTo>
                      <a:pt x="213201" y="122661"/>
                      <a:pt x="223348" y="95119"/>
                      <a:pt x="214204" y="70085"/>
                    </a:cubicBezTo>
                    <a:cubicBezTo>
                      <a:pt x="205339" y="46937"/>
                      <a:pt x="183261" y="31560"/>
                      <a:pt x="158451" y="31337"/>
                    </a:cubicBezTo>
                    <a:cubicBezTo>
                      <a:pt x="153823" y="31337"/>
                      <a:pt x="150088" y="27590"/>
                      <a:pt x="150088" y="22974"/>
                    </a:cubicBezTo>
                    <a:cubicBezTo>
                      <a:pt x="150088" y="18357"/>
                      <a:pt x="153823" y="14611"/>
                      <a:pt x="158451" y="14611"/>
                    </a:cubicBezTo>
                    <a:cubicBezTo>
                      <a:pt x="190230" y="14917"/>
                      <a:pt x="218553" y="34648"/>
                      <a:pt x="229871" y="64343"/>
                    </a:cubicBezTo>
                    <a:cubicBezTo>
                      <a:pt x="241579" y="96345"/>
                      <a:pt x="229146" y="130912"/>
                      <a:pt x="195694" y="159124"/>
                    </a:cubicBezTo>
                    <a:cubicBezTo>
                      <a:pt x="171163" y="179641"/>
                      <a:pt x="147746" y="189916"/>
                      <a:pt x="125501" y="189955"/>
                    </a:cubicBezTo>
                    <a:close/>
                  </a:path>
                </a:pathLst>
              </a:custGeom>
              <a:solidFill>
                <a:srgbClr val="30373B"/>
              </a:solidFill>
              <a:ln w="5573" cap="flat">
                <a:noFill/>
                <a:prstDash val="solid"/>
                <a:miter/>
              </a:ln>
            </p:spPr>
            <p:txBody>
              <a:bodyPr rtlCol="0" anchor="ctr"/>
              <a:lstStyle/>
              <a:p>
                <a:endParaRPr lang="en-GB"/>
              </a:p>
            </p:txBody>
          </p:sp>
          <p:sp>
            <p:nvSpPr>
              <p:cNvPr id="122" name="Graphic 6">
                <a:extLst>
                  <a:ext uri="{FF2B5EF4-FFF2-40B4-BE49-F238E27FC236}">
                    <a16:creationId xmlns:a16="http://schemas.microsoft.com/office/drawing/2014/main" id="{CBA831B6-7FD9-F002-84B3-0BD68C8BC802}"/>
                  </a:ext>
                </a:extLst>
              </p:cNvPr>
              <p:cNvSpPr/>
              <p:nvPr/>
            </p:nvSpPr>
            <p:spPr>
              <a:xfrm>
                <a:off x="6623478" y="2339574"/>
                <a:ext cx="200197" cy="43295"/>
              </a:xfrm>
              <a:custGeom>
                <a:avLst/>
                <a:gdLst>
                  <a:gd name="connsiteX0" fmla="*/ 190392 w 200197"/>
                  <a:gd name="connsiteY0" fmla="*/ 42829 h 43295"/>
                  <a:gd name="connsiteX1" fmla="*/ 189221 w 200197"/>
                  <a:gd name="connsiteY1" fmla="*/ 42829 h 43295"/>
                  <a:gd name="connsiteX2" fmla="*/ 6461 w 200197"/>
                  <a:gd name="connsiteY2" fmla="*/ 16346 h 43295"/>
                  <a:gd name="connsiteX3" fmla="*/ -731 w 200197"/>
                  <a:gd name="connsiteY3" fmla="*/ 6784 h 43295"/>
                  <a:gd name="connsiteX4" fmla="*/ 8859 w 200197"/>
                  <a:gd name="connsiteY4" fmla="*/ -380 h 43295"/>
                  <a:gd name="connsiteX5" fmla="*/ 191618 w 200197"/>
                  <a:gd name="connsiteY5" fmla="*/ 26047 h 43295"/>
                  <a:gd name="connsiteX6" fmla="*/ 199368 w 200197"/>
                  <a:gd name="connsiteY6" fmla="*/ 35023 h 43295"/>
                  <a:gd name="connsiteX7" fmla="*/ 190392 w 200197"/>
                  <a:gd name="connsiteY7" fmla="*/ 42773 h 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197" h="43295">
                    <a:moveTo>
                      <a:pt x="190392" y="42829"/>
                    </a:moveTo>
                    <a:lnTo>
                      <a:pt x="189221" y="42829"/>
                    </a:lnTo>
                    <a:lnTo>
                      <a:pt x="6461" y="16346"/>
                    </a:lnTo>
                    <a:cubicBezTo>
                      <a:pt x="1834" y="15683"/>
                      <a:pt x="-1344" y="11401"/>
                      <a:pt x="-731" y="6784"/>
                    </a:cubicBezTo>
                    <a:cubicBezTo>
                      <a:pt x="-62" y="2168"/>
                      <a:pt x="4231" y="-1043"/>
                      <a:pt x="8859" y="-380"/>
                    </a:cubicBezTo>
                    <a:lnTo>
                      <a:pt x="191618" y="26047"/>
                    </a:lnTo>
                    <a:cubicBezTo>
                      <a:pt x="196246" y="26387"/>
                      <a:pt x="199703" y="30407"/>
                      <a:pt x="199368" y="35023"/>
                    </a:cubicBezTo>
                    <a:cubicBezTo>
                      <a:pt x="199034" y="39640"/>
                      <a:pt x="195020" y="43113"/>
                      <a:pt x="190392" y="42773"/>
                    </a:cubicBezTo>
                    <a:close/>
                  </a:path>
                </a:pathLst>
              </a:custGeom>
              <a:solidFill>
                <a:srgbClr val="30373B"/>
              </a:solidFill>
              <a:ln w="5573" cap="flat">
                <a:noFill/>
                <a:prstDash val="solid"/>
                <a:miter/>
              </a:ln>
            </p:spPr>
            <p:txBody>
              <a:bodyPr rtlCol="0" anchor="ctr"/>
              <a:lstStyle/>
              <a:p>
                <a:endParaRPr lang="en-GB"/>
              </a:p>
            </p:txBody>
          </p:sp>
          <p:sp>
            <p:nvSpPr>
              <p:cNvPr id="123" name="Graphic 6">
                <a:extLst>
                  <a:ext uri="{FF2B5EF4-FFF2-40B4-BE49-F238E27FC236}">
                    <a16:creationId xmlns:a16="http://schemas.microsoft.com/office/drawing/2014/main" id="{3DA961A6-84F5-0AA6-8A1F-2C3722ED34D5}"/>
                  </a:ext>
                </a:extLst>
              </p:cNvPr>
              <p:cNvSpPr/>
              <p:nvPr/>
            </p:nvSpPr>
            <p:spPr>
              <a:xfrm>
                <a:off x="6557182" y="2409840"/>
                <a:ext cx="247848" cy="150659"/>
              </a:xfrm>
              <a:custGeom>
                <a:avLst/>
                <a:gdLst>
                  <a:gd name="connsiteX0" fmla="*/ 7582 w 247848"/>
                  <a:gd name="connsiteY0" fmla="*/ 150193 h 150659"/>
                  <a:gd name="connsiteX1" fmla="*/ 333 w 247848"/>
                  <a:gd name="connsiteY1" fmla="*/ 146067 h 150659"/>
                  <a:gd name="connsiteX2" fmla="*/ 3344 w 247848"/>
                  <a:gd name="connsiteY2" fmla="*/ 134638 h 150659"/>
                  <a:gd name="connsiteX3" fmla="*/ 234219 w 247848"/>
                  <a:gd name="connsiteY3" fmla="*/ 829 h 150659"/>
                  <a:gd name="connsiteX4" fmla="*/ 245760 w 247848"/>
                  <a:gd name="connsiteY4" fmla="*/ 3428 h 150659"/>
                  <a:gd name="connsiteX5" fmla="*/ 243140 w 247848"/>
                  <a:gd name="connsiteY5" fmla="*/ 14963 h 150659"/>
                  <a:gd name="connsiteX6" fmla="*/ 242638 w 247848"/>
                  <a:gd name="connsiteY6" fmla="*/ 15270 h 150659"/>
                  <a:gd name="connsiteX7" fmla="*/ 11763 w 247848"/>
                  <a:gd name="connsiteY7" fmla="*/ 149078 h 150659"/>
                  <a:gd name="connsiteX8" fmla="*/ 7582 w 247848"/>
                  <a:gd name="connsiteY8" fmla="*/ 150193 h 15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848" h="150659">
                    <a:moveTo>
                      <a:pt x="7582" y="150193"/>
                    </a:moveTo>
                    <a:cubicBezTo>
                      <a:pt x="4627" y="150193"/>
                      <a:pt x="1839" y="148626"/>
                      <a:pt x="333" y="146067"/>
                    </a:cubicBezTo>
                    <a:cubicBezTo>
                      <a:pt x="-2008" y="142081"/>
                      <a:pt x="-615" y="136962"/>
                      <a:pt x="3344" y="134638"/>
                    </a:cubicBezTo>
                    <a:lnTo>
                      <a:pt x="234219" y="829"/>
                    </a:lnTo>
                    <a:cubicBezTo>
                      <a:pt x="238122" y="-1640"/>
                      <a:pt x="243307" y="-475"/>
                      <a:pt x="245760" y="3428"/>
                    </a:cubicBezTo>
                    <a:cubicBezTo>
                      <a:pt x="248213" y="7330"/>
                      <a:pt x="247042" y="12493"/>
                      <a:pt x="243140" y="14963"/>
                    </a:cubicBezTo>
                    <a:cubicBezTo>
                      <a:pt x="242972" y="15074"/>
                      <a:pt x="242805" y="15175"/>
                      <a:pt x="242638" y="15270"/>
                    </a:cubicBezTo>
                    <a:lnTo>
                      <a:pt x="11763" y="149078"/>
                    </a:lnTo>
                    <a:cubicBezTo>
                      <a:pt x="10480" y="149814"/>
                      <a:pt x="9031" y="150198"/>
                      <a:pt x="7582" y="150193"/>
                    </a:cubicBezTo>
                    <a:close/>
                  </a:path>
                </a:pathLst>
              </a:custGeom>
              <a:solidFill>
                <a:srgbClr val="30373B"/>
              </a:solidFill>
              <a:ln w="5573" cap="flat">
                <a:noFill/>
                <a:prstDash val="solid"/>
                <a:miter/>
              </a:ln>
            </p:spPr>
            <p:txBody>
              <a:bodyPr rtlCol="0" anchor="ctr"/>
              <a:lstStyle/>
              <a:p>
                <a:endParaRPr lang="en-GB"/>
              </a:p>
            </p:txBody>
          </p:sp>
          <p:sp>
            <p:nvSpPr>
              <p:cNvPr id="124" name="Graphic 6">
                <a:extLst>
                  <a:ext uri="{FF2B5EF4-FFF2-40B4-BE49-F238E27FC236}">
                    <a16:creationId xmlns:a16="http://schemas.microsoft.com/office/drawing/2014/main" id="{FF06431D-88C9-AE23-76A1-3D5E3A4B1C5B}"/>
                  </a:ext>
                </a:extLst>
              </p:cNvPr>
              <p:cNvSpPr/>
              <p:nvPr/>
            </p:nvSpPr>
            <p:spPr>
              <a:xfrm>
                <a:off x="6684900" y="2446293"/>
                <a:ext cx="157626" cy="250969"/>
              </a:xfrm>
              <a:custGeom>
                <a:avLst/>
                <a:gdLst>
                  <a:gd name="connsiteX0" fmla="*/ 7538 w 157626"/>
                  <a:gd name="connsiteY0" fmla="*/ 250503 h 250969"/>
                  <a:gd name="connsiteX1" fmla="*/ 3246 w 157626"/>
                  <a:gd name="connsiteY1" fmla="*/ 249276 h 250969"/>
                  <a:gd name="connsiteX2" fmla="*/ 402 w 157626"/>
                  <a:gd name="connsiteY2" fmla="*/ 237797 h 250969"/>
                  <a:gd name="connsiteX3" fmla="*/ 402 w 157626"/>
                  <a:gd name="connsiteY3" fmla="*/ 237791 h 250969"/>
                  <a:gd name="connsiteX4" fmla="*/ 141514 w 157626"/>
                  <a:gd name="connsiteY4" fmla="*/ 3237 h 250969"/>
                  <a:gd name="connsiteX5" fmla="*/ 153111 w 157626"/>
                  <a:gd name="connsiteY5" fmla="*/ 951 h 250969"/>
                  <a:gd name="connsiteX6" fmla="*/ 155843 w 157626"/>
                  <a:gd name="connsiteY6" fmla="*/ 11823 h 250969"/>
                  <a:gd name="connsiteX7" fmla="*/ 14731 w 157626"/>
                  <a:gd name="connsiteY7" fmla="*/ 246433 h 250969"/>
                  <a:gd name="connsiteX8" fmla="*/ 7538 w 157626"/>
                  <a:gd name="connsiteY8" fmla="*/ 250503 h 25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26" h="250969">
                    <a:moveTo>
                      <a:pt x="7538" y="250503"/>
                    </a:moveTo>
                    <a:cubicBezTo>
                      <a:pt x="6033" y="250503"/>
                      <a:pt x="4528" y="250079"/>
                      <a:pt x="3246" y="249276"/>
                    </a:cubicBezTo>
                    <a:cubicBezTo>
                      <a:pt x="-713" y="246890"/>
                      <a:pt x="-1995" y="241755"/>
                      <a:pt x="402" y="237797"/>
                    </a:cubicBezTo>
                    <a:cubicBezTo>
                      <a:pt x="402" y="237797"/>
                      <a:pt x="402" y="237791"/>
                      <a:pt x="402" y="237791"/>
                    </a:cubicBezTo>
                    <a:lnTo>
                      <a:pt x="141514" y="3237"/>
                    </a:lnTo>
                    <a:cubicBezTo>
                      <a:pt x="144079" y="-599"/>
                      <a:pt x="149264" y="-1619"/>
                      <a:pt x="153111" y="951"/>
                    </a:cubicBezTo>
                    <a:cubicBezTo>
                      <a:pt x="156679" y="3343"/>
                      <a:pt x="157850" y="8037"/>
                      <a:pt x="155843" y="11823"/>
                    </a:cubicBezTo>
                    <a:lnTo>
                      <a:pt x="14731" y="246433"/>
                    </a:lnTo>
                    <a:cubicBezTo>
                      <a:pt x="13225" y="248964"/>
                      <a:pt x="10493" y="250509"/>
                      <a:pt x="7538" y="250503"/>
                    </a:cubicBezTo>
                    <a:close/>
                  </a:path>
                </a:pathLst>
              </a:custGeom>
              <a:solidFill>
                <a:srgbClr val="30373B"/>
              </a:solidFill>
              <a:ln w="5573" cap="flat">
                <a:noFill/>
                <a:prstDash val="solid"/>
                <a:miter/>
              </a:ln>
            </p:spPr>
            <p:txBody>
              <a:bodyPr rtlCol="0" anchor="ctr"/>
              <a:lstStyle/>
              <a:p>
                <a:endParaRPr lang="en-GB"/>
              </a:p>
            </p:txBody>
          </p:sp>
          <p:sp>
            <p:nvSpPr>
              <p:cNvPr id="125" name="Graphic 6">
                <a:extLst>
                  <a:ext uri="{FF2B5EF4-FFF2-40B4-BE49-F238E27FC236}">
                    <a16:creationId xmlns:a16="http://schemas.microsoft.com/office/drawing/2014/main" id="{DBAADE35-62DD-73B7-BD30-319F783D1069}"/>
                  </a:ext>
                </a:extLst>
              </p:cNvPr>
              <p:cNvSpPr/>
              <p:nvPr/>
            </p:nvSpPr>
            <p:spPr>
              <a:xfrm>
                <a:off x="6975859" y="2697040"/>
                <a:ext cx="16726" cy="407947"/>
              </a:xfrm>
              <a:custGeom>
                <a:avLst/>
                <a:gdLst>
                  <a:gd name="connsiteX0" fmla="*/ 7556 w 16726"/>
                  <a:gd name="connsiteY0" fmla="*/ 407481 h 407947"/>
                  <a:gd name="connsiteX1" fmla="*/ -807 w 16726"/>
                  <a:gd name="connsiteY1" fmla="*/ 399118 h 407947"/>
                  <a:gd name="connsiteX2" fmla="*/ -807 w 16726"/>
                  <a:gd name="connsiteY2" fmla="*/ 7896 h 407947"/>
                  <a:gd name="connsiteX3" fmla="*/ 7556 w 16726"/>
                  <a:gd name="connsiteY3" fmla="*/ -467 h 407947"/>
                  <a:gd name="connsiteX4" fmla="*/ 15919 w 16726"/>
                  <a:gd name="connsiteY4" fmla="*/ 7896 h 407947"/>
                  <a:gd name="connsiteX5" fmla="*/ 15919 w 16726"/>
                  <a:gd name="connsiteY5" fmla="*/ 399118 h 407947"/>
                  <a:gd name="connsiteX6" fmla="*/ 7556 w 16726"/>
                  <a:gd name="connsiteY6" fmla="*/ 407481 h 40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407947">
                    <a:moveTo>
                      <a:pt x="7556" y="407481"/>
                    </a:moveTo>
                    <a:cubicBezTo>
                      <a:pt x="2929" y="407481"/>
                      <a:pt x="-807" y="403734"/>
                      <a:pt x="-807" y="399118"/>
                    </a:cubicBezTo>
                    <a:lnTo>
                      <a:pt x="-807" y="7896"/>
                    </a:lnTo>
                    <a:cubicBezTo>
                      <a:pt x="-807" y="3280"/>
                      <a:pt x="2929" y="-467"/>
                      <a:pt x="7556" y="-467"/>
                    </a:cubicBezTo>
                    <a:cubicBezTo>
                      <a:pt x="12184" y="-467"/>
                      <a:pt x="15919" y="3280"/>
                      <a:pt x="15919" y="7896"/>
                    </a:cubicBezTo>
                    <a:lnTo>
                      <a:pt x="15919" y="399118"/>
                    </a:lnTo>
                    <a:cubicBezTo>
                      <a:pt x="15919" y="403734"/>
                      <a:pt x="12184" y="407481"/>
                      <a:pt x="7556" y="407481"/>
                    </a:cubicBezTo>
                    <a:close/>
                  </a:path>
                </a:pathLst>
              </a:custGeom>
              <a:solidFill>
                <a:srgbClr val="30373B"/>
              </a:solidFill>
              <a:ln w="5573" cap="flat">
                <a:noFill/>
                <a:prstDash val="solid"/>
                <a:miter/>
              </a:ln>
            </p:spPr>
            <p:txBody>
              <a:bodyPr rtlCol="0" anchor="ctr"/>
              <a:lstStyle/>
              <a:p>
                <a:endParaRPr lang="en-GB"/>
              </a:p>
            </p:txBody>
          </p:sp>
          <p:sp>
            <p:nvSpPr>
              <p:cNvPr id="126" name="Graphic 6">
                <a:extLst>
                  <a:ext uri="{FF2B5EF4-FFF2-40B4-BE49-F238E27FC236}">
                    <a16:creationId xmlns:a16="http://schemas.microsoft.com/office/drawing/2014/main" id="{D2D3C7FA-7724-FEDB-7DDC-8F948C553779}"/>
                  </a:ext>
                </a:extLst>
              </p:cNvPr>
              <p:cNvSpPr/>
              <p:nvPr/>
            </p:nvSpPr>
            <p:spPr>
              <a:xfrm>
                <a:off x="8938435" y="4877612"/>
                <a:ext cx="16726" cy="657332"/>
              </a:xfrm>
              <a:custGeom>
                <a:avLst/>
                <a:gdLst>
                  <a:gd name="connsiteX0" fmla="*/ 7556 w 16726"/>
                  <a:gd name="connsiteY0" fmla="*/ 656866 h 657332"/>
                  <a:gd name="connsiteX1" fmla="*/ -807 w 16726"/>
                  <a:gd name="connsiteY1" fmla="*/ 648503 h 657332"/>
                  <a:gd name="connsiteX2" fmla="*/ -807 w 16726"/>
                  <a:gd name="connsiteY2" fmla="*/ 7896 h 657332"/>
                  <a:gd name="connsiteX3" fmla="*/ 7556 w 16726"/>
                  <a:gd name="connsiteY3" fmla="*/ -467 h 657332"/>
                  <a:gd name="connsiteX4" fmla="*/ 15919 w 16726"/>
                  <a:gd name="connsiteY4" fmla="*/ 7896 h 657332"/>
                  <a:gd name="connsiteX5" fmla="*/ 15919 w 16726"/>
                  <a:gd name="connsiteY5" fmla="*/ 648503 h 657332"/>
                  <a:gd name="connsiteX6" fmla="*/ 7556 w 16726"/>
                  <a:gd name="connsiteY6" fmla="*/ 656866 h 6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657332">
                    <a:moveTo>
                      <a:pt x="7556" y="656866"/>
                    </a:moveTo>
                    <a:cubicBezTo>
                      <a:pt x="2928" y="656866"/>
                      <a:pt x="-807" y="653131"/>
                      <a:pt x="-807" y="648503"/>
                    </a:cubicBezTo>
                    <a:lnTo>
                      <a:pt x="-807" y="7896"/>
                    </a:lnTo>
                    <a:cubicBezTo>
                      <a:pt x="-807" y="3280"/>
                      <a:pt x="2928" y="-467"/>
                      <a:pt x="7556" y="-467"/>
                    </a:cubicBezTo>
                    <a:cubicBezTo>
                      <a:pt x="12184" y="-467"/>
                      <a:pt x="15919" y="3280"/>
                      <a:pt x="15919" y="7896"/>
                    </a:cubicBezTo>
                    <a:lnTo>
                      <a:pt x="15919" y="648503"/>
                    </a:lnTo>
                    <a:cubicBezTo>
                      <a:pt x="15919" y="653131"/>
                      <a:pt x="12184" y="656866"/>
                      <a:pt x="7556" y="656866"/>
                    </a:cubicBezTo>
                    <a:close/>
                  </a:path>
                </a:pathLst>
              </a:custGeom>
              <a:solidFill>
                <a:srgbClr val="30373B"/>
              </a:solidFill>
              <a:ln w="5573" cap="flat">
                <a:noFill/>
                <a:prstDash val="solid"/>
                <a:miter/>
              </a:ln>
            </p:spPr>
            <p:txBody>
              <a:bodyPr rtlCol="0" anchor="ctr"/>
              <a:lstStyle/>
              <a:p>
                <a:endParaRPr lang="en-GB"/>
              </a:p>
            </p:txBody>
          </p:sp>
          <p:sp>
            <p:nvSpPr>
              <p:cNvPr id="127" name="Graphic 6">
                <a:extLst>
                  <a:ext uri="{FF2B5EF4-FFF2-40B4-BE49-F238E27FC236}">
                    <a16:creationId xmlns:a16="http://schemas.microsoft.com/office/drawing/2014/main" id="{B61A5AD9-6553-DC06-DD5E-CA7AD7DDED6C}"/>
                  </a:ext>
                </a:extLst>
              </p:cNvPr>
              <p:cNvSpPr/>
              <p:nvPr/>
            </p:nvSpPr>
            <p:spPr>
              <a:xfrm>
                <a:off x="7928963" y="5690496"/>
                <a:ext cx="1026197" cy="174564"/>
              </a:xfrm>
              <a:custGeom>
                <a:avLst/>
                <a:gdLst>
                  <a:gd name="connsiteX0" fmla="*/ 911152 w 1026197"/>
                  <a:gd name="connsiteY0" fmla="*/ 174097 h 174564"/>
                  <a:gd name="connsiteX1" fmla="*/ 7556 w 1026197"/>
                  <a:gd name="connsiteY1" fmla="*/ 174097 h 174564"/>
                  <a:gd name="connsiteX2" fmla="*/ -807 w 1026197"/>
                  <a:gd name="connsiteY2" fmla="*/ 165734 h 174564"/>
                  <a:gd name="connsiteX3" fmla="*/ 7556 w 1026197"/>
                  <a:gd name="connsiteY3" fmla="*/ 157371 h 174564"/>
                  <a:gd name="connsiteX4" fmla="*/ 911152 w 1026197"/>
                  <a:gd name="connsiteY4" fmla="*/ 157371 h 174564"/>
                  <a:gd name="connsiteX5" fmla="*/ 1008665 w 1026197"/>
                  <a:gd name="connsiteY5" fmla="*/ 59858 h 174564"/>
                  <a:gd name="connsiteX6" fmla="*/ 1008665 w 1026197"/>
                  <a:gd name="connsiteY6" fmla="*/ 7896 h 174564"/>
                  <a:gd name="connsiteX7" fmla="*/ 1017028 w 1026197"/>
                  <a:gd name="connsiteY7" fmla="*/ -467 h 174564"/>
                  <a:gd name="connsiteX8" fmla="*/ 1025391 w 1026197"/>
                  <a:gd name="connsiteY8" fmla="*/ 7896 h 174564"/>
                  <a:gd name="connsiteX9" fmla="*/ 1025391 w 1026197"/>
                  <a:gd name="connsiteY9" fmla="*/ 60025 h 174564"/>
                  <a:gd name="connsiteX10" fmla="*/ 911152 w 1026197"/>
                  <a:gd name="connsiteY10" fmla="*/ 174097 h 17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6197" h="174564">
                    <a:moveTo>
                      <a:pt x="911152" y="174097"/>
                    </a:moveTo>
                    <a:lnTo>
                      <a:pt x="7556" y="174097"/>
                    </a:lnTo>
                    <a:cubicBezTo>
                      <a:pt x="2929" y="174097"/>
                      <a:pt x="-807" y="170362"/>
                      <a:pt x="-807" y="165734"/>
                    </a:cubicBezTo>
                    <a:cubicBezTo>
                      <a:pt x="-807" y="161106"/>
                      <a:pt x="2929" y="157371"/>
                      <a:pt x="7556" y="157371"/>
                    </a:cubicBezTo>
                    <a:lnTo>
                      <a:pt x="911152" y="157371"/>
                    </a:lnTo>
                    <a:cubicBezTo>
                      <a:pt x="964954" y="157316"/>
                      <a:pt x="1008609" y="113660"/>
                      <a:pt x="1008665" y="59858"/>
                    </a:cubicBezTo>
                    <a:lnTo>
                      <a:pt x="1008665" y="7896"/>
                    </a:lnTo>
                    <a:cubicBezTo>
                      <a:pt x="1008665" y="3269"/>
                      <a:pt x="1012400" y="-467"/>
                      <a:pt x="1017028" y="-467"/>
                    </a:cubicBezTo>
                    <a:cubicBezTo>
                      <a:pt x="1021655" y="-467"/>
                      <a:pt x="1025391" y="3269"/>
                      <a:pt x="1025391" y="7896"/>
                    </a:cubicBezTo>
                    <a:lnTo>
                      <a:pt x="1025391" y="60025"/>
                    </a:lnTo>
                    <a:cubicBezTo>
                      <a:pt x="1025223" y="123027"/>
                      <a:pt x="974153" y="174042"/>
                      <a:pt x="911152" y="174097"/>
                    </a:cubicBezTo>
                    <a:close/>
                  </a:path>
                </a:pathLst>
              </a:custGeom>
              <a:solidFill>
                <a:srgbClr val="30373B"/>
              </a:solidFill>
              <a:ln w="5573" cap="flat">
                <a:noFill/>
                <a:prstDash val="solid"/>
                <a:miter/>
              </a:ln>
            </p:spPr>
            <p:txBody>
              <a:bodyPr rtlCol="0" anchor="ctr"/>
              <a:lstStyle/>
              <a:p>
                <a:endParaRPr lang="en-GB"/>
              </a:p>
            </p:txBody>
          </p:sp>
          <p:sp>
            <p:nvSpPr>
              <p:cNvPr id="128" name="Graphic 6">
                <a:extLst>
                  <a:ext uri="{FF2B5EF4-FFF2-40B4-BE49-F238E27FC236}">
                    <a16:creationId xmlns:a16="http://schemas.microsoft.com/office/drawing/2014/main" id="{21678A03-0F9B-315B-E210-6DB8D96A200D}"/>
                  </a:ext>
                </a:extLst>
              </p:cNvPr>
              <p:cNvSpPr/>
              <p:nvPr/>
            </p:nvSpPr>
            <p:spPr>
              <a:xfrm>
                <a:off x="7431755" y="5848334"/>
                <a:ext cx="330840" cy="16726"/>
              </a:xfrm>
              <a:custGeom>
                <a:avLst/>
                <a:gdLst>
                  <a:gd name="connsiteX0" fmla="*/ 321671 w 330840"/>
                  <a:gd name="connsiteY0" fmla="*/ 16259 h 16726"/>
                  <a:gd name="connsiteX1" fmla="*/ 7556 w 330840"/>
                  <a:gd name="connsiteY1" fmla="*/ 16259 h 16726"/>
                  <a:gd name="connsiteX2" fmla="*/ -807 w 330840"/>
                  <a:gd name="connsiteY2" fmla="*/ 7896 h 16726"/>
                  <a:gd name="connsiteX3" fmla="*/ 7556 w 330840"/>
                  <a:gd name="connsiteY3" fmla="*/ -467 h 16726"/>
                  <a:gd name="connsiteX4" fmla="*/ 321671 w 330840"/>
                  <a:gd name="connsiteY4" fmla="*/ -467 h 16726"/>
                  <a:gd name="connsiteX5" fmla="*/ 330034 w 330840"/>
                  <a:gd name="connsiteY5" fmla="*/ 7896 h 16726"/>
                  <a:gd name="connsiteX6" fmla="*/ 321671 w 33084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840" h="16726">
                    <a:moveTo>
                      <a:pt x="321671" y="16259"/>
                    </a:moveTo>
                    <a:lnTo>
                      <a:pt x="7556" y="16259"/>
                    </a:lnTo>
                    <a:cubicBezTo>
                      <a:pt x="2928" y="16259"/>
                      <a:pt x="-807" y="12523"/>
                      <a:pt x="-807" y="7896"/>
                    </a:cubicBezTo>
                    <a:cubicBezTo>
                      <a:pt x="-807" y="3268"/>
                      <a:pt x="2928" y="-467"/>
                      <a:pt x="7556" y="-467"/>
                    </a:cubicBezTo>
                    <a:lnTo>
                      <a:pt x="321671" y="-467"/>
                    </a:lnTo>
                    <a:cubicBezTo>
                      <a:pt x="326298" y="-467"/>
                      <a:pt x="330034" y="3268"/>
                      <a:pt x="330034" y="7896"/>
                    </a:cubicBezTo>
                    <a:cubicBezTo>
                      <a:pt x="330034" y="12523"/>
                      <a:pt x="326298" y="16259"/>
                      <a:pt x="321671" y="16259"/>
                    </a:cubicBezTo>
                    <a:close/>
                  </a:path>
                </a:pathLst>
              </a:custGeom>
              <a:solidFill>
                <a:srgbClr val="30373B"/>
              </a:solidFill>
              <a:ln w="5573" cap="flat">
                <a:noFill/>
                <a:prstDash val="solid"/>
                <a:miter/>
              </a:ln>
            </p:spPr>
            <p:txBody>
              <a:bodyPr rtlCol="0" anchor="ctr"/>
              <a:lstStyle/>
              <a:p>
                <a:endParaRPr lang="en-GB"/>
              </a:p>
            </p:txBody>
          </p:sp>
          <p:sp>
            <p:nvSpPr>
              <p:cNvPr id="129" name="Graphic 6">
                <a:extLst>
                  <a:ext uri="{FF2B5EF4-FFF2-40B4-BE49-F238E27FC236}">
                    <a16:creationId xmlns:a16="http://schemas.microsoft.com/office/drawing/2014/main" id="{D848534B-0B2F-1C1E-B709-C3BB63B5DF60}"/>
                  </a:ext>
                </a:extLst>
              </p:cNvPr>
              <p:cNvSpPr/>
              <p:nvPr/>
            </p:nvSpPr>
            <p:spPr>
              <a:xfrm>
                <a:off x="6403885" y="5848334"/>
                <a:ext cx="880290" cy="16726"/>
              </a:xfrm>
              <a:custGeom>
                <a:avLst/>
                <a:gdLst>
                  <a:gd name="connsiteX0" fmla="*/ 871121 w 880290"/>
                  <a:gd name="connsiteY0" fmla="*/ 16259 h 16726"/>
                  <a:gd name="connsiteX1" fmla="*/ 7556 w 880290"/>
                  <a:gd name="connsiteY1" fmla="*/ 16259 h 16726"/>
                  <a:gd name="connsiteX2" fmla="*/ -807 w 880290"/>
                  <a:gd name="connsiteY2" fmla="*/ 7896 h 16726"/>
                  <a:gd name="connsiteX3" fmla="*/ 7556 w 880290"/>
                  <a:gd name="connsiteY3" fmla="*/ -467 h 16726"/>
                  <a:gd name="connsiteX4" fmla="*/ 871121 w 880290"/>
                  <a:gd name="connsiteY4" fmla="*/ -467 h 16726"/>
                  <a:gd name="connsiteX5" fmla="*/ 879484 w 880290"/>
                  <a:gd name="connsiteY5" fmla="*/ 7896 h 16726"/>
                  <a:gd name="connsiteX6" fmla="*/ 871121 w 88029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290" h="16726">
                    <a:moveTo>
                      <a:pt x="871121" y="16259"/>
                    </a:moveTo>
                    <a:lnTo>
                      <a:pt x="7556" y="16259"/>
                    </a:lnTo>
                    <a:cubicBezTo>
                      <a:pt x="2928" y="16259"/>
                      <a:pt x="-807" y="12523"/>
                      <a:pt x="-807" y="7896"/>
                    </a:cubicBezTo>
                    <a:cubicBezTo>
                      <a:pt x="-807" y="3268"/>
                      <a:pt x="2928" y="-467"/>
                      <a:pt x="7556" y="-467"/>
                    </a:cubicBezTo>
                    <a:lnTo>
                      <a:pt x="871121" y="-467"/>
                    </a:lnTo>
                    <a:cubicBezTo>
                      <a:pt x="875748" y="-467"/>
                      <a:pt x="879484" y="3268"/>
                      <a:pt x="879484" y="7896"/>
                    </a:cubicBezTo>
                    <a:cubicBezTo>
                      <a:pt x="879484" y="12523"/>
                      <a:pt x="875748" y="16259"/>
                      <a:pt x="871121" y="16259"/>
                    </a:cubicBezTo>
                    <a:close/>
                  </a:path>
                </a:pathLst>
              </a:custGeom>
              <a:solidFill>
                <a:srgbClr val="30373B"/>
              </a:solidFill>
              <a:ln w="5573" cap="flat">
                <a:noFill/>
                <a:prstDash val="solid"/>
                <a:miter/>
              </a:ln>
            </p:spPr>
            <p:txBody>
              <a:bodyPr rtlCol="0" anchor="ctr"/>
              <a:lstStyle/>
              <a:p>
                <a:endParaRPr lang="en-GB"/>
              </a:p>
            </p:txBody>
          </p:sp>
          <p:sp>
            <p:nvSpPr>
              <p:cNvPr id="130" name="Graphic 6">
                <a:extLst>
                  <a:ext uri="{FF2B5EF4-FFF2-40B4-BE49-F238E27FC236}">
                    <a16:creationId xmlns:a16="http://schemas.microsoft.com/office/drawing/2014/main" id="{FB40137B-CD5A-6752-8EBB-5AC77FBC5B59}"/>
                  </a:ext>
                </a:extLst>
              </p:cNvPr>
              <p:cNvSpPr/>
              <p:nvPr/>
            </p:nvSpPr>
            <p:spPr>
              <a:xfrm>
                <a:off x="5729158" y="4877612"/>
                <a:ext cx="509809" cy="987448"/>
              </a:xfrm>
              <a:custGeom>
                <a:avLst/>
                <a:gdLst>
                  <a:gd name="connsiteX0" fmla="*/ 500639 w 509809"/>
                  <a:gd name="connsiteY0" fmla="*/ 986982 h 987448"/>
                  <a:gd name="connsiteX1" fmla="*/ 113432 w 509809"/>
                  <a:gd name="connsiteY1" fmla="*/ 986982 h 987448"/>
                  <a:gd name="connsiteX2" fmla="*/ -807 w 509809"/>
                  <a:gd name="connsiteY2" fmla="*/ 872743 h 987448"/>
                  <a:gd name="connsiteX3" fmla="*/ -807 w 509809"/>
                  <a:gd name="connsiteY3" fmla="*/ 7896 h 987448"/>
                  <a:gd name="connsiteX4" fmla="*/ 7556 w 509809"/>
                  <a:gd name="connsiteY4" fmla="*/ -467 h 987448"/>
                  <a:gd name="connsiteX5" fmla="*/ 15919 w 509809"/>
                  <a:gd name="connsiteY5" fmla="*/ 7896 h 987448"/>
                  <a:gd name="connsiteX6" fmla="*/ 15919 w 509809"/>
                  <a:gd name="connsiteY6" fmla="*/ 872743 h 987448"/>
                  <a:gd name="connsiteX7" fmla="*/ 113432 w 509809"/>
                  <a:gd name="connsiteY7" fmla="*/ 970256 h 987448"/>
                  <a:gd name="connsiteX8" fmla="*/ 500639 w 509809"/>
                  <a:gd name="connsiteY8" fmla="*/ 970256 h 987448"/>
                  <a:gd name="connsiteX9" fmla="*/ 509003 w 509809"/>
                  <a:gd name="connsiteY9" fmla="*/ 978619 h 987448"/>
                  <a:gd name="connsiteX10" fmla="*/ 500639 w 509809"/>
                  <a:gd name="connsiteY10" fmla="*/ 986982 h 98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809" h="987448">
                    <a:moveTo>
                      <a:pt x="500639" y="986982"/>
                    </a:moveTo>
                    <a:lnTo>
                      <a:pt x="113432" y="986982"/>
                    </a:lnTo>
                    <a:cubicBezTo>
                      <a:pt x="50364" y="986926"/>
                      <a:pt x="-745" y="935800"/>
                      <a:pt x="-807" y="872743"/>
                    </a:cubicBezTo>
                    <a:lnTo>
                      <a:pt x="-807" y="7896"/>
                    </a:lnTo>
                    <a:cubicBezTo>
                      <a:pt x="-807" y="3280"/>
                      <a:pt x="2940" y="-467"/>
                      <a:pt x="7556" y="-467"/>
                    </a:cubicBezTo>
                    <a:cubicBezTo>
                      <a:pt x="12173" y="-467"/>
                      <a:pt x="15919" y="3280"/>
                      <a:pt x="15919" y="7896"/>
                    </a:cubicBezTo>
                    <a:lnTo>
                      <a:pt x="15919" y="872743"/>
                    </a:lnTo>
                    <a:cubicBezTo>
                      <a:pt x="15981" y="926545"/>
                      <a:pt x="59602" y="970200"/>
                      <a:pt x="113432" y="970256"/>
                    </a:cubicBezTo>
                    <a:lnTo>
                      <a:pt x="500639" y="970256"/>
                    </a:lnTo>
                    <a:cubicBezTo>
                      <a:pt x="505267" y="970256"/>
                      <a:pt x="509003" y="973991"/>
                      <a:pt x="509003" y="978619"/>
                    </a:cubicBezTo>
                    <a:cubicBezTo>
                      <a:pt x="509003" y="983246"/>
                      <a:pt x="505267" y="986982"/>
                      <a:pt x="500639" y="986982"/>
                    </a:cubicBezTo>
                    <a:close/>
                  </a:path>
                </a:pathLst>
              </a:custGeom>
              <a:solidFill>
                <a:srgbClr val="30373B"/>
              </a:solidFill>
              <a:ln w="5573" cap="flat">
                <a:noFill/>
                <a:prstDash val="solid"/>
                <a:miter/>
              </a:ln>
            </p:spPr>
            <p:txBody>
              <a:bodyPr rtlCol="0" anchor="ctr"/>
              <a:lstStyle/>
              <a:p>
                <a:endParaRPr lang="en-GB"/>
              </a:p>
            </p:txBody>
          </p:sp>
          <p:sp>
            <p:nvSpPr>
              <p:cNvPr id="131" name="Graphic 6">
                <a:extLst>
                  <a:ext uri="{FF2B5EF4-FFF2-40B4-BE49-F238E27FC236}">
                    <a16:creationId xmlns:a16="http://schemas.microsoft.com/office/drawing/2014/main" id="{C526E7DF-5A72-D89B-621D-082B74A1F403}"/>
                  </a:ext>
                </a:extLst>
              </p:cNvPr>
              <p:cNvSpPr/>
              <p:nvPr/>
            </p:nvSpPr>
            <p:spPr>
              <a:xfrm>
                <a:off x="5729158" y="2810833"/>
                <a:ext cx="1178961" cy="1849451"/>
              </a:xfrm>
              <a:custGeom>
                <a:avLst/>
                <a:gdLst>
                  <a:gd name="connsiteX0" fmla="*/ 7556 w 1178961"/>
                  <a:gd name="connsiteY0" fmla="*/ 1848985 h 1849451"/>
                  <a:gd name="connsiteX1" fmla="*/ -807 w 1178961"/>
                  <a:gd name="connsiteY1" fmla="*/ 1840622 h 1849451"/>
                  <a:gd name="connsiteX2" fmla="*/ -807 w 1178961"/>
                  <a:gd name="connsiteY2" fmla="*/ 168912 h 1849451"/>
                  <a:gd name="connsiteX3" fmla="*/ 168405 w 1178961"/>
                  <a:gd name="connsiteY3" fmla="*/ -467 h 1849451"/>
                  <a:gd name="connsiteX4" fmla="*/ 1169792 w 1178961"/>
                  <a:gd name="connsiteY4" fmla="*/ -467 h 1849451"/>
                  <a:gd name="connsiteX5" fmla="*/ 1178155 w 1178961"/>
                  <a:gd name="connsiteY5" fmla="*/ 7896 h 1849451"/>
                  <a:gd name="connsiteX6" fmla="*/ 1169792 w 1178961"/>
                  <a:gd name="connsiteY6" fmla="*/ 16259 h 1849451"/>
                  <a:gd name="connsiteX7" fmla="*/ 168405 w 1178961"/>
                  <a:gd name="connsiteY7" fmla="*/ 16259 h 1849451"/>
                  <a:gd name="connsiteX8" fmla="*/ 15752 w 1178961"/>
                  <a:gd name="connsiteY8" fmla="*/ 168856 h 1849451"/>
                  <a:gd name="connsiteX9" fmla="*/ 15752 w 1178961"/>
                  <a:gd name="connsiteY9" fmla="*/ 1840622 h 1849451"/>
                  <a:gd name="connsiteX10" fmla="*/ 7556 w 1178961"/>
                  <a:gd name="connsiteY10" fmla="*/ 1848985 h 184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8961" h="1849451">
                    <a:moveTo>
                      <a:pt x="7556" y="1848985"/>
                    </a:moveTo>
                    <a:cubicBezTo>
                      <a:pt x="2940" y="1848985"/>
                      <a:pt x="-807" y="1845238"/>
                      <a:pt x="-807" y="1840622"/>
                    </a:cubicBezTo>
                    <a:lnTo>
                      <a:pt x="-807" y="168912"/>
                    </a:lnTo>
                    <a:cubicBezTo>
                      <a:pt x="-712" y="75469"/>
                      <a:pt x="74962" y="-283"/>
                      <a:pt x="168405" y="-467"/>
                    </a:cubicBezTo>
                    <a:lnTo>
                      <a:pt x="1169792" y="-467"/>
                    </a:lnTo>
                    <a:cubicBezTo>
                      <a:pt x="1174419" y="-467"/>
                      <a:pt x="1178155" y="3280"/>
                      <a:pt x="1178155" y="7896"/>
                    </a:cubicBezTo>
                    <a:cubicBezTo>
                      <a:pt x="1178155" y="12513"/>
                      <a:pt x="1174419" y="16259"/>
                      <a:pt x="1169792" y="16259"/>
                    </a:cubicBezTo>
                    <a:lnTo>
                      <a:pt x="168405" y="16259"/>
                    </a:lnTo>
                    <a:cubicBezTo>
                      <a:pt x="84156" y="16354"/>
                      <a:pt x="15875" y="84607"/>
                      <a:pt x="15752" y="168856"/>
                    </a:cubicBezTo>
                    <a:lnTo>
                      <a:pt x="15752" y="1840622"/>
                    </a:lnTo>
                    <a:cubicBezTo>
                      <a:pt x="15752" y="1845177"/>
                      <a:pt x="12111" y="1848896"/>
                      <a:pt x="7556" y="1848985"/>
                    </a:cubicBezTo>
                    <a:close/>
                  </a:path>
                </a:pathLst>
              </a:custGeom>
              <a:solidFill>
                <a:srgbClr val="30373B"/>
              </a:solidFill>
              <a:ln w="5573" cap="flat">
                <a:noFill/>
                <a:prstDash val="solid"/>
                <a:miter/>
              </a:ln>
            </p:spPr>
            <p:txBody>
              <a:bodyPr rtlCol="0" anchor="ctr"/>
              <a:lstStyle/>
              <a:p>
                <a:endParaRPr lang="en-GB"/>
              </a:p>
            </p:txBody>
          </p:sp>
          <p:sp>
            <p:nvSpPr>
              <p:cNvPr id="132" name="Graphic 6">
                <a:extLst>
                  <a:ext uri="{FF2B5EF4-FFF2-40B4-BE49-F238E27FC236}">
                    <a16:creationId xmlns:a16="http://schemas.microsoft.com/office/drawing/2014/main" id="{436097B6-A568-1FAE-209A-1A5F3B3B83CB}"/>
                  </a:ext>
                </a:extLst>
              </p:cNvPr>
              <p:cNvSpPr/>
              <p:nvPr/>
            </p:nvSpPr>
            <p:spPr>
              <a:xfrm>
                <a:off x="7060214" y="2810833"/>
                <a:ext cx="237397" cy="16726"/>
              </a:xfrm>
              <a:custGeom>
                <a:avLst/>
                <a:gdLst>
                  <a:gd name="connsiteX0" fmla="*/ 228228 w 237397"/>
                  <a:gd name="connsiteY0" fmla="*/ 16259 h 16726"/>
                  <a:gd name="connsiteX1" fmla="*/ 7556 w 237397"/>
                  <a:gd name="connsiteY1" fmla="*/ 16259 h 16726"/>
                  <a:gd name="connsiteX2" fmla="*/ -807 w 237397"/>
                  <a:gd name="connsiteY2" fmla="*/ 7896 h 16726"/>
                  <a:gd name="connsiteX3" fmla="*/ 7556 w 237397"/>
                  <a:gd name="connsiteY3" fmla="*/ -467 h 16726"/>
                  <a:gd name="connsiteX4" fmla="*/ 228228 w 237397"/>
                  <a:gd name="connsiteY4" fmla="*/ -467 h 16726"/>
                  <a:gd name="connsiteX5" fmla="*/ 236591 w 237397"/>
                  <a:gd name="connsiteY5" fmla="*/ 7896 h 16726"/>
                  <a:gd name="connsiteX6" fmla="*/ 228228 w 237397"/>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397" h="16726">
                    <a:moveTo>
                      <a:pt x="228228" y="16259"/>
                    </a:moveTo>
                    <a:lnTo>
                      <a:pt x="7556" y="16259"/>
                    </a:lnTo>
                    <a:cubicBezTo>
                      <a:pt x="2929" y="16259"/>
                      <a:pt x="-807" y="12513"/>
                      <a:pt x="-807" y="7896"/>
                    </a:cubicBezTo>
                    <a:cubicBezTo>
                      <a:pt x="-807" y="3280"/>
                      <a:pt x="2929" y="-467"/>
                      <a:pt x="7556" y="-467"/>
                    </a:cubicBezTo>
                    <a:lnTo>
                      <a:pt x="228228" y="-467"/>
                    </a:lnTo>
                    <a:cubicBezTo>
                      <a:pt x="232856" y="-467"/>
                      <a:pt x="236591" y="3280"/>
                      <a:pt x="236591" y="7896"/>
                    </a:cubicBezTo>
                    <a:cubicBezTo>
                      <a:pt x="236591" y="12513"/>
                      <a:pt x="232856" y="16259"/>
                      <a:pt x="228228" y="16259"/>
                    </a:cubicBezTo>
                    <a:close/>
                  </a:path>
                </a:pathLst>
              </a:custGeom>
              <a:solidFill>
                <a:srgbClr val="30373B"/>
              </a:solidFill>
              <a:ln w="5573" cap="flat">
                <a:noFill/>
                <a:prstDash val="solid"/>
                <a:miter/>
              </a:ln>
            </p:spPr>
            <p:txBody>
              <a:bodyPr rtlCol="0" anchor="ctr"/>
              <a:lstStyle/>
              <a:p>
                <a:endParaRPr lang="en-GB"/>
              </a:p>
            </p:txBody>
          </p:sp>
          <p:sp>
            <p:nvSpPr>
              <p:cNvPr id="133" name="Graphic 6">
                <a:extLst>
                  <a:ext uri="{FF2B5EF4-FFF2-40B4-BE49-F238E27FC236}">
                    <a16:creationId xmlns:a16="http://schemas.microsoft.com/office/drawing/2014/main" id="{3F5FEFF1-B13D-754D-85CA-805FE85A9DEC}"/>
                  </a:ext>
                </a:extLst>
              </p:cNvPr>
              <p:cNvSpPr/>
              <p:nvPr/>
            </p:nvSpPr>
            <p:spPr>
              <a:xfrm>
                <a:off x="7431755" y="2810833"/>
                <a:ext cx="1523405" cy="1847054"/>
              </a:xfrm>
              <a:custGeom>
                <a:avLst/>
                <a:gdLst>
                  <a:gd name="connsiteX0" fmla="*/ 1514236 w 1523405"/>
                  <a:gd name="connsiteY0" fmla="*/ 1846588 h 1847054"/>
                  <a:gd name="connsiteX1" fmla="*/ 1505873 w 1523405"/>
                  <a:gd name="connsiteY1" fmla="*/ 1838225 h 1847054"/>
                  <a:gd name="connsiteX2" fmla="*/ 1505873 w 1523405"/>
                  <a:gd name="connsiteY2" fmla="*/ 168912 h 1847054"/>
                  <a:gd name="connsiteX3" fmla="*/ 1353220 w 1523405"/>
                  <a:gd name="connsiteY3" fmla="*/ 16259 h 1847054"/>
                  <a:gd name="connsiteX4" fmla="*/ 7556 w 1523405"/>
                  <a:gd name="connsiteY4" fmla="*/ 16259 h 1847054"/>
                  <a:gd name="connsiteX5" fmla="*/ -807 w 1523405"/>
                  <a:gd name="connsiteY5" fmla="*/ 7896 h 1847054"/>
                  <a:gd name="connsiteX6" fmla="*/ 7556 w 1523405"/>
                  <a:gd name="connsiteY6" fmla="*/ -467 h 1847054"/>
                  <a:gd name="connsiteX7" fmla="*/ 1353220 w 1523405"/>
                  <a:gd name="connsiteY7" fmla="*/ -467 h 1847054"/>
                  <a:gd name="connsiteX8" fmla="*/ 1522599 w 1523405"/>
                  <a:gd name="connsiteY8" fmla="*/ 168856 h 1847054"/>
                  <a:gd name="connsiteX9" fmla="*/ 1522599 w 1523405"/>
                  <a:gd name="connsiteY9" fmla="*/ 1838225 h 1847054"/>
                  <a:gd name="connsiteX10" fmla="*/ 1514236 w 1523405"/>
                  <a:gd name="connsiteY10" fmla="*/ 1846588 h 184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3405" h="1847054">
                    <a:moveTo>
                      <a:pt x="1514236" y="1846588"/>
                    </a:moveTo>
                    <a:cubicBezTo>
                      <a:pt x="1509608" y="1846588"/>
                      <a:pt x="1505873" y="1842841"/>
                      <a:pt x="1505873" y="1838225"/>
                    </a:cubicBezTo>
                    <a:lnTo>
                      <a:pt x="1505873" y="168912"/>
                    </a:lnTo>
                    <a:cubicBezTo>
                      <a:pt x="1505762" y="84641"/>
                      <a:pt x="1437464" y="16354"/>
                      <a:pt x="1353220" y="16259"/>
                    </a:cubicBezTo>
                    <a:lnTo>
                      <a:pt x="7556" y="16259"/>
                    </a:lnTo>
                    <a:cubicBezTo>
                      <a:pt x="2928" y="16259"/>
                      <a:pt x="-807" y="12513"/>
                      <a:pt x="-807" y="7896"/>
                    </a:cubicBezTo>
                    <a:cubicBezTo>
                      <a:pt x="-807" y="3280"/>
                      <a:pt x="2928" y="-467"/>
                      <a:pt x="7556" y="-467"/>
                    </a:cubicBezTo>
                    <a:lnTo>
                      <a:pt x="1353220" y="-467"/>
                    </a:lnTo>
                    <a:cubicBezTo>
                      <a:pt x="1446719" y="-372"/>
                      <a:pt x="1522488" y="75369"/>
                      <a:pt x="1522599" y="168856"/>
                    </a:cubicBezTo>
                    <a:lnTo>
                      <a:pt x="1522599" y="1838225"/>
                    </a:lnTo>
                    <a:cubicBezTo>
                      <a:pt x="1522599" y="1842841"/>
                      <a:pt x="1518864" y="1846588"/>
                      <a:pt x="1514236" y="1846588"/>
                    </a:cubicBezTo>
                    <a:close/>
                  </a:path>
                </a:pathLst>
              </a:custGeom>
              <a:solidFill>
                <a:srgbClr val="30373B"/>
              </a:solidFill>
              <a:ln w="5573" cap="flat">
                <a:noFill/>
                <a:prstDash val="solid"/>
                <a:miter/>
              </a:ln>
            </p:spPr>
            <p:txBody>
              <a:bodyPr rtlCol="0" anchor="ctr"/>
              <a:lstStyle/>
              <a:p>
                <a:endParaRPr lang="en-GB"/>
              </a:p>
            </p:txBody>
          </p:sp>
          <p:sp>
            <p:nvSpPr>
              <p:cNvPr id="134" name="Graphic 6">
                <a:extLst>
                  <a:ext uri="{FF2B5EF4-FFF2-40B4-BE49-F238E27FC236}">
                    <a16:creationId xmlns:a16="http://schemas.microsoft.com/office/drawing/2014/main" id="{87DEDD84-BEC8-CD46-45BB-A00AFCED186B}"/>
                  </a:ext>
                </a:extLst>
              </p:cNvPr>
              <p:cNvSpPr/>
              <p:nvPr/>
            </p:nvSpPr>
            <p:spPr>
              <a:xfrm>
                <a:off x="8730738" y="4140125"/>
                <a:ext cx="47182" cy="573515"/>
              </a:xfrm>
              <a:custGeom>
                <a:avLst/>
                <a:gdLst>
                  <a:gd name="connsiteX0" fmla="*/ 7572 w 47182"/>
                  <a:gd name="connsiteY0" fmla="*/ 573049 h 573515"/>
                  <a:gd name="connsiteX1" fmla="*/ 6959 w 47182"/>
                  <a:gd name="connsiteY1" fmla="*/ 573049 h 573515"/>
                  <a:gd name="connsiteX2" fmla="*/ -791 w 47182"/>
                  <a:gd name="connsiteY2" fmla="*/ 564128 h 573515"/>
                  <a:gd name="connsiteX3" fmla="*/ 29650 w 47182"/>
                  <a:gd name="connsiteY3" fmla="*/ 123119 h 573515"/>
                  <a:gd name="connsiteX4" fmla="*/ 24577 w 47182"/>
                  <a:gd name="connsiteY4" fmla="*/ 8267 h 573515"/>
                  <a:gd name="connsiteX5" fmla="*/ 32605 w 47182"/>
                  <a:gd name="connsiteY5" fmla="*/ -459 h 573515"/>
                  <a:gd name="connsiteX6" fmla="*/ 41303 w 47182"/>
                  <a:gd name="connsiteY6" fmla="*/ 7542 h 573515"/>
                  <a:gd name="connsiteX7" fmla="*/ 46376 w 47182"/>
                  <a:gd name="connsiteY7" fmla="*/ 122840 h 573515"/>
                  <a:gd name="connsiteX8" fmla="*/ 46376 w 47182"/>
                  <a:gd name="connsiteY8" fmla="*/ 123788 h 573515"/>
                  <a:gd name="connsiteX9" fmla="*/ 15824 w 47182"/>
                  <a:gd name="connsiteY9" fmla="*/ 565243 h 573515"/>
                  <a:gd name="connsiteX10" fmla="*/ 7572 w 47182"/>
                  <a:gd name="connsiteY10" fmla="*/ 573049 h 573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2" h="573515">
                    <a:moveTo>
                      <a:pt x="7572" y="573049"/>
                    </a:moveTo>
                    <a:lnTo>
                      <a:pt x="6959" y="573049"/>
                    </a:lnTo>
                    <a:cubicBezTo>
                      <a:pt x="2387" y="572692"/>
                      <a:pt x="-1070" y="568717"/>
                      <a:pt x="-791" y="564128"/>
                    </a:cubicBezTo>
                    <a:lnTo>
                      <a:pt x="29650" y="123119"/>
                    </a:lnTo>
                    <a:lnTo>
                      <a:pt x="24577" y="8267"/>
                    </a:lnTo>
                    <a:cubicBezTo>
                      <a:pt x="24354" y="3650"/>
                      <a:pt x="27978" y="-258"/>
                      <a:pt x="32605" y="-459"/>
                    </a:cubicBezTo>
                    <a:cubicBezTo>
                      <a:pt x="37177" y="-660"/>
                      <a:pt x="41080" y="2925"/>
                      <a:pt x="41303" y="7542"/>
                    </a:cubicBezTo>
                    <a:lnTo>
                      <a:pt x="46376" y="122840"/>
                    </a:lnTo>
                    <a:lnTo>
                      <a:pt x="46376" y="123788"/>
                    </a:lnTo>
                    <a:lnTo>
                      <a:pt x="15824" y="565243"/>
                    </a:lnTo>
                    <a:cubicBezTo>
                      <a:pt x="15544" y="569603"/>
                      <a:pt x="11921" y="572999"/>
                      <a:pt x="7572" y="573049"/>
                    </a:cubicBezTo>
                    <a:close/>
                  </a:path>
                </a:pathLst>
              </a:custGeom>
              <a:solidFill>
                <a:srgbClr val="30373B"/>
              </a:solidFill>
              <a:ln w="5573" cap="flat">
                <a:noFill/>
                <a:prstDash val="solid"/>
                <a:miter/>
              </a:ln>
            </p:spPr>
            <p:txBody>
              <a:bodyPr rtlCol="0" anchor="ctr"/>
              <a:lstStyle/>
              <a:p>
                <a:endParaRPr lang="en-GB"/>
              </a:p>
            </p:txBody>
          </p:sp>
          <p:sp>
            <p:nvSpPr>
              <p:cNvPr id="135" name="Graphic 6">
                <a:extLst>
                  <a:ext uri="{FF2B5EF4-FFF2-40B4-BE49-F238E27FC236}">
                    <a16:creationId xmlns:a16="http://schemas.microsoft.com/office/drawing/2014/main" id="{1B1259A8-3884-E536-6857-7008A23E097D}"/>
                  </a:ext>
                </a:extLst>
              </p:cNvPr>
              <p:cNvSpPr/>
              <p:nvPr/>
            </p:nvSpPr>
            <p:spPr>
              <a:xfrm>
                <a:off x="8498660" y="4140014"/>
                <a:ext cx="102810" cy="575021"/>
              </a:xfrm>
              <a:custGeom>
                <a:avLst/>
                <a:gdLst>
                  <a:gd name="connsiteX0" fmla="*/ 7548 w 102810"/>
                  <a:gd name="connsiteY0" fmla="*/ 574554 h 575021"/>
                  <a:gd name="connsiteX1" fmla="*/ 5931 w 102810"/>
                  <a:gd name="connsiteY1" fmla="*/ 574554 h 575021"/>
                  <a:gd name="connsiteX2" fmla="*/ -648 w 102810"/>
                  <a:gd name="connsiteY2" fmla="*/ 564741 h 575021"/>
                  <a:gd name="connsiteX3" fmla="*/ 78410 w 102810"/>
                  <a:gd name="connsiteY3" fmla="*/ 163317 h 575021"/>
                  <a:gd name="connsiteX4" fmla="*/ 85268 w 102810"/>
                  <a:gd name="connsiteY4" fmla="*/ 7542 h 575021"/>
                  <a:gd name="connsiteX5" fmla="*/ 93966 w 102810"/>
                  <a:gd name="connsiteY5" fmla="*/ -459 h 575021"/>
                  <a:gd name="connsiteX6" fmla="*/ 101994 w 102810"/>
                  <a:gd name="connsiteY6" fmla="*/ 8266 h 575021"/>
                  <a:gd name="connsiteX7" fmla="*/ 95136 w 102810"/>
                  <a:gd name="connsiteY7" fmla="*/ 164376 h 575021"/>
                  <a:gd name="connsiteX8" fmla="*/ 95136 w 102810"/>
                  <a:gd name="connsiteY8" fmla="*/ 165658 h 575021"/>
                  <a:gd name="connsiteX9" fmla="*/ 15967 w 102810"/>
                  <a:gd name="connsiteY9" fmla="*/ 567417 h 575021"/>
                  <a:gd name="connsiteX10" fmla="*/ 7548 w 102810"/>
                  <a:gd name="connsiteY10" fmla="*/ 574554 h 57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810" h="575021">
                    <a:moveTo>
                      <a:pt x="7548" y="574554"/>
                    </a:moveTo>
                    <a:lnTo>
                      <a:pt x="5931" y="574554"/>
                    </a:lnTo>
                    <a:cubicBezTo>
                      <a:pt x="1415" y="573656"/>
                      <a:pt x="-1540" y="569268"/>
                      <a:pt x="-648" y="564741"/>
                    </a:cubicBezTo>
                    <a:lnTo>
                      <a:pt x="78410" y="163317"/>
                    </a:lnTo>
                    <a:lnTo>
                      <a:pt x="85268" y="7542"/>
                    </a:lnTo>
                    <a:cubicBezTo>
                      <a:pt x="85491" y="2925"/>
                      <a:pt x="89394" y="-660"/>
                      <a:pt x="93966" y="-459"/>
                    </a:cubicBezTo>
                    <a:cubicBezTo>
                      <a:pt x="98593" y="-258"/>
                      <a:pt x="102217" y="3650"/>
                      <a:pt x="101994" y="8266"/>
                    </a:cubicBezTo>
                    <a:lnTo>
                      <a:pt x="95136" y="164376"/>
                    </a:lnTo>
                    <a:cubicBezTo>
                      <a:pt x="95192" y="164800"/>
                      <a:pt x="95192" y="165235"/>
                      <a:pt x="95136" y="165658"/>
                    </a:cubicBezTo>
                    <a:lnTo>
                      <a:pt x="15967" y="567417"/>
                    </a:lnTo>
                    <a:cubicBezTo>
                      <a:pt x="15354" y="571560"/>
                      <a:pt x="11729" y="574604"/>
                      <a:pt x="7548" y="574554"/>
                    </a:cubicBezTo>
                    <a:close/>
                  </a:path>
                </a:pathLst>
              </a:custGeom>
              <a:solidFill>
                <a:srgbClr val="30373B"/>
              </a:solidFill>
              <a:ln w="5573" cap="flat">
                <a:noFill/>
                <a:prstDash val="solid"/>
                <a:miter/>
              </a:ln>
            </p:spPr>
            <p:txBody>
              <a:bodyPr rtlCol="0" anchor="ctr"/>
              <a:lstStyle/>
              <a:p>
                <a:endParaRPr lang="en-GB"/>
              </a:p>
            </p:txBody>
          </p:sp>
          <p:sp>
            <p:nvSpPr>
              <p:cNvPr id="136" name="Graphic 6">
                <a:extLst>
                  <a:ext uri="{FF2B5EF4-FFF2-40B4-BE49-F238E27FC236}">
                    <a16:creationId xmlns:a16="http://schemas.microsoft.com/office/drawing/2014/main" id="{12E7ED90-F3C5-896C-917C-27C7D1B521A1}"/>
                  </a:ext>
                </a:extLst>
              </p:cNvPr>
              <p:cNvSpPr/>
              <p:nvPr/>
            </p:nvSpPr>
            <p:spPr>
              <a:xfrm>
                <a:off x="8553234" y="4337429"/>
                <a:ext cx="126801" cy="377605"/>
              </a:xfrm>
              <a:custGeom>
                <a:avLst/>
                <a:gdLst>
                  <a:gd name="connsiteX0" fmla="*/ 7612 w 126801"/>
                  <a:gd name="connsiteY0" fmla="*/ 377139 h 377605"/>
                  <a:gd name="connsiteX1" fmla="*/ 5160 w 126801"/>
                  <a:gd name="connsiteY1" fmla="*/ 376748 h 377605"/>
                  <a:gd name="connsiteX2" fmla="*/ -472 w 126801"/>
                  <a:gd name="connsiteY2" fmla="*/ 366423 h 377605"/>
                  <a:gd name="connsiteX3" fmla="*/ -416 w 126801"/>
                  <a:gd name="connsiteY3" fmla="*/ 366322 h 377605"/>
                  <a:gd name="connsiteX4" fmla="*/ 109697 w 126801"/>
                  <a:gd name="connsiteY4" fmla="*/ 5264 h 377605"/>
                  <a:gd name="connsiteX5" fmla="*/ 120290 w 126801"/>
                  <a:gd name="connsiteY5" fmla="*/ -39 h 377605"/>
                  <a:gd name="connsiteX6" fmla="*/ 125698 w 126801"/>
                  <a:gd name="connsiteY6" fmla="*/ 10114 h 377605"/>
                  <a:gd name="connsiteX7" fmla="*/ 15474 w 126801"/>
                  <a:gd name="connsiteY7" fmla="*/ 371229 h 377605"/>
                  <a:gd name="connsiteX8" fmla="*/ 7612 w 126801"/>
                  <a:gd name="connsiteY8" fmla="*/ 377139 h 37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801" h="377605">
                    <a:moveTo>
                      <a:pt x="7612" y="377139"/>
                    </a:moveTo>
                    <a:cubicBezTo>
                      <a:pt x="6777" y="377139"/>
                      <a:pt x="5940" y="377011"/>
                      <a:pt x="5160" y="376748"/>
                    </a:cubicBezTo>
                    <a:cubicBezTo>
                      <a:pt x="755" y="375444"/>
                      <a:pt x="-1754" y="370822"/>
                      <a:pt x="-472" y="366423"/>
                    </a:cubicBezTo>
                    <a:cubicBezTo>
                      <a:pt x="-416" y="366389"/>
                      <a:pt x="-416" y="366356"/>
                      <a:pt x="-416" y="366322"/>
                    </a:cubicBezTo>
                    <a:lnTo>
                      <a:pt x="109697" y="5264"/>
                    </a:lnTo>
                    <a:cubicBezTo>
                      <a:pt x="111147" y="881"/>
                      <a:pt x="115886" y="-1494"/>
                      <a:pt x="120290" y="-39"/>
                    </a:cubicBezTo>
                    <a:cubicBezTo>
                      <a:pt x="124472" y="1366"/>
                      <a:pt x="126869" y="5826"/>
                      <a:pt x="125698" y="10114"/>
                    </a:cubicBezTo>
                    <a:lnTo>
                      <a:pt x="15474" y="371229"/>
                    </a:lnTo>
                    <a:cubicBezTo>
                      <a:pt x="14415" y="374697"/>
                      <a:pt x="11237" y="377083"/>
                      <a:pt x="7612" y="377139"/>
                    </a:cubicBezTo>
                    <a:close/>
                  </a:path>
                </a:pathLst>
              </a:custGeom>
              <a:solidFill>
                <a:srgbClr val="30373B"/>
              </a:solidFill>
              <a:ln w="5573" cap="flat">
                <a:noFill/>
                <a:prstDash val="solid"/>
                <a:miter/>
              </a:ln>
            </p:spPr>
            <p:txBody>
              <a:bodyPr rtlCol="0" anchor="ctr"/>
              <a:lstStyle/>
              <a:p>
                <a:endParaRPr lang="en-GB"/>
              </a:p>
            </p:txBody>
          </p:sp>
          <p:sp>
            <p:nvSpPr>
              <p:cNvPr id="137" name="Graphic 6">
                <a:extLst>
                  <a:ext uri="{FF2B5EF4-FFF2-40B4-BE49-F238E27FC236}">
                    <a16:creationId xmlns:a16="http://schemas.microsoft.com/office/drawing/2014/main" id="{DDAD9128-38A8-1B45-3D8A-C2D2B1C1DF3E}"/>
                  </a:ext>
                </a:extLst>
              </p:cNvPr>
              <p:cNvSpPr/>
              <p:nvPr/>
            </p:nvSpPr>
            <p:spPr>
              <a:xfrm>
                <a:off x="8663735" y="4337249"/>
                <a:ext cx="23700" cy="376391"/>
              </a:xfrm>
              <a:custGeom>
                <a:avLst/>
                <a:gdLst>
                  <a:gd name="connsiteX0" fmla="*/ 14249 w 23700"/>
                  <a:gd name="connsiteY0" fmla="*/ 375924 h 376391"/>
                  <a:gd name="connsiteX1" fmla="*/ 5886 w 23700"/>
                  <a:gd name="connsiteY1" fmla="*/ 367729 h 376391"/>
                  <a:gd name="connsiteX2" fmla="*/ -804 w 23700"/>
                  <a:gd name="connsiteY2" fmla="*/ 8064 h 376391"/>
                  <a:gd name="connsiteX3" fmla="*/ 7391 w 23700"/>
                  <a:gd name="connsiteY3" fmla="*/ -467 h 376391"/>
                  <a:gd name="connsiteX4" fmla="*/ 7391 w 23700"/>
                  <a:gd name="connsiteY4" fmla="*/ -467 h 376391"/>
                  <a:gd name="connsiteX5" fmla="*/ 15922 w 23700"/>
                  <a:gd name="connsiteY5" fmla="*/ 7729 h 376391"/>
                  <a:gd name="connsiteX6" fmla="*/ 22891 w 23700"/>
                  <a:gd name="connsiteY6" fmla="*/ 367394 h 376391"/>
                  <a:gd name="connsiteX7" fmla="*/ 14695 w 23700"/>
                  <a:gd name="connsiteY7" fmla="*/ 375924 h 376391"/>
                  <a:gd name="connsiteX8" fmla="*/ 14695 w 23700"/>
                  <a:gd name="connsiteY8" fmla="*/ 375924 h 37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00" h="376391">
                    <a:moveTo>
                      <a:pt x="14249" y="375924"/>
                    </a:moveTo>
                    <a:cubicBezTo>
                      <a:pt x="9678" y="375924"/>
                      <a:pt x="5998" y="372284"/>
                      <a:pt x="5886" y="367729"/>
                    </a:cubicBezTo>
                    <a:lnTo>
                      <a:pt x="-804" y="8064"/>
                    </a:lnTo>
                    <a:cubicBezTo>
                      <a:pt x="-916" y="3447"/>
                      <a:pt x="2764" y="-372"/>
                      <a:pt x="7391" y="-467"/>
                    </a:cubicBezTo>
                    <a:cubicBezTo>
                      <a:pt x="7391" y="-467"/>
                      <a:pt x="7391" y="-467"/>
                      <a:pt x="7391" y="-467"/>
                    </a:cubicBezTo>
                    <a:cubicBezTo>
                      <a:pt x="11964" y="-500"/>
                      <a:pt x="15754" y="3135"/>
                      <a:pt x="15922" y="7729"/>
                    </a:cubicBezTo>
                    <a:lnTo>
                      <a:pt x="22891" y="367394"/>
                    </a:lnTo>
                    <a:cubicBezTo>
                      <a:pt x="23003" y="372011"/>
                      <a:pt x="19323" y="375830"/>
                      <a:pt x="14695" y="375924"/>
                    </a:cubicBezTo>
                    <a:cubicBezTo>
                      <a:pt x="14695" y="375924"/>
                      <a:pt x="14695" y="375924"/>
                      <a:pt x="14695" y="375924"/>
                    </a:cubicBezTo>
                    <a:close/>
                  </a:path>
                </a:pathLst>
              </a:custGeom>
              <a:solidFill>
                <a:srgbClr val="30373B"/>
              </a:solidFill>
              <a:ln w="5573" cap="flat">
                <a:noFill/>
                <a:prstDash val="solid"/>
                <a:miter/>
              </a:ln>
            </p:spPr>
            <p:txBody>
              <a:bodyPr rtlCol="0" anchor="ctr"/>
              <a:lstStyle/>
              <a:p>
                <a:endParaRPr lang="en-GB"/>
              </a:p>
            </p:txBody>
          </p:sp>
          <p:sp>
            <p:nvSpPr>
              <p:cNvPr id="138" name="Graphic 6">
                <a:extLst>
                  <a:ext uri="{FF2B5EF4-FFF2-40B4-BE49-F238E27FC236}">
                    <a16:creationId xmlns:a16="http://schemas.microsoft.com/office/drawing/2014/main" id="{23246286-3F57-47EB-9DCA-D2E4DF626A5A}"/>
                  </a:ext>
                </a:extLst>
              </p:cNvPr>
              <p:cNvSpPr/>
              <p:nvPr/>
            </p:nvSpPr>
            <p:spPr>
              <a:xfrm>
                <a:off x="8366659" y="4005517"/>
                <a:ext cx="468743" cy="380853"/>
              </a:xfrm>
              <a:custGeom>
                <a:avLst/>
                <a:gdLst>
                  <a:gd name="connsiteX0" fmla="*/ 458793 w 468743"/>
                  <a:gd name="connsiteY0" fmla="*/ 380385 h 380853"/>
                  <a:gd name="connsiteX1" fmla="*/ 458793 w 468743"/>
                  <a:gd name="connsiteY1" fmla="*/ 380385 h 380853"/>
                  <a:gd name="connsiteX2" fmla="*/ 450486 w 468743"/>
                  <a:gd name="connsiteY2" fmla="*/ 371966 h 380853"/>
                  <a:gd name="connsiteX3" fmla="*/ 450486 w 468743"/>
                  <a:gd name="connsiteY3" fmla="*/ 371966 h 380853"/>
                  <a:gd name="connsiteX4" fmla="*/ 450486 w 468743"/>
                  <a:gd name="connsiteY4" fmla="*/ 109646 h 380853"/>
                  <a:gd name="connsiteX5" fmla="*/ 357545 w 468743"/>
                  <a:gd name="connsiteY5" fmla="*/ 16482 h 380853"/>
                  <a:gd name="connsiteX6" fmla="*/ 271629 w 468743"/>
                  <a:gd name="connsiteY6" fmla="*/ 16482 h 380853"/>
                  <a:gd name="connsiteX7" fmla="*/ 192627 w 468743"/>
                  <a:gd name="connsiteY7" fmla="*/ 111263 h 380853"/>
                  <a:gd name="connsiteX8" fmla="*/ 123882 w 468743"/>
                  <a:gd name="connsiteY8" fmla="*/ 198238 h 380853"/>
                  <a:gd name="connsiteX9" fmla="*/ 611 w 468743"/>
                  <a:gd name="connsiteY9" fmla="*/ 115444 h 380853"/>
                  <a:gd name="connsiteX10" fmla="*/ 2898 w 468743"/>
                  <a:gd name="connsiteY10" fmla="*/ 103836 h 380853"/>
                  <a:gd name="connsiteX11" fmla="*/ 14494 w 468743"/>
                  <a:gd name="connsiteY11" fmla="*/ 106111 h 380853"/>
                  <a:gd name="connsiteX12" fmla="*/ 15107 w 468743"/>
                  <a:gd name="connsiteY12" fmla="*/ 107193 h 380853"/>
                  <a:gd name="connsiteX13" fmla="*/ 123882 w 468743"/>
                  <a:gd name="connsiteY13" fmla="*/ 181512 h 380853"/>
                  <a:gd name="connsiteX14" fmla="*/ 176570 w 468743"/>
                  <a:gd name="connsiteY14" fmla="*/ 106524 h 380853"/>
                  <a:gd name="connsiteX15" fmla="*/ 271350 w 468743"/>
                  <a:gd name="connsiteY15" fmla="*/ -467 h 380853"/>
                  <a:gd name="connsiteX16" fmla="*/ 357601 w 468743"/>
                  <a:gd name="connsiteY16" fmla="*/ -467 h 380853"/>
                  <a:gd name="connsiteX17" fmla="*/ 467268 w 468743"/>
                  <a:gd name="connsiteY17" fmla="*/ 108921 h 380853"/>
                  <a:gd name="connsiteX18" fmla="*/ 467268 w 468743"/>
                  <a:gd name="connsiteY18" fmla="*/ 371854 h 380853"/>
                  <a:gd name="connsiteX19" fmla="*/ 459183 w 468743"/>
                  <a:gd name="connsiteY19" fmla="*/ 380385 h 380853"/>
                  <a:gd name="connsiteX20" fmla="*/ 458793 w 468743"/>
                  <a:gd name="connsiteY20" fmla="*/ 380385 h 38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8743" h="380853">
                    <a:moveTo>
                      <a:pt x="458793" y="380385"/>
                    </a:moveTo>
                    <a:lnTo>
                      <a:pt x="458793" y="380385"/>
                    </a:lnTo>
                    <a:cubicBezTo>
                      <a:pt x="454165" y="380357"/>
                      <a:pt x="450430" y="376588"/>
                      <a:pt x="450486" y="371966"/>
                    </a:cubicBezTo>
                    <a:cubicBezTo>
                      <a:pt x="450486" y="371966"/>
                      <a:pt x="450486" y="371966"/>
                      <a:pt x="450486" y="371966"/>
                    </a:cubicBezTo>
                    <a:cubicBezTo>
                      <a:pt x="450486" y="369847"/>
                      <a:pt x="451936" y="161329"/>
                      <a:pt x="450486" y="109646"/>
                    </a:cubicBezTo>
                    <a:cubicBezTo>
                      <a:pt x="449036" y="59133"/>
                      <a:pt x="406496" y="16482"/>
                      <a:pt x="357545" y="16482"/>
                    </a:cubicBezTo>
                    <a:lnTo>
                      <a:pt x="271629" y="16482"/>
                    </a:lnTo>
                    <a:cubicBezTo>
                      <a:pt x="220559" y="16482"/>
                      <a:pt x="206955" y="62646"/>
                      <a:pt x="192627" y="111263"/>
                    </a:cubicBezTo>
                    <a:cubicBezTo>
                      <a:pt x="180026" y="154026"/>
                      <a:pt x="167035" y="198238"/>
                      <a:pt x="123882" y="198238"/>
                    </a:cubicBezTo>
                    <a:cubicBezTo>
                      <a:pt x="48448" y="198238"/>
                      <a:pt x="2508" y="118845"/>
                      <a:pt x="611" y="115444"/>
                    </a:cubicBezTo>
                    <a:cubicBezTo>
                      <a:pt x="-1953" y="111609"/>
                      <a:pt x="-950" y="106412"/>
                      <a:pt x="2898" y="103836"/>
                    </a:cubicBezTo>
                    <a:cubicBezTo>
                      <a:pt x="6744" y="101261"/>
                      <a:pt x="11930" y="102281"/>
                      <a:pt x="14494" y="106111"/>
                    </a:cubicBezTo>
                    <a:cubicBezTo>
                      <a:pt x="14717" y="106457"/>
                      <a:pt x="14940" y="106819"/>
                      <a:pt x="15107" y="107193"/>
                    </a:cubicBezTo>
                    <a:cubicBezTo>
                      <a:pt x="15554" y="107917"/>
                      <a:pt x="58261" y="181512"/>
                      <a:pt x="123882" y="181512"/>
                    </a:cubicBezTo>
                    <a:cubicBezTo>
                      <a:pt x="152484" y="181512"/>
                      <a:pt x="162910" y="153190"/>
                      <a:pt x="176570" y="106524"/>
                    </a:cubicBezTo>
                    <a:cubicBezTo>
                      <a:pt x="191288" y="56346"/>
                      <a:pt x="208015" y="-467"/>
                      <a:pt x="271350" y="-467"/>
                    </a:cubicBezTo>
                    <a:lnTo>
                      <a:pt x="357601" y="-467"/>
                    </a:lnTo>
                    <a:cubicBezTo>
                      <a:pt x="415361" y="-467"/>
                      <a:pt x="465539" y="49711"/>
                      <a:pt x="467268" y="108921"/>
                    </a:cubicBezTo>
                    <a:cubicBezTo>
                      <a:pt x="468773" y="160883"/>
                      <a:pt x="467268" y="369736"/>
                      <a:pt x="467268" y="371854"/>
                    </a:cubicBezTo>
                    <a:cubicBezTo>
                      <a:pt x="467379" y="376443"/>
                      <a:pt x="463755" y="380262"/>
                      <a:pt x="459183" y="380385"/>
                    </a:cubicBezTo>
                    <a:cubicBezTo>
                      <a:pt x="459072" y="380385"/>
                      <a:pt x="458905" y="380390"/>
                      <a:pt x="458793" y="380385"/>
                    </a:cubicBezTo>
                    <a:close/>
                  </a:path>
                </a:pathLst>
              </a:custGeom>
              <a:solidFill>
                <a:srgbClr val="30373B"/>
              </a:solidFill>
              <a:ln w="5573" cap="flat">
                <a:noFill/>
                <a:prstDash val="solid"/>
                <a:miter/>
              </a:ln>
            </p:spPr>
            <p:txBody>
              <a:bodyPr rtlCol="0" anchor="ctr"/>
              <a:lstStyle/>
              <a:p>
                <a:endParaRPr lang="en-GB"/>
              </a:p>
            </p:txBody>
          </p:sp>
          <p:sp>
            <p:nvSpPr>
              <p:cNvPr id="139" name="Graphic 6">
                <a:extLst>
                  <a:ext uri="{FF2B5EF4-FFF2-40B4-BE49-F238E27FC236}">
                    <a16:creationId xmlns:a16="http://schemas.microsoft.com/office/drawing/2014/main" id="{5C7F5139-08AD-DB55-792A-3100DED97E6E}"/>
                  </a:ext>
                </a:extLst>
              </p:cNvPr>
              <p:cNvSpPr/>
              <p:nvPr/>
            </p:nvSpPr>
            <p:spPr>
              <a:xfrm>
                <a:off x="8605167" y="3835795"/>
                <a:ext cx="145574" cy="186615"/>
              </a:xfrm>
              <a:custGeom>
                <a:avLst/>
                <a:gdLst>
                  <a:gd name="connsiteX0" fmla="*/ 71814 w 145574"/>
                  <a:gd name="connsiteY0" fmla="*/ 186148 h 186615"/>
                  <a:gd name="connsiteX1" fmla="*/ 63451 w 145574"/>
                  <a:gd name="connsiteY1" fmla="*/ 177785 h 186615"/>
                  <a:gd name="connsiteX2" fmla="*/ 71814 w 145574"/>
                  <a:gd name="connsiteY2" fmla="*/ 169422 h 186615"/>
                  <a:gd name="connsiteX3" fmla="*/ 127567 w 145574"/>
                  <a:gd name="connsiteY3" fmla="*/ 91981 h 186615"/>
                  <a:gd name="connsiteX4" fmla="*/ 111733 w 145574"/>
                  <a:gd name="connsiteY4" fmla="*/ 31934 h 186615"/>
                  <a:gd name="connsiteX5" fmla="*/ 32173 w 145574"/>
                  <a:gd name="connsiteY5" fmla="*/ 31934 h 186615"/>
                  <a:gd name="connsiteX6" fmla="*/ 16394 w 145574"/>
                  <a:gd name="connsiteY6" fmla="*/ 91981 h 186615"/>
                  <a:gd name="connsiteX7" fmla="*/ 25761 w 145574"/>
                  <a:gd name="connsiteY7" fmla="*/ 129447 h 186615"/>
                  <a:gd name="connsiteX8" fmla="*/ 21580 w 145574"/>
                  <a:gd name="connsiteY8" fmla="*/ 140514 h 186615"/>
                  <a:gd name="connsiteX9" fmla="*/ 10485 w 145574"/>
                  <a:gd name="connsiteY9" fmla="*/ 136305 h 186615"/>
                  <a:gd name="connsiteX10" fmla="*/ -276 w 145574"/>
                  <a:gd name="connsiteY10" fmla="*/ 93430 h 186615"/>
                  <a:gd name="connsiteX11" fmla="*/ 19851 w 145574"/>
                  <a:gd name="connsiteY11" fmla="*/ 20951 h 186615"/>
                  <a:gd name="connsiteX12" fmla="*/ 124110 w 145574"/>
                  <a:gd name="connsiteY12" fmla="*/ 20951 h 186615"/>
                  <a:gd name="connsiteX13" fmla="*/ 144237 w 145574"/>
                  <a:gd name="connsiteY13" fmla="*/ 93430 h 186615"/>
                  <a:gd name="connsiteX14" fmla="*/ 71814 w 145574"/>
                  <a:gd name="connsiteY14" fmla="*/ 186148 h 18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74" h="186615">
                    <a:moveTo>
                      <a:pt x="71814" y="186148"/>
                    </a:moveTo>
                    <a:cubicBezTo>
                      <a:pt x="67186" y="186148"/>
                      <a:pt x="63451" y="182402"/>
                      <a:pt x="63451" y="177785"/>
                    </a:cubicBezTo>
                    <a:cubicBezTo>
                      <a:pt x="63451" y="173169"/>
                      <a:pt x="67186" y="169422"/>
                      <a:pt x="71814" y="169422"/>
                    </a:cubicBezTo>
                    <a:cubicBezTo>
                      <a:pt x="92220" y="169422"/>
                      <a:pt x="122939" y="142493"/>
                      <a:pt x="127567" y="91981"/>
                    </a:cubicBezTo>
                    <a:cubicBezTo>
                      <a:pt x="129797" y="66836"/>
                      <a:pt x="124166" y="45483"/>
                      <a:pt x="111733" y="31934"/>
                    </a:cubicBezTo>
                    <a:cubicBezTo>
                      <a:pt x="89487" y="10675"/>
                      <a:pt x="54419" y="10675"/>
                      <a:pt x="32173" y="31934"/>
                    </a:cubicBezTo>
                    <a:cubicBezTo>
                      <a:pt x="19795" y="45483"/>
                      <a:pt x="14165" y="66836"/>
                      <a:pt x="16394" y="91981"/>
                    </a:cubicBezTo>
                    <a:cubicBezTo>
                      <a:pt x="17398" y="104904"/>
                      <a:pt x="20576" y="117560"/>
                      <a:pt x="25761" y="129447"/>
                    </a:cubicBezTo>
                    <a:cubicBezTo>
                      <a:pt x="27657" y="133667"/>
                      <a:pt x="25761" y="138618"/>
                      <a:pt x="21580" y="140514"/>
                    </a:cubicBezTo>
                    <a:cubicBezTo>
                      <a:pt x="17343" y="142410"/>
                      <a:pt x="12380" y="140525"/>
                      <a:pt x="10485" y="136305"/>
                    </a:cubicBezTo>
                    <a:cubicBezTo>
                      <a:pt x="4519" y="122707"/>
                      <a:pt x="896" y="108222"/>
                      <a:pt x="-276" y="93430"/>
                    </a:cubicBezTo>
                    <a:cubicBezTo>
                      <a:pt x="-2896" y="63547"/>
                      <a:pt x="4241" y="37677"/>
                      <a:pt x="19851" y="20951"/>
                    </a:cubicBezTo>
                    <a:cubicBezTo>
                      <a:pt x="48732" y="-7606"/>
                      <a:pt x="95230" y="-7606"/>
                      <a:pt x="124110" y="20951"/>
                    </a:cubicBezTo>
                    <a:cubicBezTo>
                      <a:pt x="139721" y="37677"/>
                      <a:pt x="146858" y="63825"/>
                      <a:pt x="144237" y="93430"/>
                    </a:cubicBezTo>
                    <a:cubicBezTo>
                      <a:pt x="140112" y="138033"/>
                      <a:pt x="111399" y="186148"/>
                      <a:pt x="71814" y="186148"/>
                    </a:cubicBezTo>
                    <a:close/>
                  </a:path>
                </a:pathLst>
              </a:custGeom>
              <a:solidFill>
                <a:srgbClr val="30373B"/>
              </a:solidFill>
              <a:ln w="5573" cap="flat">
                <a:noFill/>
                <a:prstDash val="solid"/>
                <a:miter/>
              </a:ln>
            </p:spPr>
            <p:txBody>
              <a:bodyPr rtlCol="0" anchor="ctr"/>
              <a:lstStyle/>
              <a:p>
                <a:endParaRPr lang="en-GB"/>
              </a:p>
            </p:txBody>
          </p:sp>
          <p:sp>
            <p:nvSpPr>
              <p:cNvPr id="140" name="Graphic 6">
                <a:extLst>
                  <a:ext uri="{FF2B5EF4-FFF2-40B4-BE49-F238E27FC236}">
                    <a16:creationId xmlns:a16="http://schemas.microsoft.com/office/drawing/2014/main" id="{54DD8BE4-3305-5B35-0839-A0C3EFA2A171}"/>
                  </a:ext>
                </a:extLst>
              </p:cNvPr>
              <p:cNvSpPr/>
              <p:nvPr/>
            </p:nvSpPr>
            <p:spPr>
              <a:xfrm>
                <a:off x="7898500" y="5644664"/>
                <a:ext cx="47189" cy="630128"/>
              </a:xfrm>
              <a:custGeom>
                <a:avLst/>
                <a:gdLst>
                  <a:gd name="connsiteX0" fmla="*/ 7523 w 47189"/>
                  <a:gd name="connsiteY0" fmla="*/ 629661 h 630128"/>
                  <a:gd name="connsiteX1" fmla="*/ 6966 w 47189"/>
                  <a:gd name="connsiteY1" fmla="*/ 629661 h 630128"/>
                  <a:gd name="connsiteX2" fmla="*/ -784 w 47189"/>
                  <a:gd name="connsiteY2" fmla="*/ 620740 h 630128"/>
                  <a:gd name="connsiteX3" fmla="*/ 29657 w 47189"/>
                  <a:gd name="connsiteY3" fmla="*/ 179675 h 630128"/>
                  <a:gd name="connsiteX4" fmla="*/ 24584 w 47189"/>
                  <a:gd name="connsiteY4" fmla="*/ 8177 h 630128"/>
                  <a:gd name="connsiteX5" fmla="*/ 32724 w 47189"/>
                  <a:gd name="connsiteY5" fmla="*/ -464 h 630128"/>
                  <a:gd name="connsiteX6" fmla="*/ 41310 w 47189"/>
                  <a:gd name="connsiteY6" fmla="*/ 7675 h 630128"/>
                  <a:gd name="connsiteX7" fmla="*/ 46383 w 47189"/>
                  <a:gd name="connsiteY7" fmla="*/ 179563 h 630128"/>
                  <a:gd name="connsiteX8" fmla="*/ 46383 w 47189"/>
                  <a:gd name="connsiteY8" fmla="*/ 180399 h 630128"/>
                  <a:gd name="connsiteX9" fmla="*/ 15886 w 47189"/>
                  <a:gd name="connsiteY9" fmla="*/ 621855 h 630128"/>
                  <a:gd name="connsiteX10" fmla="*/ 7523 w 47189"/>
                  <a:gd name="connsiteY10" fmla="*/ 629661 h 63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9" h="630128">
                    <a:moveTo>
                      <a:pt x="7523" y="629661"/>
                    </a:moveTo>
                    <a:lnTo>
                      <a:pt x="6966" y="629661"/>
                    </a:lnTo>
                    <a:cubicBezTo>
                      <a:pt x="2338" y="629326"/>
                      <a:pt x="-1119" y="625368"/>
                      <a:pt x="-784" y="620740"/>
                    </a:cubicBezTo>
                    <a:lnTo>
                      <a:pt x="29657" y="179675"/>
                    </a:lnTo>
                    <a:lnTo>
                      <a:pt x="24584" y="8177"/>
                    </a:lnTo>
                    <a:cubicBezTo>
                      <a:pt x="24472" y="3550"/>
                      <a:pt x="28096" y="-297"/>
                      <a:pt x="32724" y="-464"/>
                    </a:cubicBezTo>
                    <a:cubicBezTo>
                      <a:pt x="37295" y="-576"/>
                      <a:pt x="41198" y="3048"/>
                      <a:pt x="41310" y="7675"/>
                    </a:cubicBezTo>
                    <a:lnTo>
                      <a:pt x="46383" y="179563"/>
                    </a:lnTo>
                    <a:lnTo>
                      <a:pt x="46383" y="180399"/>
                    </a:lnTo>
                    <a:lnTo>
                      <a:pt x="15886" y="621855"/>
                    </a:lnTo>
                    <a:cubicBezTo>
                      <a:pt x="15607" y="626259"/>
                      <a:pt x="11928" y="629717"/>
                      <a:pt x="7523" y="629661"/>
                    </a:cubicBezTo>
                    <a:close/>
                  </a:path>
                </a:pathLst>
              </a:custGeom>
              <a:solidFill>
                <a:srgbClr val="30373B"/>
              </a:solidFill>
              <a:ln w="5573" cap="flat">
                <a:noFill/>
                <a:prstDash val="solid"/>
                <a:miter/>
              </a:ln>
            </p:spPr>
            <p:txBody>
              <a:bodyPr rtlCol="0" anchor="ctr"/>
              <a:lstStyle/>
              <a:p>
                <a:endParaRPr lang="en-GB"/>
              </a:p>
            </p:txBody>
          </p:sp>
          <p:sp>
            <p:nvSpPr>
              <p:cNvPr id="141" name="Graphic 6">
                <a:extLst>
                  <a:ext uri="{FF2B5EF4-FFF2-40B4-BE49-F238E27FC236}">
                    <a16:creationId xmlns:a16="http://schemas.microsoft.com/office/drawing/2014/main" id="{411164E7-0936-FE44-C167-300C5EA075B8}"/>
                  </a:ext>
                </a:extLst>
              </p:cNvPr>
              <p:cNvSpPr/>
              <p:nvPr/>
            </p:nvSpPr>
            <p:spPr>
              <a:xfrm>
                <a:off x="7666429" y="5644887"/>
                <a:ext cx="102747" cy="631340"/>
              </a:xfrm>
              <a:custGeom>
                <a:avLst/>
                <a:gdLst>
                  <a:gd name="connsiteX0" fmla="*/ 7548 w 102747"/>
                  <a:gd name="connsiteY0" fmla="*/ 630832 h 631340"/>
                  <a:gd name="connsiteX1" fmla="*/ 5931 w 102747"/>
                  <a:gd name="connsiteY1" fmla="*/ 630832 h 631340"/>
                  <a:gd name="connsiteX2" fmla="*/ -648 w 102747"/>
                  <a:gd name="connsiteY2" fmla="*/ 621019 h 631340"/>
                  <a:gd name="connsiteX3" fmla="*/ 78354 w 102747"/>
                  <a:gd name="connsiteY3" fmla="*/ 219929 h 631340"/>
                  <a:gd name="connsiteX4" fmla="*/ 85213 w 102747"/>
                  <a:gd name="connsiteY4" fmla="*/ 7620 h 631340"/>
                  <a:gd name="connsiteX5" fmla="*/ 93854 w 102747"/>
                  <a:gd name="connsiteY5" fmla="*/ -464 h 631340"/>
                  <a:gd name="connsiteX6" fmla="*/ 101939 w 102747"/>
                  <a:gd name="connsiteY6" fmla="*/ 8066 h 631340"/>
                  <a:gd name="connsiteX7" fmla="*/ 101939 w 102747"/>
                  <a:gd name="connsiteY7" fmla="*/ 8122 h 631340"/>
                  <a:gd name="connsiteX8" fmla="*/ 95080 w 102747"/>
                  <a:gd name="connsiteY8" fmla="*/ 221155 h 631340"/>
                  <a:gd name="connsiteX9" fmla="*/ 95080 w 102747"/>
                  <a:gd name="connsiteY9" fmla="*/ 222494 h 631340"/>
                  <a:gd name="connsiteX10" fmla="*/ 15911 w 102747"/>
                  <a:gd name="connsiteY10" fmla="*/ 624253 h 631340"/>
                  <a:gd name="connsiteX11" fmla="*/ 7548 w 102747"/>
                  <a:gd name="connsiteY11" fmla="*/ 630832 h 63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747" h="631340">
                    <a:moveTo>
                      <a:pt x="7548" y="630832"/>
                    </a:moveTo>
                    <a:cubicBezTo>
                      <a:pt x="6991" y="630888"/>
                      <a:pt x="6489" y="630888"/>
                      <a:pt x="5931" y="630832"/>
                    </a:cubicBezTo>
                    <a:cubicBezTo>
                      <a:pt x="1415" y="629940"/>
                      <a:pt x="-1540" y="625535"/>
                      <a:pt x="-648" y="621019"/>
                    </a:cubicBezTo>
                    <a:lnTo>
                      <a:pt x="78354" y="219929"/>
                    </a:lnTo>
                    <a:lnTo>
                      <a:pt x="85213" y="7620"/>
                    </a:lnTo>
                    <a:cubicBezTo>
                      <a:pt x="85379" y="2992"/>
                      <a:pt x="89227" y="-575"/>
                      <a:pt x="93854" y="-464"/>
                    </a:cubicBezTo>
                    <a:cubicBezTo>
                      <a:pt x="98426" y="-353"/>
                      <a:pt x="102050" y="3495"/>
                      <a:pt x="101939" y="8066"/>
                    </a:cubicBezTo>
                    <a:cubicBezTo>
                      <a:pt x="101939" y="8066"/>
                      <a:pt x="101939" y="8122"/>
                      <a:pt x="101939" y="8122"/>
                    </a:cubicBezTo>
                    <a:lnTo>
                      <a:pt x="95080" y="221155"/>
                    </a:lnTo>
                    <a:lnTo>
                      <a:pt x="95080" y="222494"/>
                    </a:lnTo>
                    <a:lnTo>
                      <a:pt x="15911" y="624253"/>
                    </a:lnTo>
                    <a:cubicBezTo>
                      <a:pt x="15074" y="628155"/>
                      <a:pt x="11562" y="630943"/>
                      <a:pt x="7548" y="630832"/>
                    </a:cubicBezTo>
                    <a:close/>
                  </a:path>
                </a:pathLst>
              </a:custGeom>
              <a:solidFill>
                <a:srgbClr val="30373B"/>
              </a:solidFill>
              <a:ln w="5573" cap="flat">
                <a:noFill/>
                <a:prstDash val="solid"/>
                <a:miter/>
              </a:ln>
            </p:spPr>
            <p:txBody>
              <a:bodyPr rtlCol="0" anchor="ctr"/>
              <a:lstStyle/>
              <a:p>
                <a:endParaRPr lang="en-GB"/>
              </a:p>
            </p:txBody>
          </p:sp>
          <p:sp>
            <p:nvSpPr>
              <p:cNvPr id="142" name="Graphic 6">
                <a:extLst>
                  <a:ext uri="{FF2B5EF4-FFF2-40B4-BE49-F238E27FC236}">
                    <a16:creationId xmlns:a16="http://schemas.microsoft.com/office/drawing/2014/main" id="{C63E877D-910E-C114-BD43-4E55A733B1E8}"/>
                  </a:ext>
                </a:extLst>
              </p:cNvPr>
              <p:cNvSpPr/>
              <p:nvPr/>
            </p:nvSpPr>
            <p:spPr>
              <a:xfrm>
                <a:off x="7721034" y="5898375"/>
                <a:ext cx="126894" cy="377810"/>
              </a:xfrm>
              <a:custGeom>
                <a:avLst/>
                <a:gdLst>
                  <a:gd name="connsiteX0" fmla="*/ 7582 w 126894"/>
                  <a:gd name="connsiteY0" fmla="*/ 377344 h 377810"/>
                  <a:gd name="connsiteX1" fmla="*/ 5129 w 126894"/>
                  <a:gd name="connsiteY1" fmla="*/ 377009 h 377810"/>
                  <a:gd name="connsiteX2" fmla="*/ -447 w 126894"/>
                  <a:gd name="connsiteY2" fmla="*/ 366528 h 377810"/>
                  <a:gd name="connsiteX3" fmla="*/ 109722 w 126894"/>
                  <a:gd name="connsiteY3" fmla="*/ 5469 h 377810"/>
                  <a:gd name="connsiteX4" fmla="*/ 120148 w 126894"/>
                  <a:gd name="connsiteY4" fmla="*/ -107 h 377810"/>
                  <a:gd name="connsiteX5" fmla="*/ 125723 w 126894"/>
                  <a:gd name="connsiteY5" fmla="*/ 10375 h 377810"/>
                  <a:gd name="connsiteX6" fmla="*/ 15555 w 126894"/>
                  <a:gd name="connsiteY6" fmla="*/ 371434 h 377810"/>
                  <a:gd name="connsiteX7" fmla="*/ 7582 w 126894"/>
                  <a:gd name="connsiteY7" fmla="*/ 377344 h 37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94" h="377810">
                    <a:moveTo>
                      <a:pt x="7582" y="377344"/>
                    </a:moveTo>
                    <a:cubicBezTo>
                      <a:pt x="6746" y="377344"/>
                      <a:pt x="5909" y="377233"/>
                      <a:pt x="5129" y="377009"/>
                    </a:cubicBezTo>
                    <a:cubicBezTo>
                      <a:pt x="724" y="375615"/>
                      <a:pt x="-1785" y="370988"/>
                      <a:pt x="-447" y="366528"/>
                    </a:cubicBezTo>
                    <a:lnTo>
                      <a:pt x="109722" y="5469"/>
                    </a:lnTo>
                    <a:cubicBezTo>
                      <a:pt x="111060" y="1064"/>
                      <a:pt x="115743" y="-1445"/>
                      <a:pt x="120148" y="-107"/>
                    </a:cubicBezTo>
                    <a:cubicBezTo>
                      <a:pt x="124609" y="1287"/>
                      <a:pt x="127061" y="5970"/>
                      <a:pt x="125723" y="10375"/>
                    </a:cubicBezTo>
                    <a:lnTo>
                      <a:pt x="15555" y="371434"/>
                    </a:lnTo>
                    <a:cubicBezTo>
                      <a:pt x="14496" y="374946"/>
                      <a:pt x="11262" y="377344"/>
                      <a:pt x="7582" y="377344"/>
                    </a:cubicBezTo>
                    <a:close/>
                  </a:path>
                </a:pathLst>
              </a:custGeom>
              <a:solidFill>
                <a:srgbClr val="30373B"/>
              </a:solidFill>
              <a:ln w="5573" cap="flat">
                <a:noFill/>
                <a:prstDash val="solid"/>
                <a:miter/>
              </a:ln>
            </p:spPr>
            <p:txBody>
              <a:bodyPr rtlCol="0" anchor="ctr"/>
              <a:lstStyle/>
              <a:p>
                <a:endParaRPr lang="en-GB"/>
              </a:p>
            </p:txBody>
          </p:sp>
          <p:sp>
            <p:nvSpPr>
              <p:cNvPr id="143" name="Graphic 6">
                <a:extLst>
                  <a:ext uri="{FF2B5EF4-FFF2-40B4-BE49-F238E27FC236}">
                    <a16:creationId xmlns:a16="http://schemas.microsoft.com/office/drawing/2014/main" id="{F8342452-CBD5-FC4D-8173-00F600AB0F1D}"/>
                  </a:ext>
                </a:extLst>
              </p:cNvPr>
              <p:cNvSpPr/>
              <p:nvPr/>
            </p:nvSpPr>
            <p:spPr>
              <a:xfrm>
                <a:off x="7831226" y="5898400"/>
                <a:ext cx="23698" cy="376392"/>
              </a:xfrm>
              <a:custGeom>
                <a:avLst/>
                <a:gdLst>
                  <a:gd name="connsiteX0" fmla="*/ 14528 w 23698"/>
                  <a:gd name="connsiteY0" fmla="*/ 375925 h 376392"/>
                  <a:gd name="connsiteX1" fmla="*/ 6165 w 23698"/>
                  <a:gd name="connsiteY1" fmla="*/ 367729 h 376392"/>
                  <a:gd name="connsiteX2" fmla="*/ -804 w 23698"/>
                  <a:gd name="connsiteY2" fmla="*/ 8064 h 376392"/>
                  <a:gd name="connsiteX3" fmla="*/ 7391 w 23698"/>
                  <a:gd name="connsiteY3" fmla="*/ -466 h 376392"/>
                  <a:gd name="connsiteX4" fmla="*/ 7391 w 23698"/>
                  <a:gd name="connsiteY4" fmla="*/ -466 h 376392"/>
                  <a:gd name="connsiteX5" fmla="*/ 15922 w 23698"/>
                  <a:gd name="connsiteY5" fmla="*/ 7729 h 376392"/>
                  <a:gd name="connsiteX6" fmla="*/ 22891 w 23698"/>
                  <a:gd name="connsiteY6" fmla="*/ 367395 h 376392"/>
                  <a:gd name="connsiteX7" fmla="*/ 14639 w 23698"/>
                  <a:gd name="connsiteY7" fmla="*/ 375925 h 37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8" h="376392">
                    <a:moveTo>
                      <a:pt x="14528" y="375925"/>
                    </a:moveTo>
                    <a:cubicBezTo>
                      <a:pt x="9956" y="375981"/>
                      <a:pt x="6220" y="372301"/>
                      <a:pt x="6165" y="367729"/>
                    </a:cubicBezTo>
                    <a:lnTo>
                      <a:pt x="-804" y="8064"/>
                    </a:lnTo>
                    <a:cubicBezTo>
                      <a:pt x="-916" y="3436"/>
                      <a:pt x="2763" y="-355"/>
                      <a:pt x="7391" y="-466"/>
                    </a:cubicBezTo>
                    <a:cubicBezTo>
                      <a:pt x="7391" y="-466"/>
                      <a:pt x="7391" y="-466"/>
                      <a:pt x="7391" y="-466"/>
                    </a:cubicBezTo>
                    <a:cubicBezTo>
                      <a:pt x="11963" y="-522"/>
                      <a:pt x="15754" y="3157"/>
                      <a:pt x="15922" y="7729"/>
                    </a:cubicBezTo>
                    <a:lnTo>
                      <a:pt x="22891" y="367395"/>
                    </a:lnTo>
                    <a:cubicBezTo>
                      <a:pt x="22946" y="372022"/>
                      <a:pt x="19267" y="375813"/>
                      <a:pt x="14639" y="375925"/>
                    </a:cubicBezTo>
                    <a:close/>
                  </a:path>
                </a:pathLst>
              </a:custGeom>
              <a:solidFill>
                <a:srgbClr val="30373B"/>
              </a:solidFill>
              <a:ln w="5573" cap="flat">
                <a:noFill/>
                <a:prstDash val="solid"/>
                <a:miter/>
              </a:ln>
            </p:spPr>
            <p:txBody>
              <a:bodyPr rtlCol="0" anchor="ctr"/>
              <a:lstStyle/>
              <a:p>
                <a:endParaRPr lang="en-GB"/>
              </a:p>
            </p:txBody>
          </p:sp>
          <p:sp>
            <p:nvSpPr>
              <p:cNvPr id="144" name="Graphic 6">
                <a:extLst>
                  <a:ext uri="{FF2B5EF4-FFF2-40B4-BE49-F238E27FC236}">
                    <a16:creationId xmlns:a16="http://schemas.microsoft.com/office/drawing/2014/main" id="{5B0E2BED-C64E-952D-660B-56528BB77D2F}"/>
                  </a:ext>
                </a:extLst>
              </p:cNvPr>
              <p:cNvSpPr/>
              <p:nvPr/>
            </p:nvSpPr>
            <p:spPr>
              <a:xfrm>
                <a:off x="7566210" y="5240663"/>
                <a:ext cx="491907" cy="365674"/>
              </a:xfrm>
              <a:custGeom>
                <a:avLst/>
                <a:gdLst>
                  <a:gd name="connsiteX0" fmla="*/ 325094 w 491907"/>
                  <a:gd name="connsiteY0" fmla="*/ 365179 h 365674"/>
                  <a:gd name="connsiteX1" fmla="*/ 233101 w 491907"/>
                  <a:gd name="connsiteY1" fmla="*/ 365179 h 365674"/>
                  <a:gd name="connsiteX2" fmla="*/ -784 w 491907"/>
                  <a:gd name="connsiteY2" fmla="*/ 70243 h 365674"/>
                  <a:gd name="connsiteX3" fmla="*/ 6966 w 491907"/>
                  <a:gd name="connsiteY3" fmla="*/ 61267 h 365674"/>
                  <a:gd name="connsiteX4" fmla="*/ 15942 w 491907"/>
                  <a:gd name="connsiteY4" fmla="*/ 69017 h 365674"/>
                  <a:gd name="connsiteX5" fmla="*/ 233380 w 491907"/>
                  <a:gd name="connsiteY5" fmla="*/ 348453 h 365674"/>
                  <a:gd name="connsiteX6" fmla="*/ 325373 w 491907"/>
                  <a:gd name="connsiteY6" fmla="*/ 348453 h 365674"/>
                  <a:gd name="connsiteX7" fmla="*/ 443013 w 491907"/>
                  <a:gd name="connsiteY7" fmla="*/ 288685 h 365674"/>
                  <a:gd name="connsiteX8" fmla="*/ 439946 w 491907"/>
                  <a:gd name="connsiteY8" fmla="*/ 10921 h 365674"/>
                  <a:gd name="connsiteX9" fmla="*/ 444741 w 491907"/>
                  <a:gd name="connsiteY9" fmla="*/ 105 h 365674"/>
                  <a:gd name="connsiteX10" fmla="*/ 455557 w 491907"/>
                  <a:gd name="connsiteY10" fmla="*/ 4845 h 365674"/>
                  <a:gd name="connsiteX11" fmla="*/ 455613 w 491907"/>
                  <a:gd name="connsiteY11" fmla="*/ 5067 h 365674"/>
                  <a:gd name="connsiteX12" fmla="*/ 456728 w 491907"/>
                  <a:gd name="connsiteY12" fmla="*/ 298219 h 365674"/>
                  <a:gd name="connsiteX13" fmla="*/ 325094 w 491907"/>
                  <a:gd name="connsiteY13" fmla="*/ 365179 h 36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907" h="365674">
                    <a:moveTo>
                      <a:pt x="325094" y="365179"/>
                    </a:moveTo>
                    <a:lnTo>
                      <a:pt x="233101" y="365179"/>
                    </a:lnTo>
                    <a:cubicBezTo>
                      <a:pt x="90484" y="365179"/>
                      <a:pt x="13935" y="268725"/>
                      <a:pt x="-784" y="70243"/>
                    </a:cubicBezTo>
                    <a:cubicBezTo>
                      <a:pt x="-1119" y="65616"/>
                      <a:pt x="2338" y="61601"/>
                      <a:pt x="6966" y="61267"/>
                    </a:cubicBezTo>
                    <a:cubicBezTo>
                      <a:pt x="11593" y="60932"/>
                      <a:pt x="15607" y="64389"/>
                      <a:pt x="15942" y="69017"/>
                    </a:cubicBezTo>
                    <a:cubicBezTo>
                      <a:pt x="29936" y="257073"/>
                      <a:pt x="100966" y="348453"/>
                      <a:pt x="233380" y="348453"/>
                    </a:cubicBezTo>
                    <a:lnTo>
                      <a:pt x="325373" y="348453"/>
                    </a:lnTo>
                    <a:cubicBezTo>
                      <a:pt x="372095" y="349345"/>
                      <a:pt x="416195" y="326932"/>
                      <a:pt x="443013" y="288685"/>
                    </a:cubicBezTo>
                    <a:cubicBezTo>
                      <a:pt x="485274" y="227747"/>
                      <a:pt x="484159" y="129119"/>
                      <a:pt x="439946" y="10921"/>
                    </a:cubicBezTo>
                    <a:cubicBezTo>
                      <a:pt x="438274" y="6629"/>
                      <a:pt x="440392" y="1778"/>
                      <a:pt x="444741" y="105"/>
                    </a:cubicBezTo>
                    <a:cubicBezTo>
                      <a:pt x="449034" y="-1567"/>
                      <a:pt x="453884" y="551"/>
                      <a:pt x="455557" y="4845"/>
                    </a:cubicBezTo>
                    <a:cubicBezTo>
                      <a:pt x="455557" y="4956"/>
                      <a:pt x="455613" y="5012"/>
                      <a:pt x="455613" y="5067"/>
                    </a:cubicBezTo>
                    <a:cubicBezTo>
                      <a:pt x="514823" y="163295"/>
                      <a:pt x="489065" y="251832"/>
                      <a:pt x="456728" y="298219"/>
                    </a:cubicBezTo>
                    <a:cubicBezTo>
                      <a:pt x="426732" y="341093"/>
                      <a:pt x="377391" y="366182"/>
                      <a:pt x="325094" y="365179"/>
                    </a:cubicBezTo>
                    <a:close/>
                  </a:path>
                </a:pathLst>
              </a:custGeom>
              <a:solidFill>
                <a:srgbClr val="30373B"/>
              </a:solidFill>
              <a:ln w="5573" cap="flat">
                <a:noFill/>
                <a:prstDash val="solid"/>
                <a:miter/>
              </a:ln>
            </p:spPr>
            <p:txBody>
              <a:bodyPr rtlCol="0" anchor="ctr"/>
              <a:lstStyle/>
              <a:p>
                <a:endParaRPr lang="en-GB"/>
              </a:p>
            </p:txBody>
          </p:sp>
          <p:sp>
            <p:nvSpPr>
              <p:cNvPr id="145" name="Graphic 6">
                <a:extLst>
                  <a:ext uri="{FF2B5EF4-FFF2-40B4-BE49-F238E27FC236}">
                    <a16:creationId xmlns:a16="http://schemas.microsoft.com/office/drawing/2014/main" id="{CA8BBD5A-7451-4D19-74C7-8FEEA9A45CA5}"/>
                  </a:ext>
                </a:extLst>
              </p:cNvPr>
              <p:cNvSpPr/>
              <p:nvPr/>
            </p:nvSpPr>
            <p:spPr>
              <a:xfrm>
                <a:off x="7772825" y="5419702"/>
                <a:ext cx="145591" cy="186606"/>
              </a:xfrm>
              <a:custGeom>
                <a:avLst/>
                <a:gdLst>
                  <a:gd name="connsiteX0" fmla="*/ 71869 w 145591"/>
                  <a:gd name="connsiteY0" fmla="*/ 186140 h 186606"/>
                  <a:gd name="connsiteX1" fmla="*/ 63506 w 145591"/>
                  <a:gd name="connsiteY1" fmla="*/ 177777 h 186606"/>
                  <a:gd name="connsiteX2" fmla="*/ 71869 w 145591"/>
                  <a:gd name="connsiteY2" fmla="*/ 169414 h 186606"/>
                  <a:gd name="connsiteX3" fmla="*/ 127622 w 145591"/>
                  <a:gd name="connsiteY3" fmla="*/ 91972 h 186606"/>
                  <a:gd name="connsiteX4" fmla="*/ 111789 w 145591"/>
                  <a:gd name="connsiteY4" fmla="*/ 31926 h 186606"/>
                  <a:gd name="connsiteX5" fmla="*/ 32228 w 145591"/>
                  <a:gd name="connsiteY5" fmla="*/ 31926 h 186606"/>
                  <a:gd name="connsiteX6" fmla="*/ 16395 w 145591"/>
                  <a:gd name="connsiteY6" fmla="*/ 91972 h 186606"/>
                  <a:gd name="connsiteX7" fmla="*/ 25817 w 145591"/>
                  <a:gd name="connsiteY7" fmla="*/ 129494 h 186606"/>
                  <a:gd name="connsiteX8" fmla="*/ 21357 w 145591"/>
                  <a:gd name="connsiteY8" fmla="*/ 140422 h 186606"/>
                  <a:gd name="connsiteX9" fmla="*/ 10540 w 145591"/>
                  <a:gd name="connsiteY9" fmla="*/ 136296 h 186606"/>
                  <a:gd name="connsiteX10" fmla="*/ -276 w 145591"/>
                  <a:gd name="connsiteY10" fmla="*/ 93422 h 186606"/>
                  <a:gd name="connsiteX11" fmla="*/ 19907 w 145591"/>
                  <a:gd name="connsiteY11" fmla="*/ 20942 h 186606"/>
                  <a:gd name="connsiteX12" fmla="*/ 124110 w 145591"/>
                  <a:gd name="connsiteY12" fmla="*/ 20942 h 186606"/>
                  <a:gd name="connsiteX13" fmla="*/ 144237 w 145591"/>
                  <a:gd name="connsiteY13" fmla="*/ 93422 h 186606"/>
                  <a:gd name="connsiteX14" fmla="*/ 71869 w 145591"/>
                  <a:gd name="connsiteY14" fmla="*/ 186140 h 18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91" h="186606">
                    <a:moveTo>
                      <a:pt x="71869" y="186140"/>
                    </a:moveTo>
                    <a:cubicBezTo>
                      <a:pt x="67242" y="186140"/>
                      <a:pt x="63506" y="182404"/>
                      <a:pt x="63506" y="177777"/>
                    </a:cubicBezTo>
                    <a:cubicBezTo>
                      <a:pt x="63506" y="173149"/>
                      <a:pt x="67242" y="169414"/>
                      <a:pt x="71869" y="169414"/>
                    </a:cubicBezTo>
                    <a:cubicBezTo>
                      <a:pt x="92331" y="169414"/>
                      <a:pt x="123051" y="142484"/>
                      <a:pt x="127622" y="91972"/>
                    </a:cubicBezTo>
                    <a:cubicBezTo>
                      <a:pt x="129797" y="66827"/>
                      <a:pt x="124221" y="45474"/>
                      <a:pt x="111789" y="31926"/>
                    </a:cubicBezTo>
                    <a:cubicBezTo>
                      <a:pt x="89543" y="10684"/>
                      <a:pt x="54474" y="10684"/>
                      <a:pt x="32228" y="31926"/>
                    </a:cubicBezTo>
                    <a:cubicBezTo>
                      <a:pt x="19795" y="45474"/>
                      <a:pt x="14220" y="66827"/>
                      <a:pt x="16395" y="91972"/>
                    </a:cubicBezTo>
                    <a:cubicBezTo>
                      <a:pt x="17454" y="104907"/>
                      <a:pt x="20632" y="117563"/>
                      <a:pt x="25817" y="129494"/>
                    </a:cubicBezTo>
                    <a:cubicBezTo>
                      <a:pt x="27601" y="133732"/>
                      <a:pt x="25593" y="138638"/>
                      <a:pt x="21357" y="140422"/>
                    </a:cubicBezTo>
                    <a:cubicBezTo>
                      <a:pt x="17230" y="142206"/>
                      <a:pt x="12436" y="140366"/>
                      <a:pt x="10540" y="136296"/>
                    </a:cubicBezTo>
                    <a:cubicBezTo>
                      <a:pt x="4631" y="122692"/>
                      <a:pt x="951" y="108197"/>
                      <a:pt x="-276" y="93422"/>
                    </a:cubicBezTo>
                    <a:cubicBezTo>
                      <a:pt x="-2897" y="63538"/>
                      <a:pt x="4240" y="37668"/>
                      <a:pt x="19907" y="20942"/>
                    </a:cubicBezTo>
                    <a:cubicBezTo>
                      <a:pt x="48787" y="-7603"/>
                      <a:pt x="95230" y="-7603"/>
                      <a:pt x="124110" y="20942"/>
                    </a:cubicBezTo>
                    <a:cubicBezTo>
                      <a:pt x="139721" y="38003"/>
                      <a:pt x="146913" y="63817"/>
                      <a:pt x="144237" y="93422"/>
                    </a:cubicBezTo>
                    <a:cubicBezTo>
                      <a:pt x="140223" y="138025"/>
                      <a:pt x="111454" y="186140"/>
                      <a:pt x="71869" y="186140"/>
                    </a:cubicBezTo>
                    <a:close/>
                  </a:path>
                </a:pathLst>
              </a:custGeom>
              <a:solidFill>
                <a:srgbClr val="30373B"/>
              </a:solidFill>
              <a:ln w="5573" cap="flat">
                <a:noFill/>
                <a:prstDash val="solid"/>
                <a:miter/>
              </a:ln>
            </p:spPr>
            <p:txBody>
              <a:bodyPr rtlCol="0" anchor="ctr"/>
              <a:lstStyle/>
              <a:p>
                <a:endParaRPr lang="en-GB"/>
              </a:p>
            </p:txBody>
          </p:sp>
          <p:sp>
            <p:nvSpPr>
              <p:cNvPr id="146" name="Graphic 6">
                <a:extLst>
                  <a:ext uri="{FF2B5EF4-FFF2-40B4-BE49-F238E27FC236}">
                    <a16:creationId xmlns:a16="http://schemas.microsoft.com/office/drawing/2014/main" id="{2EBC3290-CD93-C6B2-BD29-DC9FD8DF1776}"/>
                  </a:ext>
                </a:extLst>
              </p:cNvPr>
              <p:cNvSpPr/>
              <p:nvPr/>
            </p:nvSpPr>
            <p:spPr>
              <a:xfrm>
                <a:off x="5239414" y="5623084"/>
                <a:ext cx="64012" cy="416150"/>
              </a:xfrm>
              <a:custGeom>
                <a:avLst/>
                <a:gdLst>
                  <a:gd name="connsiteX0" fmla="*/ 7561 w 64012"/>
                  <a:gd name="connsiteY0" fmla="*/ 415683 h 416150"/>
                  <a:gd name="connsiteX1" fmla="*/ 6558 w 64012"/>
                  <a:gd name="connsiteY1" fmla="*/ 415683 h 416150"/>
                  <a:gd name="connsiteX2" fmla="*/ -752 w 64012"/>
                  <a:gd name="connsiteY2" fmla="*/ 406483 h 416150"/>
                  <a:gd name="connsiteX3" fmla="*/ -746 w 64012"/>
                  <a:gd name="connsiteY3" fmla="*/ 406427 h 416150"/>
                  <a:gd name="connsiteX4" fmla="*/ 46422 w 64012"/>
                  <a:gd name="connsiteY4" fmla="*/ 6954 h 416150"/>
                  <a:gd name="connsiteX5" fmla="*/ 55760 w 64012"/>
                  <a:gd name="connsiteY5" fmla="*/ -405 h 416150"/>
                  <a:gd name="connsiteX6" fmla="*/ 63148 w 64012"/>
                  <a:gd name="connsiteY6" fmla="*/ 8905 h 416150"/>
                  <a:gd name="connsiteX7" fmla="*/ 15980 w 64012"/>
                  <a:gd name="connsiteY7" fmla="*/ 408379 h 416150"/>
                  <a:gd name="connsiteX8" fmla="*/ 7561 w 64012"/>
                  <a:gd name="connsiteY8" fmla="*/ 415683 h 4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12" h="416150">
                    <a:moveTo>
                      <a:pt x="7561" y="415683"/>
                    </a:moveTo>
                    <a:lnTo>
                      <a:pt x="6558" y="415683"/>
                    </a:lnTo>
                    <a:cubicBezTo>
                      <a:pt x="1997" y="415180"/>
                      <a:pt x="-1276" y="411055"/>
                      <a:pt x="-752" y="406483"/>
                    </a:cubicBezTo>
                    <a:cubicBezTo>
                      <a:pt x="-752" y="406483"/>
                      <a:pt x="-746" y="406427"/>
                      <a:pt x="-746" y="406427"/>
                    </a:cubicBezTo>
                    <a:lnTo>
                      <a:pt x="46422" y="6954"/>
                    </a:lnTo>
                    <a:cubicBezTo>
                      <a:pt x="46962" y="2327"/>
                      <a:pt x="51144" y="-963"/>
                      <a:pt x="55760" y="-405"/>
                    </a:cubicBezTo>
                    <a:cubicBezTo>
                      <a:pt x="60377" y="96"/>
                      <a:pt x="63688" y="4278"/>
                      <a:pt x="63148" y="8905"/>
                    </a:cubicBezTo>
                    <a:lnTo>
                      <a:pt x="15980" y="408379"/>
                    </a:lnTo>
                    <a:cubicBezTo>
                      <a:pt x="15440" y="412616"/>
                      <a:pt x="11815" y="415738"/>
                      <a:pt x="7561" y="415683"/>
                    </a:cubicBezTo>
                    <a:close/>
                  </a:path>
                </a:pathLst>
              </a:custGeom>
              <a:solidFill>
                <a:srgbClr val="30373B"/>
              </a:solidFill>
              <a:ln w="5573" cap="flat">
                <a:noFill/>
                <a:prstDash val="solid"/>
                <a:miter/>
              </a:ln>
            </p:spPr>
            <p:txBody>
              <a:bodyPr rtlCol="0" anchor="ctr"/>
              <a:lstStyle/>
              <a:p>
                <a:endParaRPr lang="en-GB"/>
              </a:p>
            </p:txBody>
          </p:sp>
          <p:sp>
            <p:nvSpPr>
              <p:cNvPr id="147" name="Graphic 6">
                <a:extLst>
                  <a:ext uri="{FF2B5EF4-FFF2-40B4-BE49-F238E27FC236}">
                    <a16:creationId xmlns:a16="http://schemas.microsoft.com/office/drawing/2014/main" id="{36806A2D-EB4D-E969-8EB8-E6688811101D}"/>
                  </a:ext>
                </a:extLst>
              </p:cNvPr>
              <p:cNvSpPr/>
              <p:nvPr/>
            </p:nvSpPr>
            <p:spPr>
              <a:xfrm>
                <a:off x="5438052" y="5485927"/>
                <a:ext cx="46961" cy="551856"/>
              </a:xfrm>
              <a:custGeom>
                <a:avLst/>
                <a:gdLst>
                  <a:gd name="connsiteX0" fmla="*/ 7573 w 46961"/>
                  <a:gd name="connsiteY0" fmla="*/ 551390 h 551856"/>
                  <a:gd name="connsiteX1" fmla="*/ 6960 w 46961"/>
                  <a:gd name="connsiteY1" fmla="*/ 551390 h 551856"/>
                  <a:gd name="connsiteX2" fmla="*/ -790 w 46961"/>
                  <a:gd name="connsiteY2" fmla="*/ 542414 h 551856"/>
                  <a:gd name="connsiteX3" fmla="*/ 29429 w 46961"/>
                  <a:gd name="connsiteY3" fmla="*/ 122089 h 551856"/>
                  <a:gd name="connsiteX4" fmla="*/ 24411 w 46961"/>
                  <a:gd name="connsiteY4" fmla="*/ 8296 h 551856"/>
                  <a:gd name="connsiteX5" fmla="*/ 32384 w 46961"/>
                  <a:gd name="connsiteY5" fmla="*/ -457 h 551856"/>
                  <a:gd name="connsiteX6" fmla="*/ 41137 w 46961"/>
                  <a:gd name="connsiteY6" fmla="*/ 7515 h 551856"/>
                  <a:gd name="connsiteX7" fmla="*/ 46155 w 46961"/>
                  <a:gd name="connsiteY7" fmla="*/ 121810 h 551856"/>
                  <a:gd name="connsiteX8" fmla="*/ 46155 w 46961"/>
                  <a:gd name="connsiteY8" fmla="*/ 122758 h 551856"/>
                  <a:gd name="connsiteX9" fmla="*/ 15936 w 46961"/>
                  <a:gd name="connsiteY9" fmla="*/ 543640 h 551856"/>
                  <a:gd name="connsiteX10" fmla="*/ 7573 w 46961"/>
                  <a:gd name="connsiteY10" fmla="*/ 551390 h 55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961" h="551856">
                    <a:moveTo>
                      <a:pt x="7573" y="551390"/>
                    </a:moveTo>
                    <a:lnTo>
                      <a:pt x="6960" y="551390"/>
                    </a:lnTo>
                    <a:cubicBezTo>
                      <a:pt x="2366" y="551000"/>
                      <a:pt x="-1080" y="547041"/>
                      <a:pt x="-790" y="542414"/>
                    </a:cubicBezTo>
                    <a:lnTo>
                      <a:pt x="29429" y="122089"/>
                    </a:lnTo>
                    <a:lnTo>
                      <a:pt x="24411" y="8296"/>
                    </a:lnTo>
                    <a:cubicBezTo>
                      <a:pt x="24194" y="3669"/>
                      <a:pt x="27767" y="-234"/>
                      <a:pt x="32384" y="-457"/>
                    </a:cubicBezTo>
                    <a:cubicBezTo>
                      <a:pt x="37000" y="-680"/>
                      <a:pt x="40920" y="2888"/>
                      <a:pt x="41137" y="7515"/>
                    </a:cubicBezTo>
                    <a:lnTo>
                      <a:pt x="46155" y="121810"/>
                    </a:lnTo>
                    <a:lnTo>
                      <a:pt x="46155" y="122758"/>
                    </a:lnTo>
                    <a:lnTo>
                      <a:pt x="15936" y="543640"/>
                    </a:lnTo>
                    <a:cubicBezTo>
                      <a:pt x="15613" y="548044"/>
                      <a:pt x="11961" y="551390"/>
                      <a:pt x="7573" y="551390"/>
                    </a:cubicBezTo>
                    <a:close/>
                  </a:path>
                </a:pathLst>
              </a:custGeom>
              <a:solidFill>
                <a:srgbClr val="30373B"/>
              </a:solidFill>
              <a:ln w="5573" cap="flat">
                <a:noFill/>
                <a:prstDash val="solid"/>
                <a:miter/>
              </a:ln>
            </p:spPr>
            <p:txBody>
              <a:bodyPr rtlCol="0" anchor="ctr"/>
              <a:lstStyle/>
              <a:p>
                <a:endParaRPr lang="en-GB"/>
              </a:p>
            </p:txBody>
          </p:sp>
          <p:sp>
            <p:nvSpPr>
              <p:cNvPr id="148" name="Graphic 6">
                <a:extLst>
                  <a:ext uri="{FF2B5EF4-FFF2-40B4-BE49-F238E27FC236}">
                    <a16:creationId xmlns:a16="http://schemas.microsoft.com/office/drawing/2014/main" id="{A5755499-A3D0-382D-4225-40AE70DD10EF}"/>
                  </a:ext>
                </a:extLst>
              </p:cNvPr>
              <p:cNvSpPr/>
              <p:nvPr/>
            </p:nvSpPr>
            <p:spPr>
              <a:xfrm>
                <a:off x="5292744" y="5682686"/>
                <a:ext cx="102283" cy="356589"/>
              </a:xfrm>
              <a:custGeom>
                <a:avLst/>
                <a:gdLst>
                  <a:gd name="connsiteX0" fmla="*/ 7532 w 102283"/>
                  <a:gd name="connsiteY0" fmla="*/ 356081 h 356589"/>
                  <a:gd name="connsiteX1" fmla="*/ 5525 w 102283"/>
                  <a:gd name="connsiteY1" fmla="*/ 356081 h 356589"/>
                  <a:gd name="connsiteX2" fmla="*/ -552 w 102283"/>
                  <a:gd name="connsiteY2" fmla="*/ 345934 h 356589"/>
                  <a:gd name="connsiteX3" fmla="*/ -552 w 102283"/>
                  <a:gd name="connsiteY3" fmla="*/ 345934 h 356589"/>
                  <a:gd name="connsiteX4" fmla="*/ 84973 w 102283"/>
                  <a:gd name="connsiteY4" fmla="*/ 5838 h 356589"/>
                  <a:gd name="connsiteX5" fmla="*/ 94117 w 102283"/>
                  <a:gd name="connsiteY5" fmla="*/ -407 h 356589"/>
                  <a:gd name="connsiteX6" fmla="*/ 101476 w 102283"/>
                  <a:gd name="connsiteY6" fmla="*/ 7901 h 356589"/>
                  <a:gd name="connsiteX7" fmla="*/ 101476 w 102283"/>
                  <a:gd name="connsiteY7" fmla="*/ 347662 h 356589"/>
                  <a:gd name="connsiteX8" fmla="*/ 93113 w 102283"/>
                  <a:gd name="connsiteY8" fmla="*/ 356025 h 356589"/>
                  <a:gd name="connsiteX9" fmla="*/ 84750 w 102283"/>
                  <a:gd name="connsiteY9" fmla="*/ 347662 h 356589"/>
                  <a:gd name="connsiteX10" fmla="*/ 84750 w 102283"/>
                  <a:gd name="connsiteY10" fmla="*/ 75362 h 356589"/>
                  <a:gd name="connsiteX11" fmla="*/ 15672 w 102283"/>
                  <a:gd name="connsiteY11" fmla="*/ 349725 h 356589"/>
                  <a:gd name="connsiteX12" fmla="*/ 7532 w 102283"/>
                  <a:gd name="connsiteY12" fmla="*/ 356081 h 35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83" h="356589">
                    <a:moveTo>
                      <a:pt x="7532" y="356081"/>
                    </a:moveTo>
                    <a:cubicBezTo>
                      <a:pt x="6863" y="356137"/>
                      <a:pt x="6194" y="356137"/>
                      <a:pt x="5525" y="356081"/>
                    </a:cubicBezTo>
                    <a:cubicBezTo>
                      <a:pt x="1042" y="354966"/>
                      <a:pt x="-1678" y="350394"/>
                      <a:pt x="-552" y="345934"/>
                    </a:cubicBezTo>
                    <a:cubicBezTo>
                      <a:pt x="-552" y="345934"/>
                      <a:pt x="-552" y="345934"/>
                      <a:pt x="-552" y="345934"/>
                    </a:cubicBezTo>
                    <a:lnTo>
                      <a:pt x="84973" y="5838"/>
                    </a:lnTo>
                    <a:cubicBezTo>
                      <a:pt x="86033" y="1768"/>
                      <a:pt x="89936" y="-908"/>
                      <a:pt x="94117" y="-407"/>
                    </a:cubicBezTo>
                    <a:cubicBezTo>
                      <a:pt x="98332" y="95"/>
                      <a:pt x="101504" y="3663"/>
                      <a:pt x="101476" y="7901"/>
                    </a:cubicBezTo>
                    <a:lnTo>
                      <a:pt x="101476" y="347662"/>
                    </a:lnTo>
                    <a:cubicBezTo>
                      <a:pt x="101476" y="352290"/>
                      <a:pt x="97730" y="356025"/>
                      <a:pt x="93113" y="356025"/>
                    </a:cubicBezTo>
                    <a:cubicBezTo>
                      <a:pt x="88497" y="356025"/>
                      <a:pt x="84750" y="352290"/>
                      <a:pt x="84750" y="347662"/>
                    </a:cubicBezTo>
                    <a:lnTo>
                      <a:pt x="84750" y="75362"/>
                    </a:lnTo>
                    <a:lnTo>
                      <a:pt x="15672" y="349725"/>
                    </a:lnTo>
                    <a:cubicBezTo>
                      <a:pt x="14746" y="353460"/>
                      <a:pt x="11384" y="356081"/>
                      <a:pt x="7532" y="356081"/>
                    </a:cubicBezTo>
                    <a:close/>
                  </a:path>
                </a:pathLst>
              </a:custGeom>
              <a:solidFill>
                <a:srgbClr val="30373B"/>
              </a:solidFill>
              <a:ln w="5573" cap="flat">
                <a:noFill/>
                <a:prstDash val="solid"/>
                <a:miter/>
              </a:ln>
            </p:spPr>
            <p:txBody>
              <a:bodyPr rtlCol="0" anchor="ctr"/>
              <a:lstStyle/>
              <a:p>
                <a:endParaRPr lang="en-GB"/>
              </a:p>
            </p:txBody>
          </p:sp>
          <p:sp>
            <p:nvSpPr>
              <p:cNvPr id="149" name="Graphic 6">
                <a:extLst>
                  <a:ext uri="{FF2B5EF4-FFF2-40B4-BE49-F238E27FC236}">
                    <a16:creationId xmlns:a16="http://schemas.microsoft.com/office/drawing/2014/main" id="{105352D4-9301-4065-A79E-33B76D7ADF3D}"/>
                  </a:ext>
                </a:extLst>
              </p:cNvPr>
              <p:cNvSpPr/>
              <p:nvPr/>
            </p:nvSpPr>
            <p:spPr>
              <a:xfrm>
                <a:off x="5342665" y="5197150"/>
                <a:ext cx="155283" cy="171258"/>
              </a:xfrm>
              <a:custGeom>
                <a:avLst/>
                <a:gdLst>
                  <a:gd name="connsiteX0" fmla="*/ 51110 w 155283"/>
                  <a:gd name="connsiteY0" fmla="*/ 170792 h 171258"/>
                  <a:gd name="connsiteX1" fmla="*/ 44754 w 155283"/>
                  <a:gd name="connsiteY1" fmla="*/ 170458 h 171258"/>
                  <a:gd name="connsiteX2" fmla="*/ 37255 w 155283"/>
                  <a:gd name="connsiteY2" fmla="*/ 161202 h 171258"/>
                  <a:gd name="connsiteX3" fmla="*/ 46482 w 155283"/>
                  <a:gd name="connsiteY3" fmla="*/ 153731 h 171258"/>
                  <a:gd name="connsiteX4" fmla="*/ 117791 w 155283"/>
                  <a:gd name="connsiteY4" fmla="*/ 116600 h 171258"/>
                  <a:gd name="connsiteX5" fmla="*/ 137528 w 155283"/>
                  <a:gd name="connsiteY5" fmla="*/ 59954 h 171258"/>
                  <a:gd name="connsiteX6" fmla="*/ 73857 w 155283"/>
                  <a:gd name="connsiteY6" fmla="*/ 17024 h 171258"/>
                  <a:gd name="connsiteX7" fmla="*/ 28809 w 155283"/>
                  <a:gd name="connsiteY7" fmla="*/ 56609 h 171258"/>
                  <a:gd name="connsiteX8" fmla="*/ 16041 w 155283"/>
                  <a:gd name="connsiteY8" fmla="*/ 91789 h 171258"/>
                  <a:gd name="connsiteX9" fmla="*/ 6256 w 155283"/>
                  <a:gd name="connsiteY9" fmla="*/ 98703 h 171258"/>
                  <a:gd name="connsiteX10" fmla="*/ -685 w 155283"/>
                  <a:gd name="connsiteY10" fmla="*/ 88946 h 171258"/>
                  <a:gd name="connsiteX11" fmla="*/ 13867 w 155283"/>
                  <a:gd name="connsiteY11" fmla="*/ 48525 h 171258"/>
                  <a:gd name="connsiteX12" fmla="*/ 69620 w 155283"/>
                  <a:gd name="connsiteY12" fmla="*/ 800 h 171258"/>
                  <a:gd name="connsiteX13" fmla="*/ 153752 w 155283"/>
                  <a:gd name="connsiteY13" fmla="*/ 57501 h 171258"/>
                  <a:gd name="connsiteX14" fmla="*/ 130447 w 155283"/>
                  <a:gd name="connsiteY14" fmla="*/ 127137 h 171258"/>
                  <a:gd name="connsiteX15" fmla="*/ 51110 w 155283"/>
                  <a:gd name="connsiteY15" fmla="*/ 170792 h 17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283" h="171258">
                    <a:moveTo>
                      <a:pt x="51110" y="170792"/>
                    </a:moveTo>
                    <a:cubicBezTo>
                      <a:pt x="48986" y="170792"/>
                      <a:pt x="46867" y="170680"/>
                      <a:pt x="44754" y="170458"/>
                    </a:cubicBezTo>
                    <a:cubicBezTo>
                      <a:pt x="40138" y="169955"/>
                      <a:pt x="36776" y="165830"/>
                      <a:pt x="37255" y="161202"/>
                    </a:cubicBezTo>
                    <a:cubicBezTo>
                      <a:pt x="37735" y="156631"/>
                      <a:pt x="41866" y="153230"/>
                      <a:pt x="46482" y="153731"/>
                    </a:cubicBezTo>
                    <a:cubicBezTo>
                      <a:pt x="64045" y="155515"/>
                      <a:pt x="93260" y="146874"/>
                      <a:pt x="117791" y="116600"/>
                    </a:cubicBezTo>
                    <a:cubicBezTo>
                      <a:pt x="133123" y="97643"/>
                      <a:pt x="140092" y="77572"/>
                      <a:pt x="137528" y="59954"/>
                    </a:cubicBezTo>
                    <a:cubicBezTo>
                      <a:pt x="131111" y="30963"/>
                      <a:pt x="103122" y="12107"/>
                      <a:pt x="73857" y="17024"/>
                    </a:cubicBezTo>
                    <a:cubicBezTo>
                      <a:pt x="56630" y="21206"/>
                      <a:pt x="40405" y="35255"/>
                      <a:pt x="28809" y="56609"/>
                    </a:cubicBezTo>
                    <a:cubicBezTo>
                      <a:pt x="22648" y="67537"/>
                      <a:pt x="18332" y="79468"/>
                      <a:pt x="16041" y="91789"/>
                    </a:cubicBezTo>
                    <a:cubicBezTo>
                      <a:pt x="15255" y="96417"/>
                      <a:pt x="10873" y="99539"/>
                      <a:pt x="6256" y="98703"/>
                    </a:cubicBezTo>
                    <a:cubicBezTo>
                      <a:pt x="1640" y="97922"/>
                      <a:pt x="-1471" y="93573"/>
                      <a:pt x="-685" y="88946"/>
                    </a:cubicBezTo>
                    <a:cubicBezTo>
                      <a:pt x="1908" y="74785"/>
                      <a:pt x="6819" y="61125"/>
                      <a:pt x="13867" y="48525"/>
                    </a:cubicBezTo>
                    <a:cubicBezTo>
                      <a:pt x="27972" y="22989"/>
                      <a:pt x="47765" y="6041"/>
                      <a:pt x="69620" y="800"/>
                    </a:cubicBezTo>
                    <a:cubicBezTo>
                      <a:pt x="108463" y="-6537"/>
                      <a:pt x="145980" y="18741"/>
                      <a:pt x="153752" y="57501"/>
                    </a:cubicBezTo>
                    <a:cubicBezTo>
                      <a:pt x="157097" y="79802"/>
                      <a:pt x="148790" y="104445"/>
                      <a:pt x="130447" y="127137"/>
                    </a:cubicBezTo>
                    <a:cubicBezTo>
                      <a:pt x="104633" y="159474"/>
                      <a:pt x="73634" y="170792"/>
                      <a:pt x="51110" y="170792"/>
                    </a:cubicBezTo>
                    <a:close/>
                  </a:path>
                </a:pathLst>
              </a:custGeom>
              <a:solidFill>
                <a:srgbClr val="30373B"/>
              </a:solidFill>
              <a:ln w="5573" cap="flat">
                <a:noFill/>
                <a:prstDash val="solid"/>
                <a:miter/>
              </a:ln>
            </p:spPr>
            <p:txBody>
              <a:bodyPr rtlCol="0" anchor="ctr"/>
              <a:lstStyle/>
              <a:p>
                <a:endParaRPr lang="en-GB"/>
              </a:p>
            </p:txBody>
          </p:sp>
          <p:sp>
            <p:nvSpPr>
              <p:cNvPr id="150" name="Graphic 6">
                <a:extLst>
                  <a:ext uri="{FF2B5EF4-FFF2-40B4-BE49-F238E27FC236}">
                    <a16:creationId xmlns:a16="http://schemas.microsoft.com/office/drawing/2014/main" id="{6C512061-AC19-4EF2-2EFE-E7F134E69544}"/>
                  </a:ext>
                </a:extLst>
              </p:cNvPr>
              <p:cNvSpPr/>
              <p:nvPr/>
            </p:nvSpPr>
            <p:spPr>
              <a:xfrm>
                <a:off x="5254811" y="5227363"/>
                <a:ext cx="332633" cy="392326"/>
              </a:xfrm>
              <a:custGeom>
                <a:avLst/>
                <a:gdLst>
                  <a:gd name="connsiteX0" fmla="*/ 134670 w 332633"/>
                  <a:gd name="connsiteY0" fmla="*/ 391860 h 392326"/>
                  <a:gd name="connsiteX1" fmla="*/ 47806 w 332633"/>
                  <a:gd name="connsiteY1" fmla="*/ 365153 h 392326"/>
                  <a:gd name="connsiteX2" fmla="*/ -532 w 332633"/>
                  <a:gd name="connsiteY2" fmla="*/ 214619 h 392326"/>
                  <a:gd name="connsiteX3" fmla="*/ 19930 w 332633"/>
                  <a:gd name="connsiteY3" fmla="*/ 144760 h 392326"/>
                  <a:gd name="connsiteX4" fmla="*/ 100717 w 332633"/>
                  <a:gd name="connsiteY4" fmla="*/ 120954 h 392326"/>
                  <a:gd name="connsiteX5" fmla="*/ 179384 w 332633"/>
                  <a:gd name="connsiteY5" fmla="*/ 127532 h 392326"/>
                  <a:gd name="connsiteX6" fmla="*/ 239486 w 332633"/>
                  <a:gd name="connsiteY6" fmla="*/ 169347 h 392326"/>
                  <a:gd name="connsiteX7" fmla="*/ 297024 w 332633"/>
                  <a:gd name="connsiteY7" fmla="*/ 189530 h 392326"/>
                  <a:gd name="connsiteX8" fmla="*/ 315032 w 332633"/>
                  <a:gd name="connsiteY8" fmla="*/ 157081 h 392326"/>
                  <a:gd name="connsiteX9" fmla="*/ 262234 w 332633"/>
                  <a:gd name="connsiteY9" fmla="*/ 71166 h 392326"/>
                  <a:gd name="connsiteX10" fmla="*/ 218300 w 332633"/>
                  <a:gd name="connsiteY10" fmla="*/ 10673 h 392326"/>
                  <a:gd name="connsiteX11" fmla="*/ 223413 w 332633"/>
                  <a:gd name="connsiteY11" fmla="*/ 24 h 392326"/>
                  <a:gd name="connsiteX12" fmla="*/ 234079 w 332633"/>
                  <a:gd name="connsiteY12" fmla="*/ 5098 h 392326"/>
                  <a:gd name="connsiteX13" fmla="*/ 234357 w 332633"/>
                  <a:gd name="connsiteY13" fmla="*/ 6101 h 392326"/>
                  <a:gd name="connsiteX14" fmla="*/ 274500 w 332633"/>
                  <a:gd name="connsiteY14" fmla="*/ 59792 h 392326"/>
                  <a:gd name="connsiteX15" fmla="*/ 331758 w 332633"/>
                  <a:gd name="connsiteY15" fmla="*/ 157974 h 392326"/>
                  <a:gd name="connsiteX16" fmla="*/ 308063 w 332633"/>
                  <a:gd name="connsiteY16" fmla="*/ 202075 h 392326"/>
                  <a:gd name="connsiteX17" fmla="*/ 227054 w 332633"/>
                  <a:gd name="connsiteY17" fmla="*/ 180610 h 392326"/>
                  <a:gd name="connsiteX18" fmla="*/ 177489 w 332633"/>
                  <a:gd name="connsiteY18" fmla="*/ 144147 h 392326"/>
                  <a:gd name="connsiteX19" fmla="*/ 99713 w 332633"/>
                  <a:gd name="connsiteY19" fmla="*/ 137679 h 392326"/>
                  <a:gd name="connsiteX20" fmla="*/ 31917 w 332633"/>
                  <a:gd name="connsiteY20" fmla="*/ 156468 h 392326"/>
                  <a:gd name="connsiteX21" fmla="*/ 16194 w 332633"/>
                  <a:gd name="connsiteY21" fmla="*/ 213671 h 392326"/>
                  <a:gd name="connsiteX22" fmla="*/ 58846 w 332633"/>
                  <a:gd name="connsiteY22" fmla="*/ 352441 h 392326"/>
                  <a:gd name="connsiteX23" fmla="*/ 153626 w 332633"/>
                  <a:gd name="connsiteY23" fmla="*/ 374353 h 392326"/>
                  <a:gd name="connsiteX24" fmla="*/ 162575 w 332633"/>
                  <a:gd name="connsiteY24" fmla="*/ 382158 h 392326"/>
                  <a:gd name="connsiteX25" fmla="*/ 154797 w 332633"/>
                  <a:gd name="connsiteY25" fmla="*/ 391079 h 392326"/>
                  <a:gd name="connsiteX26" fmla="*/ 134670 w 332633"/>
                  <a:gd name="connsiteY26" fmla="*/ 391860 h 39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2633" h="392326">
                    <a:moveTo>
                      <a:pt x="134670" y="391860"/>
                    </a:moveTo>
                    <a:cubicBezTo>
                      <a:pt x="96200" y="391860"/>
                      <a:pt x="68323" y="383217"/>
                      <a:pt x="47806" y="365153"/>
                    </a:cubicBezTo>
                    <a:cubicBezTo>
                      <a:pt x="18647" y="339451"/>
                      <a:pt x="4152" y="294458"/>
                      <a:pt x="-532" y="214619"/>
                    </a:cubicBezTo>
                    <a:cubicBezTo>
                      <a:pt x="-2316" y="183955"/>
                      <a:pt x="4597" y="160427"/>
                      <a:pt x="19930" y="144760"/>
                    </a:cubicBezTo>
                    <a:cubicBezTo>
                      <a:pt x="36656" y="127588"/>
                      <a:pt x="63975" y="119560"/>
                      <a:pt x="100717" y="120954"/>
                    </a:cubicBezTo>
                    <a:lnTo>
                      <a:pt x="179384" y="127532"/>
                    </a:lnTo>
                    <a:cubicBezTo>
                      <a:pt x="204864" y="131212"/>
                      <a:pt x="223262" y="151451"/>
                      <a:pt x="239486" y="169347"/>
                    </a:cubicBezTo>
                    <a:cubicBezTo>
                      <a:pt x="265412" y="197949"/>
                      <a:pt x="277064" y="207093"/>
                      <a:pt x="297024" y="189530"/>
                    </a:cubicBezTo>
                    <a:cubicBezTo>
                      <a:pt x="308565" y="179328"/>
                      <a:pt x="314475" y="168734"/>
                      <a:pt x="315032" y="157081"/>
                    </a:cubicBezTo>
                    <a:cubicBezTo>
                      <a:pt x="316426" y="129651"/>
                      <a:pt x="287658" y="98596"/>
                      <a:pt x="262234" y="71166"/>
                    </a:cubicBezTo>
                    <a:cubicBezTo>
                      <a:pt x="242386" y="49701"/>
                      <a:pt x="223653" y="29462"/>
                      <a:pt x="218300" y="10673"/>
                    </a:cubicBezTo>
                    <a:cubicBezTo>
                      <a:pt x="216767" y="6325"/>
                      <a:pt x="219058" y="1530"/>
                      <a:pt x="223413" y="24"/>
                    </a:cubicBezTo>
                    <a:cubicBezTo>
                      <a:pt x="227773" y="-1537"/>
                      <a:pt x="232545" y="749"/>
                      <a:pt x="234079" y="5098"/>
                    </a:cubicBezTo>
                    <a:cubicBezTo>
                      <a:pt x="234190" y="5432"/>
                      <a:pt x="234285" y="5767"/>
                      <a:pt x="234357" y="6101"/>
                    </a:cubicBezTo>
                    <a:cubicBezTo>
                      <a:pt x="238650" y="21043"/>
                      <a:pt x="256045" y="39888"/>
                      <a:pt x="274500" y="59792"/>
                    </a:cubicBezTo>
                    <a:cubicBezTo>
                      <a:pt x="302377" y="89620"/>
                      <a:pt x="333487" y="123462"/>
                      <a:pt x="331758" y="157974"/>
                    </a:cubicBezTo>
                    <a:cubicBezTo>
                      <a:pt x="330922" y="174086"/>
                      <a:pt x="322950" y="188917"/>
                      <a:pt x="308063" y="202075"/>
                    </a:cubicBezTo>
                    <a:cubicBezTo>
                      <a:pt x="273887" y="232237"/>
                      <a:pt x="247905" y="203580"/>
                      <a:pt x="227054" y="180610"/>
                    </a:cubicBezTo>
                    <a:cubicBezTo>
                      <a:pt x="212056" y="163884"/>
                      <a:pt x="196501" y="147158"/>
                      <a:pt x="177489" y="144147"/>
                    </a:cubicBezTo>
                    <a:lnTo>
                      <a:pt x="99713" y="137679"/>
                    </a:lnTo>
                    <a:cubicBezTo>
                      <a:pt x="68156" y="136453"/>
                      <a:pt x="45298" y="142809"/>
                      <a:pt x="31917" y="156468"/>
                    </a:cubicBezTo>
                    <a:cubicBezTo>
                      <a:pt x="19762" y="168790"/>
                      <a:pt x="14633" y="187523"/>
                      <a:pt x="16194" y="213671"/>
                    </a:cubicBezTo>
                    <a:cubicBezTo>
                      <a:pt x="20599" y="288492"/>
                      <a:pt x="33366" y="330029"/>
                      <a:pt x="58846" y="352441"/>
                    </a:cubicBezTo>
                    <a:cubicBezTo>
                      <a:pt x="79251" y="370394"/>
                      <a:pt x="109414" y="377363"/>
                      <a:pt x="153626" y="374353"/>
                    </a:cubicBezTo>
                    <a:cubicBezTo>
                      <a:pt x="158243" y="374018"/>
                      <a:pt x="162251" y="377531"/>
                      <a:pt x="162575" y="382158"/>
                    </a:cubicBezTo>
                    <a:cubicBezTo>
                      <a:pt x="162898" y="386730"/>
                      <a:pt x="159413" y="390744"/>
                      <a:pt x="154797" y="391079"/>
                    </a:cubicBezTo>
                    <a:cubicBezTo>
                      <a:pt x="147884" y="391636"/>
                      <a:pt x="140970" y="391860"/>
                      <a:pt x="134670" y="391860"/>
                    </a:cubicBezTo>
                    <a:close/>
                  </a:path>
                </a:pathLst>
              </a:custGeom>
              <a:solidFill>
                <a:srgbClr val="30373B"/>
              </a:solidFill>
              <a:ln w="5573" cap="flat">
                <a:noFill/>
                <a:prstDash val="solid"/>
                <a:miter/>
              </a:ln>
            </p:spPr>
            <p:txBody>
              <a:bodyPr rtlCol="0" anchor="ctr"/>
              <a:lstStyle/>
              <a:p>
                <a:endParaRPr lang="en-GB"/>
              </a:p>
            </p:txBody>
          </p:sp>
          <p:sp>
            <p:nvSpPr>
              <p:cNvPr id="151" name="Graphic 6">
                <a:extLst>
                  <a:ext uri="{FF2B5EF4-FFF2-40B4-BE49-F238E27FC236}">
                    <a16:creationId xmlns:a16="http://schemas.microsoft.com/office/drawing/2014/main" id="{C2EAE209-1954-9BDA-04CF-F57996662402}"/>
                  </a:ext>
                </a:extLst>
              </p:cNvPr>
              <p:cNvSpPr/>
              <p:nvPr/>
            </p:nvSpPr>
            <p:spPr>
              <a:xfrm>
                <a:off x="7553074" y="3241807"/>
                <a:ext cx="1224846" cy="352027"/>
              </a:xfrm>
              <a:custGeom>
                <a:avLst/>
                <a:gdLst>
                  <a:gd name="connsiteX0" fmla="*/ 1153066 w 1224846"/>
                  <a:gd name="connsiteY0" fmla="*/ 351560 h 352027"/>
                  <a:gd name="connsiteX1" fmla="*/ 7556 w 1224846"/>
                  <a:gd name="connsiteY1" fmla="*/ 351560 h 352027"/>
                  <a:gd name="connsiteX2" fmla="*/ -807 w 1224846"/>
                  <a:gd name="connsiteY2" fmla="*/ 343197 h 352027"/>
                  <a:gd name="connsiteX3" fmla="*/ 7556 w 1224846"/>
                  <a:gd name="connsiteY3" fmla="*/ 334834 h 352027"/>
                  <a:gd name="connsiteX4" fmla="*/ 1153066 w 1224846"/>
                  <a:gd name="connsiteY4" fmla="*/ 334834 h 352027"/>
                  <a:gd name="connsiteX5" fmla="*/ 1207314 w 1224846"/>
                  <a:gd name="connsiteY5" fmla="*/ 280586 h 352027"/>
                  <a:gd name="connsiteX6" fmla="*/ 1207314 w 1224846"/>
                  <a:gd name="connsiteY6" fmla="*/ 7896 h 352027"/>
                  <a:gd name="connsiteX7" fmla="*/ 1215677 w 1224846"/>
                  <a:gd name="connsiteY7" fmla="*/ -467 h 352027"/>
                  <a:gd name="connsiteX8" fmla="*/ 1224040 w 1224846"/>
                  <a:gd name="connsiteY8" fmla="*/ 7896 h 352027"/>
                  <a:gd name="connsiteX9" fmla="*/ 1224040 w 1224846"/>
                  <a:gd name="connsiteY9" fmla="*/ 280586 h 352027"/>
                  <a:gd name="connsiteX10" fmla="*/ 1153066 w 1224846"/>
                  <a:gd name="connsiteY10" fmla="*/ 351560 h 35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846" h="352027">
                    <a:moveTo>
                      <a:pt x="1153066" y="351560"/>
                    </a:moveTo>
                    <a:lnTo>
                      <a:pt x="7556" y="351560"/>
                    </a:lnTo>
                    <a:cubicBezTo>
                      <a:pt x="2928" y="351560"/>
                      <a:pt x="-807" y="347814"/>
                      <a:pt x="-807" y="343197"/>
                    </a:cubicBezTo>
                    <a:cubicBezTo>
                      <a:pt x="-807" y="338581"/>
                      <a:pt x="2928" y="334834"/>
                      <a:pt x="7556" y="334834"/>
                    </a:cubicBezTo>
                    <a:lnTo>
                      <a:pt x="1153066" y="334834"/>
                    </a:lnTo>
                    <a:cubicBezTo>
                      <a:pt x="1183005" y="334834"/>
                      <a:pt x="1207314" y="310548"/>
                      <a:pt x="1207314" y="280586"/>
                    </a:cubicBezTo>
                    <a:lnTo>
                      <a:pt x="1207314" y="7896"/>
                    </a:lnTo>
                    <a:cubicBezTo>
                      <a:pt x="1207314" y="3280"/>
                      <a:pt x="1211049" y="-467"/>
                      <a:pt x="1215677" y="-467"/>
                    </a:cubicBezTo>
                    <a:cubicBezTo>
                      <a:pt x="1220305" y="-467"/>
                      <a:pt x="1224040" y="3280"/>
                      <a:pt x="1224040" y="7896"/>
                    </a:cubicBezTo>
                    <a:lnTo>
                      <a:pt x="1224040" y="280586"/>
                    </a:lnTo>
                    <a:cubicBezTo>
                      <a:pt x="1223984" y="319770"/>
                      <a:pt x="1192260" y="351532"/>
                      <a:pt x="1153066" y="351560"/>
                    </a:cubicBezTo>
                    <a:close/>
                  </a:path>
                </a:pathLst>
              </a:custGeom>
              <a:solidFill>
                <a:srgbClr val="30373B"/>
              </a:solidFill>
              <a:ln w="5573" cap="flat">
                <a:noFill/>
                <a:prstDash val="solid"/>
                <a:miter/>
              </a:ln>
            </p:spPr>
            <p:txBody>
              <a:bodyPr rtlCol="0" anchor="ctr"/>
              <a:lstStyle/>
              <a:p>
                <a:endParaRPr lang="en-GB"/>
              </a:p>
            </p:txBody>
          </p:sp>
          <p:sp>
            <p:nvSpPr>
              <p:cNvPr id="152" name="Graphic 6">
                <a:extLst>
                  <a:ext uri="{FF2B5EF4-FFF2-40B4-BE49-F238E27FC236}">
                    <a16:creationId xmlns:a16="http://schemas.microsoft.com/office/drawing/2014/main" id="{772CFDFF-A4F1-EFAF-D425-E66F5421D643}"/>
                  </a:ext>
                </a:extLst>
              </p:cNvPr>
              <p:cNvSpPr/>
              <p:nvPr/>
            </p:nvSpPr>
            <p:spPr>
              <a:xfrm>
                <a:off x="7553074" y="3106326"/>
                <a:ext cx="1224567" cy="329614"/>
              </a:xfrm>
              <a:custGeom>
                <a:avLst/>
                <a:gdLst>
                  <a:gd name="connsiteX0" fmla="*/ 7556 w 1224567"/>
                  <a:gd name="connsiteY0" fmla="*/ 329147 h 329614"/>
                  <a:gd name="connsiteX1" fmla="*/ -807 w 1224567"/>
                  <a:gd name="connsiteY1" fmla="*/ 320784 h 329614"/>
                  <a:gd name="connsiteX2" fmla="*/ -807 w 1224567"/>
                  <a:gd name="connsiteY2" fmla="*/ 61419 h 329614"/>
                  <a:gd name="connsiteX3" fmla="*/ 61303 w 1224567"/>
                  <a:gd name="connsiteY3" fmla="*/ -467 h 329614"/>
                  <a:gd name="connsiteX4" fmla="*/ 1215398 w 1224567"/>
                  <a:gd name="connsiteY4" fmla="*/ -467 h 329614"/>
                  <a:gd name="connsiteX5" fmla="*/ 1223761 w 1224567"/>
                  <a:gd name="connsiteY5" fmla="*/ 7896 h 329614"/>
                  <a:gd name="connsiteX6" fmla="*/ 1215398 w 1224567"/>
                  <a:gd name="connsiteY6" fmla="*/ 16259 h 329614"/>
                  <a:gd name="connsiteX7" fmla="*/ 61303 w 1224567"/>
                  <a:gd name="connsiteY7" fmla="*/ 16259 h 329614"/>
                  <a:gd name="connsiteX8" fmla="*/ 15919 w 1224567"/>
                  <a:gd name="connsiteY8" fmla="*/ 61643 h 329614"/>
                  <a:gd name="connsiteX9" fmla="*/ 15919 w 1224567"/>
                  <a:gd name="connsiteY9" fmla="*/ 321007 h 329614"/>
                  <a:gd name="connsiteX10" fmla="*/ 7556 w 1224567"/>
                  <a:gd name="connsiteY10" fmla="*/ 329147 h 32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67" h="329614">
                    <a:moveTo>
                      <a:pt x="7556" y="329147"/>
                    </a:moveTo>
                    <a:cubicBezTo>
                      <a:pt x="2928" y="329147"/>
                      <a:pt x="-807" y="325401"/>
                      <a:pt x="-807" y="320784"/>
                    </a:cubicBezTo>
                    <a:lnTo>
                      <a:pt x="-807" y="61419"/>
                    </a:lnTo>
                    <a:cubicBezTo>
                      <a:pt x="-640" y="27232"/>
                      <a:pt x="27126" y="-406"/>
                      <a:pt x="61303" y="-467"/>
                    </a:cubicBezTo>
                    <a:lnTo>
                      <a:pt x="1215398" y="-467"/>
                    </a:lnTo>
                    <a:cubicBezTo>
                      <a:pt x="1220026" y="-467"/>
                      <a:pt x="1223761" y="3280"/>
                      <a:pt x="1223761" y="7896"/>
                    </a:cubicBezTo>
                    <a:cubicBezTo>
                      <a:pt x="1223761" y="12513"/>
                      <a:pt x="1220026" y="16259"/>
                      <a:pt x="1215398" y="16259"/>
                    </a:cubicBezTo>
                    <a:lnTo>
                      <a:pt x="61303" y="16259"/>
                    </a:lnTo>
                    <a:cubicBezTo>
                      <a:pt x="36269" y="16287"/>
                      <a:pt x="15975" y="36592"/>
                      <a:pt x="15919" y="61643"/>
                    </a:cubicBezTo>
                    <a:lnTo>
                      <a:pt x="15919" y="321007"/>
                    </a:lnTo>
                    <a:cubicBezTo>
                      <a:pt x="15808" y="325540"/>
                      <a:pt x="12072" y="329147"/>
                      <a:pt x="7556" y="329147"/>
                    </a:cubicBezTo>
                    <a:close/>
                  </a:path>
                </a:pathLst>
              </a:custGeom>
              <a:solidFill>
                <a:srgbClr val="30373B"/>
              </a:solidFill>
              <a:ln w="5573" cap="flat">
                <a:noFill/>
                <a:prstDash val="solid"/>
                <a:miter/>
              </a:ln>
            </p:spPr>
            <p:txBody>
              <a:bodyPr rtlCol="0" anchor="ctr"/>
              <a:lstStyle/>
              <a:p>
                <a:endParaRPr lang="en-GB"/>
              </a:p>
            </p:txBody>
          </p:sp>
          <p:sp>
            <p:nvSpPr>
              <p:cNvPr id="153" name="Graphic 6">
                <a:extLst>
                  <a:ext uri="{FF2B5EF4-FFF2-40B4-BE49-F238E27FC236}">
                    <a16:creationId xmlns:a16="http://schemas.microsoft.com/office/drawing/2014/main" id="{C5B49811-C597-7DF6-98BC-8F4F5E1FDB84}"/>
                  </a:ext>
                </a:extLst>
              </p:cNvPr>
              <p:cNvSpPr/>
              <p:nvPr/>
            </p:nvSpPr>
            <p:spPr>
              <a:xfrm>
                <a:off x="5950275" y="3095175"/>
                <a:ext cx="1224846" cy="487730"/>
              </a:xfrm>
              <a:custGeom>
                <a:avLst/>
                <a:gdLst>
                  <a:gd name="connsiteX0" fmla="*/ 1138068 w 1224846"/>
                  <a:gd name="connsiteY0" fmla="*/ 487264 h 487730"/>
                  <a:gd name="connsiteX1" fmla="*/ 85221 w 1224846"/>
                  <a:gd name="connsiteY1" fmla="*/ 487264 h 487730"/>
                  <a:gd name="connsiteX2" fmla="*/ -807 w 1224846"/>
                  <a:gd name="connsiteY2" fmla="*/ 401236 h 487730"/>
                  <a:gd name="connsiteX3" fmla="*/ -807 w 1224846"/>
                  <a:gd name="connsiteY3" fmla="*/ 85505 h 487730"/>
                  <a:gd name="connsiteX4" fmla="*/ 85221 w 1224846"/>
                  <a:gd name="connsiteY4" fmla="*/ -467 h 487730"/>
                  <a:gd name="connsiteX5" fmla="*/ 1138068 w 1224846"/>
                  <a:gd name="connsiteY5" fmla="*/ -467 h 487730"/>
                  <a:gd name="connsiteX6" fmla="*/ 1224040 w 1224846"/>
                  <a:gd name="connsiteY6" fmla="*/ 85505 h 487730"/>
                  <a:gd name="connsiteX7" fmla="*/ 1224040 w 1224846"/>
                  <a:gd name="connsiteY7" fmla="*/ 401236 h 487730"/>
                  <a:gd name="connsiteX8" fmla="*/ 1138068 w 1224846"/>
                  <a:gd name="connsiteY8" fmla="*/ 487264 h 487730"/>
                  <a:gd name="connsiteX9" fmla="*/ 85221 w 1224846"/>
                  <a:gd name="connsiteY9" fmla="*/ 16259 h 487730"/>
                  <a:gd name="connsiteX10" fmla="*/ 15919 w 1224846"/>
                  <a:gd name="connsiteY10" fmla="*/ 85561 h 487730"/>
                  <a:gd name="connsiteX11" fmla="*/ 15919 w 1224846"/>
                  <a:gd name="connsiteY11" fmla="*/ 401292 h 487730"/>
                  <a:gd name="connsiteX12" fmla="*/ 85221 w 1224846"/>
                  <a:gd name="connsiteY12" fmla="*/ 470594 h 487730"/>
                  <a:gd name="connsiteX13" fmla="*/ 1138068 w 1224846"/>
                  <a:gd name="connsiteY13" fmla="*/ 470594 h 487730"/>
                  <a:gd name="connsiteX14" fmla="*/ 1207314 w 1224846"/>
                  <a:gd name="connsiteY14" fmla="*/ 401236 h 487730"/>
                  <a:gd name="connsiteX15" fmla="*/ 1207314 w 1224846"/>
                  <a:gd name="connsiteY15" fmla="*/ 85505 h 487730"/>
                  <a:gd name="connsiteX16" fmla="*/ 1138068 w 1224846"/>
                  <a:gd name="connsiteY16" fmla="*/ 16259 h 48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4846" h="487730">
                    <a:moveTo>
                      <a:pt x="1138068" y="487264"/>
                    </a:moveTo>
                    <a:lnTo>
                      <a:pt x="85221" y="487264"/>
                    </a:lnTo>
                    <a:cubicBezTo>
                      <a:pt x="37736" y="487203"/>
                      <a:pt x="-745" y="448722"/>
                      <a:pt x="-807" y="401236"/>
                    </a:cubicBezTo>
                    <a:lnTo>
                      <a:pt x="-807" y="85505"/>
                    </a:lnTo>
                    <a:cubicBezTo>
                      <a:pt x="-712" y="38042"/>
                      <a:pt x="37758" y="-406"/>
                      <a:pt x="85221" y="-467"/>
                    </a:cubicBezTo>
                    <a:lnTo>
                      <a:pt x="1138068" y="-467"/>
                    </a:lnTo>
                    <a:cubicBezTo>
                      <a:pt x="1185514" y="-378"/>
                      <a:pt x="1223928" y="38064"/>
                      <a:pt x="1224040" y="85505"/>
                    </a:cubicBezTo>
                    <a:lnTo>
                      <a:pt x="1224040" y="401236"/>
                    </a:lnTo>
                    <a:cubicBezTo>
                      <a:pt x="1223984" y="448699"/>
                      <a:pt x="1185514" y="487169"/>
                      <a:pt x="1138068" y="487264"/>
                    </a:cubicBezTo>
                    <a:close/>
                    <a:moveTo>
                      <a:pt x="85221" y="16259"/>
                    </a:moveTo>
                    <a:cubicBezTo>
                      <a:pt x="46957" y="16287"/>
                      <a:pt x="15947" y="47297"/>
                      <a:pt x="15919" y="85561"/>
                    </a:cubicBezTo>
                    <a:lnTo>
                      <a:pt x="15919" y="401292"/>
                    </a:lnTo>
                    <a:cubicBezTo>
                      <a:pt x="15947" y="439556"/>
                      <a:pt x="46957" y="470560"/>
                      <a:pt x="85221" y="470594"/>
                    </a:cubicBezTo>
                    <a:lnTo>
                      <a:pt x="1138068" y="470594"/>
                    </a:lnTo>
                    <a:cubicBezTo>
                      <a:pt x="1176315" y="470499"/>
                      <a:pt x="1207258" y="439483"/>
                      <a:pt x="1207314" y="401236"/>
                    </a:cubicBezTo>
                    <a:lnTo>
                      <a:pt x="1207314" y="85505"/>
                    </a:lnTo>
                    <a:cubicBezTo>
                      <a:pt x="1207202" y="47297"/>
                      <a:pt x="1176260" y="16348"/>
                      <a:pt x="1138068" y="16259"/>
                    </a:cubicBezTo>
                    <a:close/>
                  </a:path>
                </a:pathLst>
              </a:custGeom>
              <a:solidFill>
                <a:srgbClr val="30373B"/>
              </a:solidFill>
              <a:ln w="5573" cap="flat">
                <a:noFill/>
                <a:prstDash val="solid"/>
                <a:miter/>
              </a:ln>
            </p:spPr>
            <p:txBody>
              <a:bodyPr rtlCol="0" anchor="ctr"/>
              <a:lstStyle/>
              <a:p>
                <a:endParaRPr lang="en-GB"/>
              </a:p>
            </p:txBody>
          </p:sp>
          <p:sp>
            <p:nvSpPr>
              <p:cNvPr id="154" name="Graphic 6">
                <a:extLst>
                  <a:ext uri="{FF2B5EF4-FFF2-40B4-BE49-F238E27FC236}">
                    <a16:creationId xmlns:a16="http://schemas.microsoft.com/office/drawing/2014/main" id="{FD65E1A1-A2DC-C6C4-93DA-67BA287CB0E8}"/>
                  </a:ext>
                </a:extLst>
              </p:cNvPr>
              <p:cNvSpPr/>
              <p:nvPr/>
            </p:nvSpPr>
            <p:spPr>
              <a:xfrm>
                <a:off x="5934887" y="4965479"/>
                <a:ext cx="397521" cy="397521"/>
              </a:xfrm>
              <a:custGeom>
                <a:avLst/>
                <a:gdLst>
                  <a:gd name="connsiteX0" fmla="*/ 197954 w 397521"/>
                  <a:gd name="connsiteY0" fmla="*/ 397055 h 397521"/>
                  <a:gd name="connsiteX1" fmla="*/ -807 w 397521"/>
                  <a:gd name="connsiteY1" fmla="*/ 198294 h 397521"/>
                  <a:gd name="connsiteX2" fmla="*/ 197954 w 397521"/>
                  <a:gd name="connsiteY2" fmla="*/ -467 h 397521"/>
                  <a:gd name="connsiteX3" fmla="*/ 396715 w 397521"/>
                  <a:gd name="connsiteY3" fmla="*/ 198294 h 397521"/>
                  <a:gd name="connsiteX4" fmla="*/ 197954 w 397521"/>
                  <a:gd name="connsiteY4" fmla="*/ 397055 h 397521"/>
                  <a:gd name="connsiteX5" fmla="*/ 197954 w 397521"/>
                  <a:gd name="connsiteY5" fmla="*/ 16259 h 397521"/>
                  <a:gd name="connsiteX6" fmla="*/ 15919 w 397521"/>
                  <a:gd name="connsiteY6" fmla="*/ 198294 h 397521"/>
                  <a:gd name="connsiteX7" fmla="*/ 197954 w 397521"/>
                  <a:gd name="connsiteY7" fmla="*/ 380329 h 397521"/>
                  <a:gd name="connsiteX8" fmla="*/ 379989 w 397521"/>
                  <a:gd name="connsiteY8" fmla="*/ 198294 h 397521"/>
                  <a:gd name="connsiteX9" fmla="*/ 197954 w 397521"/>
                  <a:gd name="connsiteY9" fmla="*/ 16259 h 397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521" h="397521">
                    <a:moveTo>
                      <a:pt x="197954" y="397055"/>
                    </a:moveTo>
                    <a:cubicBezTo>
                      <a:pt x="88181" y="397055"/>
                      <a:pt x="-807" y="308072"/>
                      <a:pt x="-807" y="198294"/>
                    </a:cubicBezTo>
                    <a:cubicBezTo>
                      <a:pt x="-807" y="88521"/>
                      <a:pt x="88181" y="-467"/>
                      <a:pt x="197954" y="-467"/>
                    </a:cubicBezTo>
                    <a:cubicBezTo>
                      <a:pt x="307733" y="-467"/>
                      <a:pt x="396715" y="88521"/>
                      <a:pt x="396715" y="198294"/>
                    </a:cubicBezTo>
                    <a:cubicBezTo>
                      <a:pt x="396603" y="308017"/>
                      <a:pt x="307677" y="396943"/>
                      <a:pt x="197954" y="397055"/>
                    </a:cubicBezTo>
                    <a:close/>
                    <a:moveTo>
                      <a:pt x="197954" y="16259"/>
                    </a:moveTo>
                    <a:cubicBezTo>
                      <a:pt x="97420" y="16259"/>
                      <a:pt x="15919" y="97759"/>
                      <a:pt x="15919" y="198294"/>
                    </a:cubicBezTo>
                    <a:cubicBezTo>
                      <a:pt x="15919" y="298817"/>
                      <a:pt x="97420" y="380329"/>
                      <a:pt x="197954" y="380329"/>
                    </a:cubicBezTo>
                    <a:cubicBezTo>
                      <a:pt x="298478" y="380329"/>
                      <a:pt x="379989" y="298817"/>
                      <a:pt x="379989" y="198294"/>
                    </a:cubicBezTo>
                    <a:cubicBezTo>
                      <a:pt x="379877" y="97799"/>
                      <a:pt x="298478" y="16354"/>
                      <a:pt x="197954" y="16259"/>
                    </a:cubicBezTo>
                    <a:close/>
                  </a:path>
                </a:pathLst>
              </a:custGeom>
              <a:solidFill>
                <a:srgbClr val="30373B"/>
              </a:solidFill>
              <a:ln w="5573" cap="flat">
                <a:noFill/>
                <a:prstDash val="solid"/>
                <a:miter/>
              </a:ln>
            </p:spPr>
            <p:txBody>
              <a:bodyPr rtlCol="0" anchor="ctr"/>
              <a:lstStyle/>
              <a:p>
                <a:endParaRPr lang="en-GB"/>
              </a:p>
            </p:txBody>
          </p:sp>
          <p:sp>
            <p:nvSpPr>
              <p:cNvPr id="155" name="Graphic 6">
                <a:extLst>
                  <a:ext uri="{FF2B5EF4-FFF2-40B4-BE49-F238E27FC236}">
                    <a16:creationId xmlns:a16="http://schemas.microsoft.com/office/drawing/2014/main" id="{59F5958D-62C2-9DCE-1398-872C12EEAEC2}"/>
                  </a:ext>
                </a:extLst>
              </p:cNvPr>
              <p:cNvSpPr/>
              <p:nvPr/>
            </p:nvSpPr>
            <p:spPr>
              <a:xfrm>
                <a:off x="6125285" y="4965702"/>
                <a:ext cx="16726" cy="222901"/>
              </a:xfrm>
              <a:custGeom>
                <a:avLst/>
                <a:gdLst>
                  <a:gd name="connsiteX0" fmla="*/ 7556 w 16726"/>
                  <a:gd name="connsiteY0" fmla="*/ 222435 h 222901"/>
                  <a:gd name="connsiteX1" fmla="*/ -807 w 16726"/>
                  <a:gd name="connsiteY1" fmla="*/ 214072 h 222901"/>
                  <a:gd name="connsiteX2" fmla="*/ -807 w 16726"/>
                  <a:gd name="connsiteY2" fmla="*/ 7896 h 222901"/>
                  <a:gd name="connsiteX3" fmla="*/ 7556 w 16726"/>
                  <a:gd name="connsiteY3" fmla="*/ -467 h 222901"/>
                  <a:gd name="connsiteX4" fmla="*/ 15919 w 16726"/>
                  <a:gd name="connsiteY4" fmla="*/ 7896 h 222901"/>
                  <a:gd name="connsiteX5" fmla="*/ 15919 w 16726"/>
                  <a:gd name="connsiteY5" fmla="*/ 214184 h 222901"/>
                  <a:gd name="connsiteX6" fmla="*/ 7556 w 16726"/>
                  <a:gd name="connsiteY6" fmla="*/ 222435 h 22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222901">
                    <a:moveTo>
                      <a:pt x="7556" y="222435"/>
                    </a:moveTo>
                    <a:cubicBezTo>
                      <a:pt x="2940" y="222435"/>
                      <a:pt x="-807" y="218689"/>
                      <a:pt x="-807" y="214072"/>
                    </a:cubicBezTo>
                    <a:lnTo>
                      <a:pt x="-807" y="7896"/>
                    </a:lnTo>
                    <a:cubicBezTo>
                      <a:pt x="-807" y="3280"/>
                      <a:pt x="2940" y="-467"/>
                      <a:pt x="7556" y="-467"/>
                    </a:cubicBezTo>
                    <a:cubicBezTo>
                      <a:pt x="12173" y="-467"/>
                      <a:pt x="15919" y="3280"/>
                      <a:pt x="15919" y="7896"/>
                    </a:cubicBezTo>
                    <a:lnTo>
                      <a:pt x="15919" y="214184"/>
                    </a:lnTo>
                    <a:cubicBezTo>
                      <a:pt x="15858" y="218761"/>
                      <a:pt x="12134" y="222435"/>
                      <a:pt x="7556" y="222435"/>
                    </a:cubicBezTo>
                    <a:close/>
                  </a:path>
                </a:pathLst>
              </a:custGeom>
              <a:solidFill>
                <a:srgbClr val="30373B"/>
              </a:solidFill>
              <a:ln w="5573" cap="flat">
                <a:noFill/>
                <a:prstDash val="solid"/>
                <a:miter/>
              </a:ln>
            </p:spPr>
            <p:txBody>
              <a:bodyPr rtlCol="0" anchor="ctr"/>
              <a:lstStyle/>
              <a:p>
                <a:endParaRPr lang="en-GB"/>
              </a:p>
            </p:txBody>
          </p:sp>
          <p:sp>
            <p:nvSpPr>
              <p:cNvPr id="156" name="Graphic 6">
                <a:extLst>
                  <a:ext uri="{FF2B5EF4-FFF2-40B4-BE49-F238E27FC236}">
                    <a16:creationId xmlns:a16="http://schemas.microsoft.com/office/drawing/2014/main" id="{F29B8B62-B93C-4A69-2F15-6E427AEED4A9}"/>
                  </a:ext>
                </a:extLst>
              </p:cNvPr>
              <p:cNvSpPr/>
              <p:nvPr/>
            </p:nvSpPr>
            <p:spPr>
              <a:xfrm>
                <a:off x="7561716" y="4965367"/>
                <a:ext cx="397633" cy="397633"/>
              </a:xfrm>
              <a:custGeom>
                <a:avLst/>
                <a:gdLst>
                  <a:gd name="connsiteX0" fmla="*/ 198010 w 397633"/>
                  <a:gd name="connsiteY0" fmla="*/ 397167 h 397633"/>
                  <a:gd name="connsiteX1" fmla="*/ -807 w 397633"/>
                  <a:gd name="connsiteY1" fmla="*/ 198350 h 397633"/>
                  <a:gd name="connsiteX2" fmla="*/ 198010 w 397633"/>
                  <a:gd name="connsiteY2" fmla="*/ -467 h 397633"/>
                  <a:gd name="connsiteX3" fmla="*/ 396827 w 397633"/>
                  <a:gd name="connsiteY3" fmla="*/ 198350 h 397633"/>
                  <a:gd name="connsiteX4" fmla="*/ 237762 w 397633"/>
                  <a:gd name="connsiteY4" fmla="*/ 393152 h 397633"/>
                  <a:gd name="connsiteX5" fmla="*/ 237762 w 397633"/>
                  <a:gd name="connsiteY5" fmla="*/ 393152 h 397633"/>
                  <a:gd name="connsiteX6" fmla="*/ 198010 w 397633"/>
                  <a:gd name="connsiteY6" fmla="*/ 397167 h 397633"/>
                  <a:gd name="connsiteX7" fmla="*/ 236090 w 397633"/>
                  <a:gd name="connsiteY7" fmla="*/ 384957 h 397633"/>
                  <a:gd name="connsiteX8" fmla="*/ 236090 w 397633"/>
                  <a:gd name="connsiteY8" fmla="*/ 384957 h 397633"/>
                  <a:gd name="connsiteX9" fmla="*/ 198456 w 397633"/>
                  <a:gd name="connsiteY9" fmla="*/ 16315 h 397633"/>
                  <a:gd name="connsiteX10" fmla="*/ 16254 w 397633"/>
                  <a:gd name="connsiteY10" fmla="*/ 198171 h 397633"/>
                  <a:gd name="connsiteX11" fmla="*/ 198122 w 397633"/>
                  <a:gd name="connsiteY11" fmla="*/ 380385 h 397633"/>
                  <a:gd name="connsiteX12" fmla="*/ 234417 w 397633"/>
                  <a:gd name="connsiteY12" fmla="*/ 376761 h 397633"/>
                  <a:gd name="connsiteX13" fmla="*/ 234417 w 397633"/>
                  <a:gd name="connsiteY13" fmla="*/ 376761 h 397633"/>
                  <a:gd name="connsiteX14" fmla="*/ 376086 w 397633"/>
                  <a:gd name="connsiteY14" fmla="*/ 161720 h 397633"/>
                  <a:gd name="connsiteX15" fmla="*/ 198456 w 397633"/>
                  <a:gd name="connsiteY15" fmla="*/ 16315 h 39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7633" h="397633">
                    <a:moveTo>
                      <a:pt x="198010" y="397167"/>
                    </a:moveTo>
                    <a:cubicBezTo>
                      <a:pt x="88232" y="397167"/>
                      <a:pt x="-807" y="308128"/>
                      <a:pt x="-807" y="198350"/>
                    </a:cubicBezTo>
                    <a:cubicBezTo>
                      <a:pt x="-807" y="88544"/>
                      <a:pt x="88232" y="-467"/>
                      <a:pt x="198010" y="-467"/>
                    </a:cubicBezTo>
                    <a:cubicBezTo>
                      <a:pt x="307844" y="-467"/>
                      <a:pt x="396827" y="88549"/>
                      <a:pt x="396827" y="198350"/>
                    </a:cubicBezTo>
                    <a:cubicBezTo>
                      <a:pt x="396827" y="292852"/>
                      <a:pt x="330313" y="374252"/>
                      <a:pt x="237762" y="393152"/>
                    </a:cubicBezTo>
                    <a:lnTo>
                      <a:pt x="237762" y="393152"/>
                    </a:lnTo>
                    <a:cubicBezTo>
                      <a:pt x="224660" y="395828"/>
                      <a:pt x="211335" y="397167"/>
                      <a:pt x="198010" y="397167"/>
                    </a:cubicBezTo>
                    <a:close/>
                    <a:moveTo>
                      <a:pt x="236090" y="384957"/>
                    </a:moveTo>
                    <a:lnTo>
                      <a:pt x="236090" y="384957"/>
                    </a:lnTo>
                    <a:close/>
                    <a:moveTo>
                      <a:pt x="198456" y="16315"/>
                    </a:moveTo>
                    <a:cubicBezTo>
                      <a:pt x="97933" y="16215"/>
                      <a:pt x="16366" y="97637"/>
                      <a:pt x="16254" y="198171"/>
                    </a:cubicBezTo>
                    <a:cubicBezTo>
                      <a:pt x="16143" y="298706"/>
                      <a:pt x="97542" y="380273"/>
                      <a:pt x="198122" y="380385"/>
                    </a:cubicBezTo>
                    <a:cubicBezTo>
                      <a:pt x="210276" y="380385"/>
                      <a:pt x="222486" y="379158"/>
                      <a:pt x="234417" y="376761"/>
                    </a:cubicBezTo>
                    <a:lnTo>
                      <a:pt x="234417" y="376761"/>
                    </a:lnTo>
                    <a:cubicBezTo>
                      <a:pt x="332933" y="356522"/>
                      <a:pt x="396325" y="260236"/>
                      <a:pt x="376086" y="161720"/>
                    </a:cubicBezTo>
                    <a:cubicBezTo>
                      <a:pt x="358747" y="77331"/>
                      <a:pt x="284595" y="16661"/>
                      <a:pt x="198456" y="16315"/>
                    </a:cubicBezTo>
                    <a:close/>
                  </a:path>
                </a:pathLst>
              </a:custGeom>
              <a:solidFill>
                <a:srgbClr val="30373B"/>
              </a:solidFill>
              <a:ln w="5573" cap="flat">
                <a:noFill/>
                <a:prstDash val="solid"/>
                <a:miter/>
              </a:ln>
            </p:spPr>
            <p:txBody>
              <a:bodyPr rtlCol="0" anchor="ctr"/>
              <a:lstStyle/>
              <a:p>
                <a:endParaRPr lang="en-GB"/>
              </a:p>
            </p:txBody>
          </p:sp>
          <p:sp>
            <p:nvSpPr>
              <p:cNvPr id="157" name="Graphic 6">
                <a:extLst>
                  <a:ext uri="{FF2B5EF4-FFF2-40B4-BE49-F238E27FC236}">
                    <a16:creationId xmlns:a16="http://schemas.microsoft.com/office/drawing/2014/main" id="{FBB715B8-7FC2-54B4-790D-2F5D6F443C4A}"/>
                  </a:ext>
                </a:extLst>
              </p:cNvPr>
              <p:cNvSpPr/>
              <p:nvPr/>
            </p:nvSpPr>
            <p:spPr>
              <a:xfrm>
                <a:off x="7737233" y="5098055"/>
                <a:ext cx="213475" cy="79445"/>
              </a:xfrm>
              <a:custGeom>
                <a:avLst/>
                <a:gdLst>
                  <a:gd name="connsiteX0" fmla="*/ 7551 w 213475"/>
                  <a:gd name="connsiteY0" fmla="*/ 78931 h 79445"/>
                  <a:gd name="connsiteX1" fmla="*/ -421 w 213475"/>
                  <a:gd name="connsiteY1" fmla="*/ 73356 h 79445"/>
                  <a:gd name="connsiteX2" fmla="*/ 5154 w 213475"/>
                  <a:gd name="connsiteY2" fmla="*/ 62824 h 79445"/>
                  <a:gd name="connsiteX3" fmla="*/ 5154 w 213475"/>
                  <a:gd name="connsiteY3" fmla="*/ 62819 h 79445"/>
                  <a:gd name="connsiteX4" fmla="*/ 201741 w 213475"/>
                  <a:gd name="connsiteY4" fmla="*/ -71 h 79445"/>
                  <a:gd name="connsiteX5" fmla="*/ 212278 w 213475"/>
                  <a:gd name="connsiteY5" fmla="*/ 5365 h 79445"/>
                  <a:gd name="connsiteX6" fmla="*/ 206814 w 213475"/>
                  <a:gd name="connsiteY6" fmla="*/ 15874 h 79445"/>
                  <a:gd name="connsiteX7" fmla="*/ 10228 w 213475"/>
                  <a:gd name="connsiteY7" fmla="*/ 78764 h 79445"/>
                  <a:gd name="connsiteX8" fmla="*/ 7551 w 213475"/>
                  <a:gd name="connsiteY8" fmla="*/ 78931 h 7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475" h="79445">
                    <a:moveTo>
                      <a:pt x="7551" y="78931"/>
                    </a:moveTo>
                    <a:cubicBezTo>
                      <a:pt x="3983" y="78987"/>
                      <a:pt x="749" y="76740"/>
                      <a:pt x="-421" y="73356"/>
                    </a:cubicBezTo>
                    <a:cubicBezTo>
                      <a:pt x="-1815" y="68912"/>
                      <a:pt x="693" y="64201"/>
                      <a:pt x="5154" y="62824"/>
                    </a:cubicBezTo>
                    <a:cubicBezTo>
                      <a:pt x="5154" y="62824"/>
                      <a:pt x="5154" y="62819"/>
                      <a:pt x="5154" y="62819"/>
                    </a:cubicBezTo>
                    <a:lnTo>
                      <a:pt x="201741" y="-71"/>
                    </a:lnTo>
                    <a:cubicBezTo>
                      <a:pt x="206145" y="-1471"/>
                      <a:pt x="210828" y="960"/>
                      <a:pt x="212278" y="5365"/>
                    </a:cubicBezTo>
                    <a:cubicBezTo>
                      <a:pt x="213672" y="9769"/>
                      <a:pt x="211218" y="14475"/>
                      <a:pt x="206814" y="15874"/>
                    </a:cubicBezTo>
                    <a:lnTo>
                      <a:pt x="10228" y="78764"/>
                    </a:lnTo>
                    <a:cubicBezTo>
                      <a:pt x="9336" y="78970"/>
                      <a:pt x="8443" y="79032"/>
                      <a:pt x="7551" y="78931"/>
                    </a:cubicBezTo>
                    <a:close/>
                  </a:path>
                </a:pathLst>
              </a:custGeom>
              <a:solidFill>
                <a:srgbClr val="30373B"/>
              </a:solidFill>
              <a:ln w="5573" cap="flat">
                <a:noFill/>
                <a:prstDash val="solid"/>
                <a:miter/>
              </a:ln>
            </p:spPr>
            <p:txBody>
              <a:bodyPr rtlCol="0" anchor="ctr"/>
              <a:lstStyle/>
              <a:p>
                <a:endParaRPr lang="en-GB"/>
              </a:p>
            </p:txBody>
          </p:sp>
          <p:sp>
            <p:nvSpPr>
              <p:cNvPr id="158" name="Graphic 6">
                <a:extLst>
                  <a:ext uri="{FF2B5EF4-FFF2-40B4-BE49-F238E27FC236}">
                    <a16:creationId xmlns:a16="http://schemas.microsoft.com/office/drawing/2014/main" id="{05081FB0-7E93-9270-8DEA-322F065D2FC9}"/>
                  </a:ext>
                </a:extLst>
              </p:cNvPr>
              <p:cNvSpPr/>
              <p:nvPr/>
            </p:nvSpPr>
            <p:spPr>
              <a:xfrm>
                <a:off x="758373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59" name="Graphic 6">
                <a:extLst>
                  <a:ext uri="{FF2B5EF4-FFF2-40B4-BE49-F238E27FC236}">
                    <a16:creationId xmlns:a16="http://schemas.microsoft.com/office/drawing/2014/main" id="{AC70D441-3580-C155-181A-F1BEE9EA24DA}"/>
                  </a:ext>
                </a:extLst>
              </p:cNvPr>
              <p:cNvSpPr/>
              <p:nvPr/>
            </p:nvSpPr>
            <p:spPr>
              <a:xfrm>
                <a:off x="773159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0" name="Graphic 6">
                <a:extLst>
                  <a:ext uri="{FF2B5EF4-FFF2-40B4-BE49-F238E27FC236}">
                    <a16:creationId xmlns:a16="http://schemas.microsoft.com/office/drawing/2014/main" id="{A13C2BAC-BBEB-779E-F060-1302D14592EB}"/>
                  </a:ext>
                </a:extLst>
              </p:cNvPr>
              <p:cNvSpPr/>
              <p:nvPr/>
            </p:nvSpPr>
            <p:spPr>
              <a:xfrm>
                <a:off x="758373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61" name="Graphic 6">
                <a:extLst>
                  <a:ext uri="{FF2B5EF4-FFF2-40B4-BE49-F238E27FC236}">
                    <a16:creationId xmlns:a16="http://schemas.microsoft.com/office/drawing/2014/main" id="{03C59999-8B36-E529-C854-A1672085E4AD}"/>
                  </a:ext>
                </a:extLst>
              </p:cNvPr>
              <p:cNvSpPr/>
              <p:nvPr/>
            </p:nvSpPr>
            <p:spPr>
              <a:xfrm>
                <a:off x="773159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2" name="Graphic 6">
                <a:extLst>
                  <a:ext uri="{FF2B5EF4-FFF2-40B4-BE49-F238E27FC236}">
                    <a16:creationId xmlns:a16="http://schemas.microsoft.com/office/drawing/2014/main" id="{BAA04102-1EC3-4557-10BE-929B2E933932}"/>
                  </a:ext>
                </a:extLst>
              </p:cNvPr>
              <p:cNvSpPr/>
              <p:nvPr/>
            </p:nvSpPr>
            <p:spPr>
              <a:xfrm>
                <a:off x="787482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3" name="Graphic 6">
                <a:extLst>
                  <a:ext uri="{FF2B5EF4-FFF2-40B4-BE49-F238E27FC236}">
                    <a16:creationId xmlns:a16="http://schemas.microsoft.com/office/drawing/2014/main" id="{7C5103C9-158C-86CA-D34E-00BFE8E51BB8}"/>
                  </a:ext>
                </a:extLst>
              </p:cNvPr>
              <p:cNvSpPr/>
              <p:nvPr/>
            </p:nvSpPr>
            <p:spPr>
              <a:xfrm>
                <a:off x="787482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4" name="Graphic 6">
                <a:extLst>
                  <a:ext uri="{FF2B5EF4-FFF2-40B4-BE49-F238E27FC236}">
                    <a16:creationId xmlns:a16="http://schemas.microsoft.com/office/drawing/2014/main" id="{99240DF6-1060-A2D4-DE5D-B40A4A8CB191}"/>
                  </a:ext>
                </a:extLst>
              </p:cNvPr>
              <p:cNvSpPr/>
              <p:nvPr/>
            </p:nvSpPr>
            <p:spPr>
              <a:xfrm>
                <a:off x="8363171"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75"/>
                      <a:pt x="81374" y="105431"/>
                      <a:pt x="52159" y="105465"/>
                    </a:cubicBezTo>
                    <a:close/>
                    <a:moveTo>
                      <a:pt x="52159" y="16259"/>
                    </a:moveTo>
                    <a:cubicBezTo>
                      <a:pt x="32144" y="16259"/>
                      <a:pt x="15919" y="32484"/>
                      <a:pt x="15919" y="52499"/>
                    </a:cubicBezTo>
                    <a:cubicBezTo>
                      <a:pt x="15919" y="72515"/>
                      <a:pt x="32144" y="88739"/>
                      <a:pt x="52159" y="88739"/>
                    </a:cubicBezTo>
                    <a:cubicBezTo>
                      <a:pt x="72175" y="88739"/>
                      <a:pt x="88399" y="72515"/>
                      <a:pt x="88399" y="52499"/>
                    </a:cubicBezTo>
                    <a:cubicBezTo>
                      <a:pt x="88343" y="32517"/>
                      <a:pt x="72119" y="16343"/>
                      <a:pt x="52159" y="16315"/>
                    </a:cubicBezTo>
                    <a:close/>
                  </a:path>
                </a:pathLst>
              </a:custGeom>
              <a:solidFill>
                <a:srgbClr val="30373B"/>
              </a:solidFill>
              <a:ln w="5573" cap="flat">
                <a:noFill/>
                <a:prstDash val="solid"/>
                <a:miter/>
              </a:ln>
            </p:spPr>
            <p:txBody>
              <a:bodyPr rtlCol="0" anchor="ctr"/>
              <a:lstStyle/>
              <a:p>
                <a:endParaRPr lang="en-GB"/>
              </a:p>
            </p:txBody>
          </p:sp>
          <p:sp>
            <p:nvSpPr>
              <p:cNvPr id="165" name="Graphic 6">
                <a:extLst>
                  <a:ext uri="{FF2B5EF4-FFF2-40B4-BE49-F238E27FC236}">
                    <a16:creationId xmlns:a16="http://schemas.microsoft.com/office/drawing/2014/main" id="{89F7A2EF-9B56-85DF-7F4A-C3BFEA69F5F3}"/>
                  </a:ext>
                </a:extLst>
              </p:cNvPr>
              <p:cNvSpPr/>
              <p:nvPr/>
            </p:nvSpPr>
            <p:spPr>
              <a:xfrm>
                <a:off x="8510973"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6" name="Graphic 6">
                <a:extLst>
                  <a:ext uri="{FF2B5EF4-FFF2-40B4-BE49-F238E27FC236}">
                    <a16:creationId xmlns:a16="http://schemas.microsoft.com/office/drawing/2014/main" id="{E0E21293-F3A2-BF17-A728-384AFC198846}"/>
                  </a:ext>
                </a:extLst>
              </p:cNvPr>
              <p:cNvSpPr/>
              <p:nvPr/>
            </p:nvSpPr>
            <p:spPr>
              <a:xfrm>
                <a:off x="8363171"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09"/>
                      <a:pt x="52159" y="105465"/>
                    </a:cubicBezTo>
                    <a:close/>
                    <a:moveTo>
                      <a:pt x="52159" y="16259"/>
                    </a:moveTo>
                    <a:cubicBezTo>
                      <a:pt x="32144" y="16259"/>
                      <a:pt x="15919" y="32483"/>
                      <a:pt x="15919" y="52499"/>
                    </a:cubicBezTo>
                    <a:cubicBezTo>
                      <a:pt x="15919" y="72514"/>
                      <a:pt x="32144" y="88739"/>
                      <a:pt x="52159" y="88739"/>
                    </a:cubicBezTo>
                    <a:cubicBezTo>
                      <a:pt x="72175" y="88739"/>
                      <a:pt x="88399" y="72514"/>
                      <a:pt x="88399" y="52499"/>
                    </a:cubicBezTo>
                    <a:cubicBezTo>
                      <a:pt x="88343" y="32517"/>
                      <a:pt x="72119" y="16348"/>
                      <a:pt x="52159" y="16315"/>
                    </a:cubicBezTo>
                    <a:close/>
                  </a:path>
                </a:pathLst>
              </a:custGeom>
              <a:solidFill>
                <a:srgbClr val="30373B"/>
              </a:solidFill>
              <a:ln w="5573" cap="flat">
                <a:noFill/>
                <a:prstDash val="solid"/>
                <a:miter/>
              </a:ln>
            </p:spPr>
            <p:txBody>
              <a:bodyPr rtlCol="0" anchor="ctr"/>
              <a:lstStyle/>
              <a:p>
                <a:endParaRPr lang="en-GB"/>
              </a:p>
            </p:txBody>
          </p:sp>
          <p:sp>
            <p:nvSpPr>
              <p:cNvPr id="167" name="Graphic 6">
                <a:extLst>
                  <a:ext uri="{FF2B5EF4-FFF2-40B4-BE49-F238E27FC236}">
                    <a16:creationId xmlns:a16="http://schemas.microsoft.com/office/drawing/2014/main" id="{EC931154-82FA-79B5-2B4A-0A427A217C83}"/>
                  </a:ext>
                </a:extLst>
              </p:cNvPr>
              <p:cNvSpPr/>
              <p:nvPr/>
            </p:nvSpPr>
            <p:spPr>
              <a:xfrm>
                <a:off x="8510973"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8" name="Graphic 6">
                <a:extLst>
                  <a:ext uri="{FF2B5EF4-FFF2-40B4-BE49-F238E27FC236}">
                    <a16:creationId xmlns:a16="http://schemas.microsoft.com/office/drawing/2014/main" id="{E07FFE56-3ED4-8ED5-AC63-75BA28CD5DE4}"/>
                  </a:ext>
                </a:extLst>
              </p:cNvPr>
              <p:cNvSpPr/>
              <p:nvPr/>
            </p:nvSpPr>
            <p:spPr>
              <a:xfrm>
                <a:off x="8654204"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9" name="Graphic 6">
                <a:extLst>
                  <a:ext uri="{FF2B5EF4-FFF2-40B4-BE49-F238E27FC236}">
                    <a16:creationId xmlns:a16="http://schemas.microsoft.com/office/drawing/2014/main" id="{BF731D26-D8CC-6430-1C19-8E160BCBD667}"/>
                  </a:ext>
                </a:extLst>
              </p:cNvPr>
              <p:cNvSpPr/>
              <p:nvPr/>
            </p:nvSpPr>
            <p:spPr>
              <a:xfrm>
                <a:off x="6727032"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0" name="Graphic 6">
                <a:extLst>
                  <a:ext uri="{FF2B5EF4-FFF2-40B4-BE49-F238E27FC236}">
                    <a16:creationId xmlns:a16="http://schemas.microsoft.com/office/drawing/2014/main" id="{BDC8C544-47DC-BD8A-D3C9-6691FB2ABD84}"/>
                  </a:ext>
                </a:extLst>
              </p:cNvPr>
              <p:cNvSpPr/>
              <p:nvPr/>
            </p:nvSpPr>
            <p:spPr>
              <a:xfrm>
                <a:off x="687483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1" name="Graphic 6">
                <a:extLst>
                  <a:ext uri="{FF2B5EF4-FFF2-40B4-BE49-F238E27FC236}">
                    <a16:creationId xmlns:a16="http://schemas.microsoft.com/office/drawing/2014/main" id="{972A31E0-EF0F-E85B-B8CF-E1B960F7C069}"/>
                  </a:ext>
                </a:extLst>
              </p:cNvPr>
              <p:cNvSpPr/>
              <p:nvPr/>
            </p:nvSpPr>
            <p:spPr>
              <a:xfrm>
                <a:off x="6727032"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2" name="Graphic 6">
                <a:extLst>
                  <a:ext uri="{FF2B5EF4-FFF2-40B4-BE49-F238E27FC236}">
                    <a16:creationId xmlns:a16="http://schemas.microsoft.com/office/drawing/2014/main" id="{03D7B524-4354-DBCD-84F4-F3A0003332BD}"/>
                  </a:ext>
                </a:extLst>
              </p:cNvPr>
              <p:cNvSpPr/>
              <p:nvPr/>
            </p:nvSpPr>
            <p:spPr>
              <a:xfrm>
                <a:off x="6874834" y="5160895"/>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520"/>
                      <a:pt x="-751" y="81825"/>
                      <a:pt x="-807" y="52555"/>
                    </a:cubicBezTo>
                    <a:cubicBezTo>
                      <a:pt x="-862" y="23301"/>
                      <a:pt x="22833" y="-433"/>
                      <a:pt x="52103" y="-467"/>
                    </a:cubicBezTo>
                    <a:cubicBezTo>
                      <a:pt x="81374" y="-495"/>
                      <a:pt x="105069" y="23189"/>
                      <a:pt x="105125" y="52443"/>
                    </a:cubicBezTo>
                    <a:cubicBezTo>
                      <a:pt x="105125" y="52482"/>
                      <a:pt x="105125" y="52516"/>
                      <a:pt x="105125" y="52555"/>
                    </a:cubicBezTo>
                    <a:cubicBezTo>
                      <a:pt x="105069" y="81769"/>
                      <a:pt x="81430" y="105409"/>
                      <a:pt x="52215" y="105465"/>
                    </a:cubicBezTo>
                    <a:close/>
                    <a:moveTo>
                      <a:pt x="52215" y="16259"/>
                    </a:moveTo>
                    <a:cubicBezTo>
                      <a:pt x="32200" y="16231"/>
                      <a:pt x="15975" y="32428"/>
                      <a:pt x="15919" y="52443"/>
                    </a:cubicBezTo>
                    <a:cubicBezTo>
                      <a:pt x="15864" y="72459"/>
                      <a:pt x="32088" y="88683"/>
                      <a:pt x="52103" y="88739"/>
                    </a:cubicBezTo>
                    <a:cubicBezTo>
                      <a:pt x="72119" y="88794"/>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3" name="Graphic 6">
                <a:extLst>
                  <a:ext uri="{FF2B5EF4-FFF2-40B4-BE49-F238E27FC236}">
                    <a16:creationId xmlns:a16="http://schemas.microsoft.com/office/drawing/2014/main" id="{A74BBFD7-1801-F723-0FA0-FCC23BCF42E2}"/>
                  </a:ext>
                </a:extLst>
              </p:cNvPr>
              <p:cNvSpPr/>
              <p:nvPr/>
            </p:nvSpPr>
            <p:spPr>
              <a:xfrm>
                <a:off x="701806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28"/>
                      <a:pt x="72175" y="16343"/>
                      <a:pt x="52215" y="16315"/>
                    </a:cubicBezTo>
                    <a:close/>
                  </a:path>
                </a:pathLst>
              </a:custGeom>
              <a:solidFill>
                <a:srgbClr val="30373B"/>
              </a:solidFill>
              <a:ln w="5573" cap="flat">
                <a:noFill/>
                <a:prstDash val="solid"/>
                <a:miter/>
              </a:ln>
            </p:spPr>
            <p:txBody>
              <a:bodyPr rtlCol="0" anchor="ctr"/>
              <a:lstStyle/>
              <a:p>
                <a:endParaRPr lang="en-GB"/>
              </a:p>
            </p:txBody>
          </p:sp>
          <p:sp>
            <p:nvSpPr>
              <p:cNvPr id="174" name="Graphic 6">
                <a:extLst>
                  <a:ext uri="{FF2B5EF4-FFF2-40B4-BE49-F238E27FC236}">
                    <a16:creationId xmlns:a16="http://schemas.microsoft.com/office/drawing/2014/main" id="{2E89B292-B05E-6506-7831-2F010B4A5B22}"/>
                  </a:ext>
                </a:extLst>
              </p:cNvPr>
              <p:cNvSpPr/>
              <p:nvPr/>
            </p:nvSpPr>
            <p:spPr>
              <a:xfrm>
                <a:off x="817901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5" name="Graphic 6">
                <a:extLst>
                  <a:ext uri="{FF2B5EF4-FFF2-40B4-BE49-F238E27FC236}">
                    <a16:creationId xmlns:a16="http://schemas.microsoft.com/office/drawing/2014/main" id="{0F1960ED-47BB-8E55-3780-5340ECEBF52F}"/>
                  </a:ext>
                </a:extLst>
              </p:cNvPr>
              <p:cNvSpPr/>
              <p:nvPr/>
            </p:nvSpPr>
            <p:spPr>
              <a:xfrm>
                <a:off x="817901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6" name="Graphic 6">
                <a:extLst>
                  <a:ext uri="{FF2B5EF4-FFF2-40B4-BE49-F238E27FC236}">
                    <a16:creationId xmlns:a16="http://schemas.microsoft.com/office/drawing/2014/main" id="{A3C0A4D2-8441-FD45-53C5-9F0AD6DC5A73}"/>
                  </a:ext>
                </a:extLst>
              </p:cNvPr>
              <p:cNvSpPr/>
              <p:nvPr/>
            </p:nvSpPr>
            <p:spPr>
              <a:xfrm>
                <a:off x="832224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7" name="Graphic 6">
                <a:extLst>
                  <a:ext uri="{FF2B5EF4-FFF2-40B4-BE49-F238E27FC236}">
                    <a16:creationId xmlns:a16="http://schemas.microsoft.com/office/drawing/2014/main" id="{55124754-62E9-14A9-B3AE-636B554B9163}"/>
                  </a:ext>
                </a:extLst>
              </p:cNvPr>
              <p:cNvSpPr/>
              <p:nvPr/>
            </p:nvSpPr>
            <p:spPr>
              <a:xfrm>
                <a:off x="832224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8" name="Graphic 6">
                <a:extLst>
                  <a:ext uri="{FF2B5EF4-FFF2-40B4-BE49-F238E27FC236}">
                    <a16:creationId xmlns:a16="http://schemas.microsoft.com/office/drawing/2014/main" id="{D42D56C1-7AD7-D874-68BB-628026D65A95}"/>
                  </a:ext>
                </a:extLst>
              </p:cNvPr>
              <p:cNvSpPr/>
              <p:nvPr/>
            </p:nvSpPr>
            <p:spPr>
              <a:xfrm>
                <a:off x="5931486"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1"/>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79" name="Graphic 6">
                <a:extLst>
                  <a:ext uri="{FF2B5EF4-FFF2-40B4-BE49-F238E27FC236}">
                    <a16:creationId xmlns:a16="http://schemas.microsoft.com/office/drawing/2014/main" id="{A36E23F7-421C-8A21-DAD0-EEFB32B360F4}"/>
                  </a:ext>
                </a:extLst>
              </p:cNvPr>
              <p:cNvSpPr/>
              <p:nvPr/>
            </p:nvSpPr>
            <p:spPr>
              <a:xfrm>
                <a:off x="6079512"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0" name="Graphic 6">
                <a:extLst>
                  <a:ext uri="{FF2B5EF4-FFF2-40B4-BE49-F238E27FC236}">
                    <a16:creationId xmlns:a16="http://schemas.microsoft.com/office/drawing/2014/main" id="{A58A2888-C62E-B2AB-E63D-BD12A569BE89}"/>
                  </a:ext>
                </a:extLst>
              </p:cNvPr>
              <p:cNvSpPr/>
              <p:nvPr/>
            </p:nvSpPr>
            <p:spPr>
              <a:xfrm>
                <a:off x="5931486"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7"/>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81" name="Graphic 6">
                <a:extLst>
                  <a:ext uri="{FF2B5EF4-FFF2-40B4-BE49-F238E27FC236}">
                    <a16:creationId xmlns:a16="http://schemas.microsoft.com/office/drawing/2014/main" id="{A6F4A5BC-E632-93B0-6B5D-C1303B0338C3}"/>
                  </a:ext>
                </a:extLst>
              </p:cNvPr>
              <p:cNvSpPr/>
              <p:nvPr/>
            </p:nvSpPr>
            <p:spPr>
              <a:xfrm>
                <a:off x="6079512"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2" name="Graphic 6">
                <a:extLst>
                  <a:ext uri="{FF2B5EF4-FFF2-40B4-BE49-F238E27FC236}">
                    <a16:creationId xmlns:a16="http://schemas.microsoft.com/office/drawing/2014/main" id="{02504236-2B54-17F3-AB4A-0A1E4AAFEA7E}"/>
                  </a:ext>
                </a:extLst>
              </p:cNvPr>
              <p:cNvSpPr/>
              <p:nvPr/>
            </p:nvSpPr>
            <p:spPr>
              <a:xfrm>
                <a:off x="6222519"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3" name="Graphic 6">
                <a:extLst>
                  <a:ext uri="{FF2B5EF4-FFF2-40B4-BE49-F238E27FC236}">
                    <a16:creationId xmlns:a16="http://schemas.microsoft.com/office/drawing/2014/main" id="{24C03A75-8C9E-0768-F23C-DBB917B81823}"/>
                  </a:ext>
                </a:extLst>
              </p:cNvPr>
              <p:cNvSpPr/>
              <p:nvPr/>
            </p:nvSpPr>
            <p:spPr>
              <a:xfrm>
                <a:off x="6222519"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4" name="Graphic 6">
                <a:extLst>
                  <a:ext uri="{FF2B5EF4-FFF2-40B4-BE49-F238E27FC236}">
                    <a16:creationId xmlns:a16="http://schemas.microsoft.com/office/drawing/2014/main" id="{25CF8423-A95A-894E-A996-D38D8AA1AE40}"/>
                  </a:ext>
                </a:extLst>
              </p:cNvPr>
              <p:cNvSpPr/>
              <p:nvPr/>
            </p:nvSpPr>
            <p:spPr>
              <a:xfrm>
                <a:off x="657175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5" name="Graphic 6">
                <a:extLst>
                  <a:ext uri="{FF2B5EF4-FFF2-40B4-BE49-F238E27FC236}">
                    <a16:creationId xmlns:a16="http://schemas.microsoft.com/office/drawing/2014/main" id="{00D8BEBD-8339-18C8-820F-7FAD449452D9}"/>
                  </a:ext>
                </a:extLst>
              </p:cNvPr>
              <p:cNvSpPr/>
              <p:nvPr/>
            </p:nvSpPr>
            <p:spPr>
              <a:xfrm>
                <a:off x="657175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6" name="Graphic 6">
                <a:extLst>
                  <a:ext uri="{FF2B5EF4-FFF2-40B4-BE49-F238E27FC236}">
                    <a16:creationId xmlns:a16="http://schemas.microsoft.com/office/drawing/2014/main" id="{4AF68D30-A70A-7663-2614-9412947C78D1}"/>
                  </a:ext>
                </a:extLst>
              </p:cNvPr>
              <p:cNvSpPr/>
              <p:nvPr/>
            </p:nvSpPr>
            <p:spPr>
              <a:xfrm>
                <a:off x="6715100"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7" name="Graphic 6">
                <a:extLst>
                  <a:ext uri="{FF2B5EF4-FFF2-40B4-BE49-F238E27FC236}">
                    <a16:creationId xmlns:a16="http://schemas.microsoft.com/office/drawing/2014/main" id="{4F7F1C2E-BC65-FCB6-3B1E-2042020D8E42}"/>
                  </a:ext>
                </a:extLst>
              </p:cNvPr>
              <p:cNvSpPr/>
              <p:nvPr/>
            </p:nvSpPr>
            <p:spPr>
              <a:xfrm>
                <a:off x="6715100"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200"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8" name="Graphic 6">
                <a:extLst>
                  <a:ext uri="{FF2B5EF4-FFF2-40B4-BE49-F238E27FC236}">
                    <a16:creationId xmlns:a16="http://schemas.microsoft.com/office/drawing/2014/main" id="{5C9EEC1D-51C6-7B94-CF30-900DCC21EDE4}"/>
                  </a:ext>
                </a:extLst>
              </p:cNvPr>
              <p:cNvSpPr/>
              <p:nvPr/>
            </p:nvSpPr>
            <p:spPr>
              <a:xfrm>
                <a:off x="7449596" y="4796267"/>
                <a:ext cx="1684143" cy="16726"/>
              </a:xfrm>
              <a:custGeom>
                <a:avLst/>
                <a:gdLst>
                  <a:gd name="connsiteX0" fmla="*/ 1674974 w 1684143"/>
                  <a:gd name="connsiteY0" fmla="*/ 16259 h 16726"/>
                  <a:gd name="connsiteX1" fmla="*/ 7556 w 1684143"/>
                  <a:gd name="connsiteY1" fmla="*/ 16259 h 16726"/>
                  <a:gd name="connsiteX2" fmla="*/ -807 w 1684143"/>
                  <a:gd name="connsiteY2" fmla="*/ 7896 h 16726"/>
                  <a:gd name="connsiteX3" fmla="*/ 7556 w 1684143"/>
                  <a:gd name="connsiteY3" fmla="*/ -467 h 16726"/>
                  <a:gd name="connsiteX4" fmla="*/ 1674974 w 1684143"/>
                  <a:gd name="connsiteY4" fmla="*/ -467 h 16726"/>
                  <a:gd name="connsiteX5" fmla="*/ 1683337 w 1684143"/>
                  <a:gd name="connsiteY5" fmla="*/ 7896 h 16726"/>
                  <a:gd name="connsiteX6" fmla="*/ 1674974 w 1684143"/>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4143" h="16726">
                    <a:moveTo>
                      <a:pt x="1674974" y="16259"/>
                    </a:moveTo>
                    <a:lnTo>
                      <a:pt x="7556" y="16259"/>
                    </a:lnTo>
                    <a:cubicBezTo>
                      <a:pt x="2929" y="16259"/>
                      <a:pt x="-807" y="12513"/>
                      <a:pt x="-807" y="7896"/>
                    </a:cubicBezTo>
                    <a:cubicBezTo>
                      <a:pt x="-807" y="3280"/>
                      <a:pt x="2929" y="-467"/>
                      <a:pt x="7556" y="-467"/>
                    </a:cubicBezTo>
                    <a:lnTo>
                      <a:pt x="1674974" y="-467"/>
                    </a:lnTo>
                    <a:cubicBezTo>
                      <a:pt x="1679601" y="-467"/>
                      <a:pt x="1683337" y="3280"/>
                      <a:pt x="1683337" y="7896"/>
                    </a:cubicBezTo>
                    <a:cubicBezTo>
                      <a:pt x="1683337" y="12513"/>
                      <a:pt x="1679601" y="16259"/>
                      <a:pt x="1674974" y="16259"/>
                    </a:cubicBezTo>
                    <a:close/>
                  </a:path>
                </a:pathLst>
              </a:custGeom>
              <a:solidFill>
                <a:srgbClr val="30373B"/>
              </a:solidFill>
              <a:ln w="5573" cap="flat">
                <a:noFill/>
                <a:prstDash val="solid"/>
                <a:miter/>
              </a:ln>
            </p:spPr>
            <p:txBody>
              <a:bodyPr rtlCol="0" anchor="ctr"/>
              <a:lstStyle/>
              <a:p>
                <a:endParaRPr lang="en-GB"/>
              </a:p>
            </p:txBody>
          </p:sp>
          <p:sp>
            <p:nvSpPr>
              <p:cNvPr id="189" name="Graphic 6">
                <a:extLst>
                  <a:ext uri="{FF2B5EF4-FFF2-40B4-BE49-F238E27FC236}">
                    <a16:creationId xmlns:a16="http://schemas.microsoft.com/office/drawing/2014/main" id="{E70C25E4-FF99-1105-82C7-5578BD96BB0E}"/>
                  </a:ext>
                </a:extLst>
              </p:cNvPr>
              <p:cNvSpPr/>
              <p:nvPr/>
            </p:nvSpPr>
            <p:spPr>
              <a:xfrm>
                <a:off x="7454948" y="4699312"/>
                <a:ext cx="1678791" cy="16726"/>
              </a:xfrm>
              <a:custGeom>
                <a:avLst/>
                <a:gdLst>
                  <a:gd name="connsiteX0" fmla="*/ 1669622 w 1678791"/>
                  <a:gd name="connsiteY0" fmla="*/ 16259 h 16726"/>
                  <a:gd name="connsiteX1" fmla="*/ 7556 w 1678791"/>
                  <a:gd name="connsiteY1" fmla="*/ 16259 h 16726"/>
                  <a:gd name="connsiteX2" fmla="*/ -807 w 1678791"/>
                  <a:gd name="connsiteY2" fmla="*/ 7896 h 16726"/>
                  <a:gd name="connsiteX3" fmla="*/ 7556 w 1678791"/>
                  <a:gd name="connsiteY3" fmla="*/ -467 h 16726"/>
                  <a:gd name="connsiteX4" fmla="*/ 1669622 w 1678791"/>
                  <a:gd name="connsiteY4" fmla="*/ -467 h 16726"/>
                  <a:gd name="connsiteX5" fmla="*/ 1677985 w 1678791"/>
                  <a:gd name="connsiteY5" fmla="*/ 7896 h 16726"/>
                  <a:gd name="connsiteX6" fmla="*/ 1669622 w 1678791"/>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8791" h="16726">
                    <a:moveTo>
                      <a:pt x="1669622" y="16259"/>
                    </a:moveTo>
                    <a:lnTo>
                      <a:pt x="7556" y="16259"/>
                    </a:lnTo>
                    <a:cubicBezTo>
                      <a:pt x="2929" y="16259"/>
                      <a:pt x="-807" y="12513"/>
                      <a:pt x="-807" y="7896"/>
                    </a:cubicBezTo>
                    <a:cubicBezTo>
                      <a:pt x="-807" y="3280"/>
                      <a:pt x="2929" y="-467"/>
                      <a:pt x="7556" y="-467"/>
                    </a:cubicBezTo>
                    <a:lnTo>
                      <a:pt x="1669622" y="-467"/>
                    </a:lnTo>
                    <a:cubicBezTo>
                      <a:pt x="1674249" y="-467"/>
                      <a:pt x="1677985" y="3280"/>
                      <a:pt x="1677985" y="7896"/>
                    </a:cubicBezTo>
                    <a:cubicBezTo>
                      <a:pt x="1677985" y="12513"/>
                      <a:pt x="1674249" y="16259"/>
                      <a:pt x="1669622" y="16259"/>
                    </a:cubicBezTo>
                    <a:close/>
                  </a:path>
                </a:pathLst>
              </a:custGeom>
              <a:solidFill>
                <a:srgbClr val="30373B"/>
              </a:solidFill>
              <a:ln w="5573" cap="flat">
                <a:noFill/>
                <a:prstDash val="solid"/>
                <a:miter/>
              </a:ln>
            </p:spPr>
            <p:txBody>
              <a:bodyPr rtlCol="0" anchor="ctr"/>
              <a:lstStyle/>
              <a:p>
                <a:endParaRPr lang="en-GB"/>
              </a:p>
            </p:txBody>
          </p:sp>
          <p:sp>
            <p:nvSpPr>
              <p:cNvPr id="190" name="Graphic 6">
                <a:extLst>
                  <a:ext uri="{FF2B5EF4-FFF2-40B4-BE49-F238E27FC236}">
                    <a16:creationId xmlns:a16="http://schemas.microsoft.com/office/drawing/2014/main" id="{10F10654-5AF8-95B0-AB47-B5836E33C7EB}"/>
                  </a:ext>
                </a:extLst>
              </p:cNvPr>
              <p:cNvSpPr/>
              <p:nvPr/>
            </p:nvSpPr>
            <p:spPr>
              <a:xfrm>
                <a:off x="5517016" y="4699312"/>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1" name="Graphic 6">
                <a:extLst>
                  <a:ext uri="{FF2B5EF4-FFF2-40B4-BE49-F238E27FC236}">
                    <a16:creationId xmlns:a16="http://schemas.microsoft.com/office/drawing/2014/main" id="{7F20D3AE-2D73-8CEF-9F78-94E4ED669F35}"/>
                  </a:ext>
                </a:extLst>
              </p:cNvPr>
              <p:cNvSpPr/>
              <p:nvPr/>
            </p:nvSpPr>
            <p:spPr>
              <a:xfrm>
                <a:off x="5517016" y="4796267"/>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2" name="Graphic 6">
                <a:extLst>
                  <a:ext uri="{FF2B5EF4-FFF2-40B4-BE49-F238E27FC236}">
                    <a16:creationId xmlns:a16="http://schemas.microsoft.com/office/drawing/2014/main" id="{78249D3B-0E22-190E-BD35-5BBF7A635BFA}"/>
                  </a:ext>
                </a:extLst>
              </p:cNvPr>
              <p:cNvSpPr/>
              <p:nvPr/>
            </p:nvSpPr>
            <p:spPr>
              <a:xfrm>
                <a:off x="8423106" y="5388940"/>
                <a:ext cx="263937" cy="299381"/>
              </a:xfrm>
              <a:custGeom>
                <a:avLst/>
                <a:gdLst>
                  <a:gd name="connsiteX0" fmla="*/ 131162 w 263937"/>
                  <a:gd name="connsiteY0" fmla="*/ 298915 h 299381"/>
                  <a:gd name="connsiteX1" fmla="*/ 116722 w 263937"/>
                  <a:gd name="connsiteY1" fmla="*/ 294510 h 299381"/>
                  <a:gd name="connsiteX2" fmla="*/ 10791 w 263937"/>
                  <a:gd name="connsiteY2" fmla="*/ 223815 h 299381"/>
                  <a:gd name="connsiteX3" fmla="*/ -807 w 263937"/>
                  <a:gd name="connsiteY3" fmla="*/ 202183 h 299381"/>
                  <a:gd name="connsiteX4" fmla="*/ -807 w 263937"/>
                  <a:gd name="connsiteY4" fmla="*/ 96251 h 299381"/>
                  <a:gd name="connsiteX5" fmla="*/ 10791 w 263937"/>
                  <a:gd name="connsiteY5" fmla="*/ 74619 h 299381"/>
                  <a:gd name="connsiteX6" fmla="*/ 116722 w 263937"/>
                  <a:gd name="connsiteY6" fmla="*/ 3923 h 299381"/>
                  <a:gd name="connsiteX7" fmla="*/ 145602 w 263937"/>
                  <a:gd name="connsiteY7" fmla="*/ 3923 h 299381"/>
                  <a:gd name="connsiteX8" fmla="*/ 251533 w 263937"/>
                  <a:gd name="connsiteY8" fmla="*/ 74619 h 299381"/>
                  <a:gd name="connsiteX9" fmla="*/ 263130 w 263937"/>
                  <a:gd name="connsiteY9" fmla="*/ 96251 h 299381"/>
                  <a:gd name="connsiteX10" fmla="*/ 263130 w 263937"/>
                  <a:gd name="connsiteY10" fmla="*/ 110357 h 299381"/>
                  <a:gd name="connsiteX11" fmla="*/ 254767 w 263937"/>
                  <a:gd name="connsiteY11" fmla="*/ 118720 h 299381"/>
                  <a:gd name="connsiteX12" fmla="*/ 246404 w 263937"/>
                  <a:gd name="connsiteY12" fmla="*/ 110357 h 299381"/>
                  <a:gd name="connsiteX13" fmla="*/ 246404 w 263937"/>
                  <a:gd name="connsiteY13" fmla="*/ 96251 h 299381"/>
                  <a:gd name="connsiteX14" fmla="*/ 242278 w 263937"/>
                  <a:gd name="connsiteY14" fmla="*/ 88502 h 299381"/>
                  <a:gd name="connsiteX15" fmla="*/ 136347 w 263937"/>
                  <a:gd name="connsiteY15" fmla="*/ 17806 h 299381"/>
                  <a:gd name="connsiteX16" fmla="*/ 125977 w 263937"/>
                  <a:gd name="connsiteY16" fmla="*/ 17806 h 299381"/>
                  <a:gd name="connsiteX17" fmla="*/ 20045 w 263937"/>
                  <a:gd name="connsiteY17" fmla="*/ 88502 h 299381"/>
                  <a:gd name="connsiteX18" fmla="*/ 15919 w 263937"/>
                  <a:gd name="connsiteY18" fmla="*/ 96251 h 299381"/>
                  <a:gd name="connsiteX19" fmla="*/ 15919 w 263937"/>
                  <a:gd name="connsiteY19" fmla="*/ 202183 h 299381"/>
                  <a:gd name="connsiteX20" fmla="*/ 20045 w 263937"/>
                  <a:gd name="connsiteY20" fmla="*/ 209933 h 299381"/>
                  <a:gd name="connsiteX21" fmla="*/ 125977 w 263937"/>
                  <a:gd name="connsiteY21" fmla="*/ 280628 h 299381"/>
                  <a:gd name="connsiteX22" fmla="*/ 136291 w 263937"/>
                  <a:gd name="connsiteY22" fmla="*/ 280628 h 299381"/>
                  <a:gd name="connsiteX23" fmla="*/ 188421 w 263937"/>
                  <a:gd name="connsiteY23" fmla="*/ 245893 h 299381"/>
                  <a:gd name="connsiteX24" fmla="*/ 199961 w 263937"/>
                  <a:gd name="connsiteY24" fmla="*/ 248569 h 299381"/>
                  <a:gd name="connsiteX25" fmla="*/ 197731 w 263937"/>
                  <a:gd name="connsiteY25" fmla="*/ 259776 h 299381"/>
                  <a:gd name="connsiteX26" fmla="*/ 145602 w 263937"/>
                  <a:gd name="connsiteY26" fmla="*/ 294510 h 299381"/>
                  <a:gd name="connsiteX27" fmla="*/ 131162 w 263937"/>
                  <a:gd name="connsiteY27" fmla="*/ 298915 h 299381"/>
                  <a:gd name="connsiteX28" fmla="*/ 131162 w 263937"/>
                  <a:gd name="connsiteY28" fmla="*/ 228220 h 299381"/>
                  <a:gd name="connsiteX29" fmla="*/ 52103 w 263937"/>
                  <a:gd name="connsiteY29" fmla="*/ 149161 h 299381"/>
                  <a:gd name="connsiteX30" fmla="*/ 131162 w 263937"/>
                  <a:gd name="connsiteY30" fmla="*/ 70103 h 299381"/>
                  <a:gd name="connsiteX31" fmla="*/ 193550 w 263937"/>
                  <a:gd name="connsiteY31" fmla="*/ 100600 h 299381"/>
                  <a:gd name="connsiteX32" fmla="*/ 192491 w 263937"/>
                  <a:gd name="connsiteY32" fmla="*/ 112364 h 299381"/>
                  <a:gd name="connsiteX33" fmla="*/ 180671 w 263937"/>
                  <a:gd name="connsiteY33" fmla="*/ 111305 h 299381"/>
                  <a:gd name="connsiteX34" fmla="*/ 180392 w 263937"/>
                  <a:gd name="connsiteY34" fmla="*/ 110915 h 299381"/>
                  <a:gd name="connsiteX35" fmla="*/ 92971 w 263937"/>
                  <a:gd name="connsiteY35" fmla="*/ 99541 h 299381"/>
                  <a:gd name="connsiteX36" fmla="*/ 81597 w 263937"/>
                  <a:gd name="connsiteY36" fmla="*/ 186962 h 299381"/>
                  <a:gd name="connsiteX37" fmla="*/ 131162 w 263937"/>
                  <a:gd name="connsiteY37" fmla="*/ 211271 h 299381"/>
                  <a:gd name="connsiteX38" fmla="*/ 139525 w 263937"/>
                  <a:gd name="connsiteY38" fmla="*/ 219634 h 299381"/>
                  <a:gd name="connsiteX39" fmla="*/ 131162 w 263937"/>
                  <a:gd name="connsiteY39" fmla="*/ 227997 h 29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3937" h="299381">
                    <a:moveTo>
                      <a:pt x="131162" y="298915"/>
                    </a:moveTo>
                    <a:cubicBezTo>
                      <a:pt x="126032" y="298915"/>
                      <a:pt x="121014" y="297409"/>
                      <a:pt x="116722" y="294510"/>
                    </a:cubicBezTo>
                    <a:lnTo>
                      <a:pt x="10791" y="223815"/>
                    </a:lnTo>
                    <a:cubicBezTo>
                      <a:pt x="3542" y="219021"/>
                      <a:pt x="-807" y="210880"/>
                      <a:pt x="-807" y="202183"/>
                    </a:cubicBezTo>
                    <a:lnTo>
                      <a:pt x="-807" y="96251"/>
                    </a:lnTo>
                    <a:cubicBezTo>
                      <a:pt x="-807" y="87554"/>
                      <a:pt x="3542" y="79414"/>
                      <a:pt x="10791" y="74619"/>
                    </a:cubicBezTo>
                    <a:lnTo>
                      <a:pt x="116722" y="3923"/>
                    </a:lnTo>
                    <a:cubicBezTo>
                      <a:pt x="125475" y="-1930"/>
                      <a:pt x="136849" y="-1930"/>
                      <a:pt x="145602" y="3923"/>
                    </a:cubicBezTo>
                    <a:lnTo>
                      <a:pt x="251533" y="74619"/>
                    </a:lnTo>
                    <a:cubicBezTo>
                      <a:pt x="258782" y="79414"/>
                      <a:pt x="263130" y="87554"/>
                      <a:pt x="263130" y="96251"/>
                    </a:cubicBezTo>
                    <a:lnTo>
                      <a:pt x="263130" y="110357"/>
                    </a:lnTo>
                    <a:cubicBezTo>
                      <a:pt x="263130" y="114984"/>
                      <a:pt x="259395" y="118720"/>
                      <a:pt x="254767" y="118720"/>
                    </a:cubicBezTo>
                    <a:cubicBezTo>
                      <a:pt x="250139" y="118720"/>
                      <a:pt x="246404" y="114984"/>
                      <a:pt x="246404" y="110357"/>
                    </a:cubicBezTo>
                    <a:lnTo>
                      <a:pt x="246404" y="96251"/>
                    </a:lnTo>
                    <a:cubicBezTo>
                      <a:pt x="246404" y="93129"/>
                      <a:pt x="244843" y="90230"/>
                      <a:pt x="242278" y="88502"/>
                    </a:cubicBezTo>
                    <a:lnTo>
                      <a:pt x="136347" y="17806"/>
                    </a:lnTo>
                    <a:cubicBezTo>
                      <a:pt x="133169" y="15743"/>
                      <a:pt x="129155" y="15743"/>
                      <a:pt x="125977" y="17806"/>
                    </a:cubicBezTo>
                    <a:lnTo>
                      <a:pt x="20045" y="88502"/>
                    </a:lnTo>
                    <a:cubicBezTo>
                      <a:pt x="17481" y="90230"/>
                      <a:pt x="15919" y="93129"/>
                      <a:pt x="15919" y="96251"/>
                    </a:cubicBezTo>
                    <a:lnTo>
                      <a:pt x="15919" y="202183"/>
                    </a:lnTo>
                    <a:cubicBezTo>
                      <a:pt x="15919" y="205305"/>
                      <a:pt x="17481" y="208204"/>
                      <a:pt x="20045" y="209933"/>
                    </a:cubicBezTo>
                    <a:lnTo>
                      <a:pt x="125977" y="280628"/>
                    </a:lnTo>
                    <a:cubicBezTo>
                      <a:pt x="129099" y="282635"/>
                      <a:pt x="133169" y="282635"/>
                      <a:pt x="136291" y="280628"/>
                    </a:cubicBezTo>
                    <a:lnTo>
                      <a:pt x="188421" y="245893"/>
                    </a:lnTo>
                    <a:cubicBezTo>
                      <a:pt x="192323" y="243441"/>
                      <a:pt x="197509" y="244667"/>
                      <a:pt x="199961" y="248569"/>
                    </a:cubicBezTo>
                    <a:cubicBezTo>
                      <a:pt x="202248" y="252305"/>
                      <a:pt x="201299" y="257211"/>
                      <a:pt x="197731" y="259776"/>
                    </a:cubicBezTo>
                    <a:lnTo>
                      <a:pt x="145602" y="294510"/>
                    </a:lnTo>
                    <a:cubicBezTo>
                      <a:pt x="141309" y="297409"/>
                      <a:pt x="136291" y="298915"/>
                      <a:pt x="131162" y="298915"/>
                    </a:cubicBezTo>
                    <a:close/>
                    <a:moveTo>
                      <a:pt x="131162" y="228220"/>
                    </a:moveTo>
                    <a:cubicBezTo>
                      <a:pt x="87507" y="228220"/>
                      <a:pt x="52103" y="192816"/>
                      <a:pt x="52103" y="149161"/>
                    </a:cubicBezTo>
                    <a:cubicBezTo>
                      <a:pt x="52103" y="105507"/>
                      <a:pt x="87507" y="70103"/>
                      <a:pt x="131162" y="70103"/>
                    </a:cubicBezTo>
                    <a:cubicBezTo>
                      <a:pt x="155526" y="70103"/>
                      <a:pt x="178552" y="81365"/>
                      <a:pt x="193550" y="100600"/>
                    </a:cubicBezTo>
                    <a:cubicBezTo>
                      <a:pt x="196505" y="104169"/>
                      <a:pt x="196003" y="109409"/>
                      <a:pt x="192491" y="112364"/>
                    </a:cubicBezTo>
                    <a:cubicBezTo>
                      <a:pt x="188922" y="115319"/>
                      <a:pt x="183626" y="114873"/>
                      <a:pt x="180671" y="111305"/>
                    </a:cubicBezTo>
                    <a:cubicBezTo>
                      <a:pt x="180615" y="111193"/>
                      <a:pt x="180504" y="111026"/>
                      <a:pt x="180392" y="110915"/>
                    </a:cubicBezTo>
                    <a:cubicBezTo>
                      <a:pt x="159373" y="83651"/>
                      <a:pt x="120234" y="78522"/>
                      <a:pt x="92971" y="99541"/>
                    </a:cubicBezTo>
                    <a:cubicBezTo>
                      <a:pt x="65707" y="120560"/>
                      <a:pt x="60634" y="159699"/>
                      <a:pt x="81597" y="186962"/>
                    </a:cubicBezTo>
                    <a:cubicBezTo>
                      <a:pt x="93417" y="202350"/>
                      <a:pt x="111760" y="211327"/>
                      <a:pt x="131162" y="211271"/>
                    </a:cubicBezTo>
                    <a:cubicBezTo>
                      <a:pt x="135789" y="211271"/>
                      <a:pt x="139525" y="215006"/>
                      <a:pt x="139525" y="219634"/>
                    </a:cubicBezTo>
                    <a:cubicBezTo>
                      <a:pt x="139525" y="224261"/>
                      <a:pt x="135789" y="227997"/>
                      <a:pt x="131162" y="227997"/>
                    </a:cubicBezTo>
                    <a:close/>
                  </a:path>
                </a:pathLst>
              </a:custGeom>
              <a:solidFill>
                <a:srgbClr val="30373B"/>
              </a:solidFill>
              <a:ln w="5573" cap="flat">
                <a:noFill/>
                <a:prstDash val="solid"/>
                <a:miter/>
              </a:ln>
            </p:spPr>
            <p:txBody>
              <a:bodyPr rtlCol="0" anchor="ctr"/>
              <a:lstStyle/>
              <a:p>
                <a:endParaRPr lang="en-GB"/>
              </a:p>
            </p:txBody>
          </p:sp>
          <p:sp>
            <p:nvSpPr>
              <p:cNvPr id="193" name="Graphic 6">
                <a:extLst>
                  <a:ext uri="{FF2B5EF4-FFF2-40B4-BE49-F238E27FC236}">
                    <a16:creationId xmlns:a16="http://schemas.microsoft.com/office/drawing/2014/main" id="{DE89EBFC-01B5-76CB-0B23-E87AF83A1A79}"/>
                  </a:ext>
                </a:extLst>
              </p:cNvPr>
              <p:cNvSpPr/>
              <p:nvPr/>
            </p:nvSpPr>
            <p:spPr>
              <a:xfrm>
                <a:off x="6751284" y="5426504"/>
                <a:ext cx="263881" cy="299395"/>
              </a:xfrm>
              <a:custGeom>
                <a:avLst/>
                <a:gdLst>
                  <a:gd name="connsiteX0" fmla="*/ 131162 w 263881"/>
                  <a:gd name="connsiteY0" fmla="*/ 298929 h 299395"/>
                  <a:gd name="connsiteX1" fmla="*/ 116722 w 263881"/>
                  <a:gd name="connsiteY1" fmla="*/ 294580 h 299395"/>
                  <a:gd name="connsiteX2" fmla="*/ 10791 w 263881"/>
                  <a:gd name="connsiteY2" fmla="*/ 223885 h 299395"/>
                  <a:gd name="connsiteX3" fmla="*/ -807 w 263881"/>
                  <a:gd name="connsiteY3" fmla="*/ 202197 h 299395"/>
                  <a:gd name="connsiteX4" fmla="*/ -807 w 263881"/>
                  <a:gd name="connsiteY4" fmla="*/ 96265 h 299395"/>
                  <a:gd name="connsiteX5" fmla="*/ 10791 w 263881"/>
                  <a:gd name="connsiteY5" fmla="*/ 74577 h 299395"/>
                  <a:gd name="connsiteX6" fmla="*/ 116722 w 263881"/>
                  <a:gd name="connsiteY6" fmla="*/ 3882 h 299395"/>
                  <a:gd name="connsiteX7" fmla="*/ 145602 w 263881"/>
                  <a:gd name="connsiteY7" fmla="*/ 3882 h 299395"/>
                  <a:gd name="connsiteX8" fmla="*/ 251533 w 263881"/>
                  <a:gd name="connsiteY8" fmla="*/ 74577 h 299395"/>
                  <a:gd name="connsiteX9" fmla="*/ 263075 w 263881"/>
                  <a:gd name="connsiteY9" fmla="*/ 96265 h 299395"/>
                  <a:gd name="connsiteX10" fmla="*/ 263075 w 263881"/>
                  <a:gd name="connsiteY10" fmla="*/ 202197 h 299395"/>
                  <a:gd name="connsiteX11" fmla="*/ 251533 w 263881"/>
                  <a:gd name="connsiteY11" fmla="*/ 223885 h 299395"/>
                  <a:gd name="connsiteX12" fmla="*/ 145602 w 263881"/>
                  <a:gd name="connsiteY12" fmla="*/ 294580 h 299395"/>
                  <a:gd name="connsiteX13" fmla="*/ 131162 w 263881"/>
                  <a:gd name="connsiteY13" fmla="*/ 298929 h 299395"/>
                  <a:gd name="connsiteX14" fmla="*/ 131162 w 263881"/>
                  <a:gd name="connsiteY14" fmla="*/ 16148 h 299395"/>
                  <a:gd name="connsiteX15" fmla="*/ 125977 w 263881"/>
                  <a:gd name="connsiteY15" fmla="*/ 17709 h 299395"/>
                  <a:gd name="connsiteX16" fmla="*/ 20045 w 263881"/>
                  <a:gd name="connsiteY16" fmla="*/ 88404 h 299395"/>
                  <a:gd name="connsiteX17" fmla="*/ 15864 w 263881"/>
                  <a:gd name="connsiteY17" fmla="*/ 96154 h 299395"/>
                  <a:gd name="connsiteX18" fmla="*/ 15864 w 263881"/>
                  <a:gd name="connsiteY18" fmla="*/ 202085 h 299395"/>
                  <a:gd name="connsiteX19" fmla="*/ 20045 w 263881"/>
                  <a:gd name="connsiteY19" fmla="*/ 209835 h 299395"/>
                  <a:gd name="connsiteX20" fmla="*/ 125977 w 263881"/>
                  <a:gd name="connsiteY20" fmla="*/ 280530 h 299395"/>
                  <a:gd name="connsiteX21" fmla="*/ 136347 w 263881"/>
                  <a:gd name="connsiteY21" fmla="*/ 280530 h 299395"/>
                  <a:gd name="connsiteX22" fmla="*/ 242278 w 263881"/>
                  <a:gd name="connsiteY22" fmla="*/ 209835 h 299395"/>
                  <a:gd name="connsiteX23" fmla="*/ 246404 w 263881"/>
                  <a:gd name="connsiteY23" fmla="*/ 202085 h 299395"/>
                  <a:gd name="connsiteX24" fmla="*/ 246404 w 263881"/>
                  <a:gd name="connsiteY24" fmla="*/ 96154 h 299395"/>
                  <a:gd name="connsiteX25" fmla="*/ 242278 w 263881"/>
                  <a:gd name="connsiteY25" fmla="*/ 88404 h 299395"/>
                  <a:gd name="connsiteX26" fmla="*/ 136347 w 263881"/>
                  <a:gd name="connsiteY26" fmla="*/ 17709 h 299395"/>
                  <a:gd name="connsiteX27" fmla="*/ 131162 w 263881"/>
                  <a:gd name="connsiteY27" fmla="*/ 16148 h 299395"/>
                  <a:gd name="connsiteX28" fmla="*/ 131162 w 263881"/>
                  <a:gd name="connsiteY28" fmla="*/ 228011 h 299395"/>
                  <a:gd name="connsiteX29" fmla="*/ 52103 w 263881"/>
                  <a:gd name="connsiteY29" fmla="*/ 148952 h 299395"/>
                  <a:gd name="connsiteX30" fmla="*/ 131162 w 263881"/>
                  <a:gd name="connsiteY30" fmla="*/ 69894 h 299395"/>
                  <a:gd name="connsiteX31" fmla="*/ 210220 w 263881"/>
                  <a:gd name="connsiteY31" fmla="*/ 148952 h 299395"/>
                  <a:gd name="connsiteX32" fmla="*/ 201857 w 263881"/>
                  <a:gd name="connsiteY32" fmla="*/ 157315 h 299395"/>
                  <a:gd name="connsiteX33" fmla="*/ 193494 w 263881"/>
                  <a:gd name="connsiteY33" fmla="*/ 148952 h 299395"/>
                  <a:gd name="connsiteX34" fmla="*/ 131162 w 263881"/>
                  <a:gd name="connsiteY34" fmla="*/ 86620 h 299395"/>
                  <a:gd name="connsiteX35" fmla="*/ 68829 w 263881"/>
                  <a:gd name="connsiteY35" fmla="*/ 148952 h 299395"/>
                  <a:gd name="connsiteX36" fmla="*/ 131162 w 263881"/>
                  <a:gd name="connsiteY36" fmla="*/ 211285 h 299395"/>
                  <a:gd name="connsiteX37" fmla="*/ 139525 w 263881"/>
                  <a:gd name="connsiteY37" fmla="*/ 219648 h 299395"/>
                  <a:gd name="connsiteX38" fmla="*/ 131162 w 263881"/>
                  <a:gd name="connsiteY38" fmla="*/ 228011 h 29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3881" h="299395">
                    <a:moveTo>
                      <a:pt x="131162" y="298929"/>
                    </a:moveTo>
                    <a:cubicBezTo>
                      <a:pt x="126032" y="298929"/>
                      <a:pt x="121014" y="297423"/>
                      <a:pt x="116722" y="294580"/>
                    </a:cubicBezTo>
                    <a:lnTo>
                      <a:pt x="10791" y="223885"/>
                    </a:lnTo>
                    <a:cubicBezTo>
                      <a:pt x="3542" y="219034"/>
                      <a:pt x="-807" y="210895"/>
                      <a:pt x="-807" y="202197"/>
                    </a:cubicBezTo>
                    <a:lnTo>
                      <a:pt x="-807" y="96265"/>
                    </a:lnTo>
                    <a:cubicBezTo>
                      <a:pt x="-807" y="87567"/>
                      <a:pt x="3542" y="79428"/>
                      <a:pt x="10791" y="74577"/>
                    </a:cubicBezTo>
                    <a:lnTo>
                      <a:pt x="116722" y="3882"/>
                    </a:lnTo>
                    <a:cubicBezTo>
                      <a:pt x="125475" y="-1916"/>
                      <a:pt x="136849" y="-1916"/>
                      <a:pt x="145602" y="3882"/>
                    </a:cubicBezTo>
                    <a:lnTo>
                      <a:pt x="251533" y="74577"/>
                    </a:lnTo>
                    <a:cubicBezTo>
                      <a:pt x="258782" y="79428"/>
                      <a:pt x="263130" y="87567"/>
                      <a:pt x="263075" y="96265"/>
                    </a:cubicBezTo>
                    <a:lnTo>
                      <a:pt x="263075" y="202197"/>
                    </a:lnTo>
                    <a:cubicBezTo>
                      <a:pt x="263075" y="210895"/>
                      <a:pt x="258782" y="219034"/>
                      <a:pt x="251533" y="223885"/>
                    </a:cubicBezTo>
                    <a:lnTo>
                      <a:pt x="145602" y="294580"/>
                    </a:lnTo>
                    <a:cubicBezTo>
                      <a:pt x="141309" y="297423"/>
                      <a:pt x="136291" y="298929"/>
                      <a:pt x="131162" y="298929"/>
                    </a:cubicBezTo>
                    <a:close/>
                    <a:moveTo>
                      <a:pt x="131162" y="16148"/>
                    </a:moveTo>
                    <a:cubicBezTo>
                      <a:pt x="129322" y="16148"/>
                      <a:pt x="127538" y="16705"/>
                      <a:pt x="125977" y="17709"/>
                    </a:cubicBezTo>
                    <a:lnTo>
                      <a:pt x="20045" y="88404"/>
                    </a:lnTo>
                    <a:cubicBezTo>
                      <a:pt x="17425" y="90132"/>
                      <a:pt x="15864" y="93032"/>
                      <a:pt x="15864" y="96154"/>
                    </a:cubicBezTo>
                    <a:lnTo>
                      <a:pt x="15864" y="202085"/>
                    </a:lnTo>
                    <a:cubicBezTo>
                      <a:pt x="15864" y="205208"/>
                      <a:pt x="17425" y="208107"/>
                      <a:pt x="20045" y="209835"/>
                    </a:cubicBezTo>
                    <a:lnTo>
                      <a:pt x="125977" y="280530"/>
                    </a:lnTo>
                    <a:cubicBezTo>
                      <a:pt x="129155" y="282593"/>
                      <a:pt x="133169" y="282593"/>
                      <a:pt x="136347" y="280530"/>
                    </a:cubicBezTo>
                    <a:lnTo>
                      <a:pt x="242278" y="209835"/>
                    </a:lnTo>
                    <a:cubicBezTo>
                      <a:pt x="244843" y="208107"/>
                      <a:pt x="246404" y="205208"/>
                      <a:pt x="246404" y="202085"/>
                    </a:cubicBezTo>
                    <a:lnTo>
                      <a:pt x="246404" y="96154"/>
                    </a:lnTo>
                    <a:cubicBezTo>
                      <a:pt x="246404" y="93032"/>
                      <a:pt x="244899" y="90132"/>
                      <a:pt x="242278" y="88404"/>
                    </a:cubicBezTo>
                    <a:lnTo>
                      <a:pt x="136347" y="17709"/>
                    </a:lnTo>
                    <a:cubicBezTo>
                      <a:pt x="134842" y="16649"/>
                      <a:pt x="133002" y="16148"/>
                      <a:pt x="131162" y="16148"/>
                    </a:cubicBezTo>
                    <a:close/>
                    <a:moveTo>
                      <a:pt x="131162" y="228011"/>
                    </a:moveTo>
                    <a:cubicBezTo>
                      <a:pt x="87507" y="228011"/>
                      <a:pt x="52103" y="192607"/>
                      <a:pt x="52103" y="148952"/>
                    </a:cubicBezTo>
                    <a:cubicBezTo>
                      <a:pt x="52103" y="105297"/>
                      <a:pt x="87507" y="69894"/>
                      <a:pt x="131162" y="69894"/>
                    </a:cubicBezTo>
                    <a:cubicBezTo>
                      <a:pt x="174817" y="69894"/>
                      <a:pt x="210220" y="105297"/>
                      <a:pt x="210220" y="148952"/>
                    </a:cubicBezTo>
                    <a:cubicBezTo>
                      <a:pt x="210220" y="153580"/>
                      <a:pt x="206485" y="157315"/>
                      <a:pt x="201857" y="157315"/>
                    </a:cubicBezTo>
                    <a:cubicBezTo>
                      <a:pt x="197230" y="157315"/>
                      <a:pt x="193494" y="153580"/>
                      <a:pt x="193494" y="148952"/>
                    </a:cubicBezTo>
                    <a:cubicBezTo>
                      <a:pt x="193494" y="114552"/>
                      <a:pt x="165561" y="86620"/>
                      <a:pt x="131162" y="86620"/>
                    </a:cubicBezTo>
                    <a:cubicBezTo>
                      <a:pt x="96762" y="86620"/>
                      <a:pt x="68829" y="114552"/>
                      <a:pt x="68829" y="148952"/>
                    </a:cubicBezTo>
                    <a:cubicBezTo>
                      <a:pt x="68829" y="183352"/>
                      <a:pt x="96762" y="211285"/>
                      <a:pt x="131162" y="211285"/>
                    </a:cubicBezTo>
                    <a:cubicBezTo>
                      <a:pt x="135789" y="211285"/>
                      <a:pt x="139525" y="215020"/>
                      <a:pt x="139525" y="219648"/>
                    </a:cubicBezTo>
                    <a:cubicBezTo>
                      <a:pt x="139525" y="224275"/>
                      <a:pt x="135789" y="228011"/>
                      <a:pt x="131162" y="228011"/>
                    </a:cubicBezTo>
                    <a:close/>
                  </a:path>
                </a:pathLst>
              </a:custGeom>
              <a:solidFill>
                <a:srgbClr val="30373B"/>
              </a:solidFill>
              <a:ln w="5573" cap="flat">
                <a:noFill/>
                <a:prstDash val="solid"/>
                <a:miter/>
              </a:ln>
            </p:spPr>
            <p:txBody>
              <a:bodyPr rtlCol="0" anchor="ctr"/>
              <a:lstStyle/>
              <a:p>
                <a:endParaRPr lang="en-GB"/>
              </a:p>
            </p:txBody>
          </p:sp>
          <p:sp>
            <p:nvSpPr>
              <p:cNvPr id="194" name="Graphic 6">
                <a:extLst>
                  <a:ext uri="{FF2B5EF4-FFF2-40B4-BE49-F238E27FC236}">
                    <a16:creationId xmlns:a16="http://schemas.microsoft.com/office/drawing/2014/main" id="{4EECA7B9-579A-908E-380C-D9008298E2EB}"/>
                  </a:ext>
                </a:extLst>
              </p:cNvPr>
              <p:cNvSpPr/>
              <p:nvPr/>
            </p:nvSpPr>
            <p:spPr>
              <a:xfrm>
                <a:off x="8979495" y="5504580"/>
                <a:ext cx="519341" cy="311473"/>
              </a:xfrm>
              <a:custGeom>
                <a:avLst/>
                <a:gdLst>
                  <a:gd name="connsiteX0" fmla="*/ 439452 w 519341"/>
                  <a:gd name="connsiteY0" fmla="*/ 310895 h 311473"/>
                  <a:gd name="connsiteX1" fmla="*/ 429026 w 519341"/>
                  <a:gd name="connsiteY1" fmla="*/ 309891 h 311473"/>
                  <a:gd name="connsiteX2" fmla="*/ 172059 w 519341"/>
                  <a:gd name="connsiteY2" fmla="*/ 260773 h 311473"/>
                  <a:gd name="connsiteX3" fmla="*/ 137102 w 519341"/>
                  <a:gd name="connsiteY3" fmla="*/ 237802 h 311473"/>
                  <a:gd name="connsiteX4" fmla="*/ 115804 w 519341"/>
                  <a:gd name="connsiteY4" fmla="*/ 206469 h 311473"/>
                  <a:gd name="connsiteX5" fmla="*/ 84471 w 519341"/>
                  <a:gd name="connsiteY5" fmla="*/ 227766 h 311473"/>
                  <a:gd name="connsiteX6" fmla="*/ 23755 w 519341"/>
                  <a:gd name="connsiteY6" fmla="*/ 228213 h 311473"/>
                  <a:gd name="connsiteX7" fmla="*/ 23755 w 519341"/>
                  <a:gd name="connsiteY7" fmla="*/ 228213 h 311473"/>
                  <a:gd name="connsiteX8" fmla="*/ 116 w 519341"/>
                  <a:gd name="connsiteY8" fmla="*/ 172459 h 311473"/>
                  <a:gd name="connsiteX9" fmla="*/ 24703 w 519341"/>
                  <a:gd name="connsiteY9" fmla="*/ 43947 h 311473"/>
                  <a:gd name="connsiteX10" fmla="*/ 47673 w 519341"/>
                  <a:gd name="connsiteY10" fmla="*/ 8990 h 311473"/>
                  <a:gd name="connsiteX11" fmla="*/ 67298 w 519341"/>
                  <a:gd name="connsiteY11" fmla="*/ 683 h 311473"/>
                  <a:gd name="connsiteX12" fmla="*/ 123498 w 519341"/>
                  <a:gd name="connsiteY12" fmla="*/ 23486 h 311473"/>
                  <a:gd name="connsiteX13" fmla="*/ 144796 w 519341"/>
                  <a:gd name="connsiteY13" fmla="*/ 54875 h 311473"/>
                  <a:gd name="connsiteX14" fmla="*/ 176185 w 519341"/>
                  <a:gd name="connsiteY14" fmla="*/ 33577 h 311473"/>
                  <a:gd name="connsiteX15" fmla="*/ 217108 w 519341"/>
                  <a:gd name="connsiteY15" fmla="*/ 25103 h 311473"/>
                  <a:gd name="connsiteX16" fmla="*/ 474131 w 519341"/>
                  <a:gd name="connsiteY16" fmla="*/ 74278 h 311473"/>
                  <a:gd name="connsiteX17" fmla="*/ 517563 w 519341"/>
                  <a:gd name="connsiteY17" fmla="*/ 138171 h 311473"/>
                  <a:gd name="connsiteX18" fmla="*/ 492975 w 519341"/>
                  <a:gd name="connsiteY18" fmla="*/ 266404 h 311473"/>
                  <a:gd name="connsiteX19" fmla="*/ 439452 w 519341"/>
                  <a:gd name="connsiteY19" fmla="*/ 311006 h 311473"/>
                  <a:gd name="connsiteX20" fmla="*/ 118313 w 519341"/>
                  <a:gd name="connsiteY20" fmla="*/ 186398 h 311473"/>
                  <a:gd name="connsiteX21" fmla="*/ 119874 w 519341"/>
                  <a:gd name="connsiteY21" fmla="*/ 186398 h 311473"/>
                  <a:gd name="connsiteX22" fmla="*/ 125449 w 519341"/>
                  <a:gd name="connsiteY22" fmla="*/ 189910 h 311473"/>
                  <a:gd name="connsiteX23" fmla="*/ 151430 w 519341"/>
                  <a:gd name="connsiteY23" fmla="*/ 228213 h 311473"/>
                  <a:gd name="connsiteX24" fmla="*/ 175683 w 519341"/>
                  <a:gd name="connsiteY24" fmla="*/ 244158 h 311473"/>
                  <a:gd name="connsiteX25" fmla="*/ 432706 w 519341"/>
                  <a:gd name="connsiteY25" fmla="*/ 293277 h 311473"/>
                  <a:gd name="connsiteX26" fmla="*/ 477253 w 519341"/>
                  <a:gd name="connsiteY26" fmla="*/ 263337 h 311473"/>
                  <a:gd name="connsiteX27" fmla="*/ 477309 w 519341"/>
                  <a:gd name="connsiteY27" fmla="*/ 263170 h 311473"/>
                  <a:gd name="connsiteX28" fmla="*/ 501896 w 519341"/>
                  <a:gd name="connsiteY28" fmla="*/ 134937 h 311473"/>
                  <a:gd name="connsiteX29" fmla="*/ 472068 w 519341"/>
                  <a:gd name="connsiteY29" fmla="*/ 90390 h 311473"/>
                  <a:gd name="connsiteX30" fmla="*/ 471789 w 519341"/>
                  <a:gd name="connsiteY30" fmla="*/ 90334 h 311473"/>
                  <a:gd name="connsiteX31" fmla="*/ 214766 w 519341"/>
                  <a:gd name="connsiteY31" fmla="*/ 41216 h 311473"/>
                  <a:gd name="connsiteX32" fmla="*/ 186332 w 519341"/>
                  <a:gd name="connsiteY32" fmla="*/ 46791 h 311473"/>
                  <a:gd name="connsiteX33" fmla="*/ 148085 w 519341"/>
                  <a:gd name="connsiteY33" fmla="*/ 72772 h 311473"/>
                  <a:gd name="connsiteX34" fmla="*/ 136433 w 519341"/>
                  <a:gd name="connsiteY34" fmla="*/ 70598 h 311473"/>
                  <a:gd name="connsiteX35" fmla="*/ 110451 w 519341"/>
                  <a:gd name="connsiteY35" fmla="*/ 32239 h 311473"/>
                  <a:gd name="connsiteX36" fmla="*/ 57765 w 519341"/>
                  <a:gd name="connsiteY36" fmla="*/ 22259 h 311473"/>
                  <a:gd name="connsiteX37" fmla="*/ 41875 w 519341"/>
                  <a:gd name="connsiteY37" fmla="*/ 46456 h 311473"/>
                  <a:gd name="connsiteX38" fmla="*/ 17343 w 519341"/>
                  <a:gd name="connsiteY38" fmla="*/ 174689 h 311473"/>
                  <a:gd name="connsiteX39" fmla="*/ 33735 w 519341"/>
                  <a:gd name="connsiteY39" fmla="*/ 213716 h 311473"/>
                  <a:gd name="connsiteX40" fmla="*/ 33735 w 519341"/>
                  <a:gd name="connsiteY40" fmla="*/ 213716 h 311473"/>
                  <a:gd name="connsiteX41" fmla="*/ 75829 w 519341"/>
                  <a:gd name="connsiteY41" fmla="*/ 213382 h 311473"/>
                  <a:gd name="connsiteX42" fmla="*/ 114131 w 519341"/>
                  <a:gd name="connsiteY42" fmla="*/ 187401 h 311473"/>
                  <a:gd name="connsiteX43" fmla="*/ 118313 w 519341"/>
                  <a:gd name="connsiteY43" fmla="*/ 186398 h 31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9341" h="311473">
                    <a:moveTo>
                      <a:pt x="439452" y="310895"/>
                    </a:moveTo>
                    <a:cubicBezTo>
                      <a:pt x="435940" y="310895"/>
                      <a:pt x="432483" y="310560"/>
                      <a:pt x="429026" y="309891"/>
                    </a:cubicBezTo>
                    <a:lnTo>
                      <a:pt x="172059" y="260773"/>
                    </a:lnTo>
                    <a:cubicBezTo>
                      <a:pt x="157786" y="258096"/>
                      <a:pt x="145186" y="249845"/>
                      <a:pt x="137102" y="237802"/>
                    </a:cubicBezTo>
                    <a:lnTo>
                      <a:pt x="115804" y="206469"/>
                    </a:lnTo>
                    <a:lnTo>
                      <a:pt x="84471" y="227766"/>
                    </a:lnTo>
                    <a:cubicBezTo>
                      <a:pt x="66183" y="240199"/>
                      <a:pt x="42209" y="240367"/>
                      <a:pt x="23755" y="228213"/>
                    </a:cubicBezTo>
                    <a:lnTo>
                      <a:pt x="23755" y="228213"/>
                    </a:lnTo>
                    <a:cubicBezTo>
                      <a:pt x="5412" y="216058"/>
                      <a:pt x="-3899" y="194092"/>
                      <a:pt x="116" y="172459"/>
                    </a:cubicBezTo>
                    <a:lnTo>
                      <a:pt x="24703" y="43947"/>
                    </a:lnTo>
                    <a:cubicBezTo>
                      <a:pt x="27379" y="29675"/>
                      <a:pt x="35631" y="17075"/>
                      <a:pt x="47673" y="8990"/>
                    </a:cubicBezTo>
                    <a:cubicBezTo>
                      <a:pt x="53639" y="4976"/>
                      <a:pt x="60273" y="2132"/>
                      <a:pt x="67298" y="683"/>
                    </a:cubicBezTo>
                    <a:cubicBezTo>
                      <a:pt x="88931" y="-3833"/>
                      <a:pt x="111120" y="5199"/>
                      <a:pt x="123498" y="23486"/>
                    </a:cubicBezTo>
                    <a:lnTo>
                      <a:pt x="144796" y="54875"/>
                    </a:lnTo>
                    <a:lnTo>
                      <a:pt x="176185" y="33577"/>
                    </a:lnTo>
                    <a:cubicBezTo>
                      <a:pt x="188172" y="25493"/>
                      <a:pt x="202891" y="22427"/>
                      <a:pt x="217108" y="25103"/>
                    </a:cubicBezTo>
                    <a:lnTo>
                      <a:pt x="474131" y="74278"/>
                    </a:lnTo>
                    <a:cubicBezTo>
                      <a:pt x="503792" y="79908"/>
                      <a:pt x="523194" y="108510"/>
                      <a:pt x="517563" y="138171"/>
                    </a:cubicBezTo>
                    <a:lnTo>
                      <a:pt x="492975" y="266404"/>
                    </a:lnTo>
                    <a:cubicBezTo>
                      <a:pt x="488125" y="292162"/>
                      <a:pt x="465657" y="310895"/>
                      <a:pt x="439452" y="311006"/>
                    </a:cubicBezTo>
                    <a:close/>
                    <a:moveTo>
                      <a:pt x="118313" y="186398"/>
                    </a:moveTo>
                    <a:cubicBezTo>
                      <a:pt x="118814" y="186342"/>
                      <a:pt x="119372" y="186342"/>
                      <a:pt x="119874" y="186398"/>
                    </a:cubicBezTo>
                    <a:cubicBezTo>
                      <a:pt x="122159" y="186788"/>
                      <a:pt x="124167" y="188014"/>
                      <a:pt x="125449" y="189910"/>
                    </a:cubicBezTo>
                    <a:lnTo>
                      <a:pt x="151430" y="228213"/>
                    </a:lnTo>
                    <a:cubicBezTo>
                      <a:pt x="157061" y="236520"/>
                      <a:pt x="165815" y="242262"/>
                      <a:pt x="175683" y="244158"/>
                    </a:cubicBezTo>
                    <a:lnTo>
                      <a:pt x="432706" y="293277"/>
                    </a:lnTo>
                    <a:cubicBezTo>
                      <a:pt x="453279" y="297291"/>
                      <a:pt x="473239" y="283910"/>
                      <a:pt x="477253" y="263337"/>
                    </a:cubicBezTo>
                    <a:cubicBezTo>
                      <a:pt x="477309" y="263281"/>
                      <a:pt x="477309" y="263225"/>
                      <a:pt x="477309" y="263170"/>
                    </a:cubicBezTo>
                    <a:lnTo>
                      <a:pt x="501896" y="134937"/>
                    </a:lnTo>
                    <a:cubicBezTo>
                      <a:pt x="505966" y="114420"/>
                      <a:pt x="492585" y="94460"/>
                      <a:pt x="472068" y="90390"/>
                    </a:cubicBezTo>
                    <a:cubicBezTo>
                      <a:pt x="471957" y="90390"/>
                      <a:pt x="471901" y="90334"/>
                      <a:pt x="471789" y="90334"/>
                    </a:cubicBezTo>
                    <a:lnTo>
                      <a:pt x="214766" y="41216"/>
                    </a:lnTo>
                    <a:cubicBezTo>
                      <a:pt x="204898" y="39264"/>
                      <a:pt x="194695" y="41271"/>
                      <a:pt x="186332" y="46791"/>
                    </a:cubicBezTo>
                    <a:lnTo>
                      <a:pt x="148085" y="72772"/>
                    </a:lnTo>
                    <a:cubicBezTo>
                      <a:pt x="144238" y="75392"/>
                      <a:pt x="139053" y="74389"/>
                      <a:pt x="136433" y="70598"/>
                    </a:cubicBezTo>
                    <a:lnTo>
                      <a:pt x="110451" y="32239"/>
                    </a:lnTo>
                    <a:cubicBezTo>
                      <a:pt x="98687" y="14956"/>
                      <a:pt x="75104" y="10440"/>
                      <a:pt x="57765" y="22259"/>
                    </a:cubicBezTo>
                    <a:cubicBezTo>
                      <a:pt x="49457" y="27890"/>
                      <a:pt x="43770" y="36588"/>
                      <a:pt x="41875" y="46456"/>
                    </a:cubicBezTo>
                    <a:lnTo>
                      <a:pt x="17343" y="174689"/>
                    </a:lnTo>
                    <a:cubicBezTo>
                      <a:pt x="14332" y="189799"/>
                      <a:pt x="20856" y="205242"/>
                      <a:pt x="33735" y="213716"/>
                    </a:cubicBezTo>
                    <a:lnTo>
                      <a:pt x="33735" y="213716"/>
                    </a:lnTo>
                    <a:cubicBezTo>
                      <a:pt x="46558" y="222191"/>
                      <a:pt x="63173" y="222024"/>
                      <a:pt x="75829" y="213382"/>
                    </a:cubicBezTo>
                    <a:lnTo>
                      <a:pt x="114131" y="187401"/>
                    </a:lnTo>
                    <a:cubicBezTo>
                      <a:pt x="115413" y="186732"/>
                      <a:pt x="116863" y="186342"/>
                      <a:pt x="118313" y="186398"/>
                    </a:cubicBezTo>
                    <a:close/>
                  </a:path>
                </a:pathLst>
              </a:custGeom>
              <a:solidFill>
                <a:srgbClr val="30373B"/>
              </a:solidFill>
              <a:ln w="5573" cap="flat">
                <a:noFill/>
                <a:prstDash val="solid"/>
                <a:miter/>
              </a:ln>
            </p:spPr>
            <p:txBody>
              <a:bodyPr rtlCol="0" anchor="ctr"/>
              <a:lstStyle/>
              <a:p>
                <a:endParaRPr lang="en-GB"/>
              </a:p>
            </p:txBody>
          </p:sp>
          <p:sp>
            <p:nvSpPr>
              <p:cNvPr id="195" name="Graphic 6">
                <a:extLst>
                  <a:ext uri="{FF2B5EF4-FFF2-40B4-BE49-F238E27FC236}">
                    <a16:creationId xmlns:a16="http://schemas.microsoft.com/office/drawing/2014/main" id="{3B793089-64C7-C63E-2DA4-128031263240}"/>
                  </a:ext>
                </a:extLst>
              </p:cNvPr>
              <p:cNvSpPr/>
              <p:nvPr/>
            </p:nvSpPr>
            <p:spPr>
              <a:xfrm>
                <a:off x="8564794" y="5486970"/>
                <a:ext cx="449772" cy="162196"/>
              </a:xfrm>
              <a:custGeom>
                <a:avLst/>
                <a:gdLst>
                  <a:gd name="connsiteX0" fmla="*/ 430316 w 449772"/>
                  <a:gd name="connsiteY0" fmla="*/ 161523 h 162196"/>
                  <a:gd name="connsiteX1" fmla="*/ 428756 w 449772"/>
                  <a:gd name="connsiteY1" fmla="*/ 161523 h 162196"/>
                  <a:gd name="connsiteX2" fmla="*/ 154839 w 449772"/>
                  <a:gd name="connsiteY2" fmla="*/ 109171 h 162196"/>
                  <a:gd name="connsiteX3" fmla="*/ 126683 w 449772"/>
                  <a:gd name="connsiteY3" fmla="*/ 128294 h 162196"/>
                  <a:gd name="connsiteX4" fmla="*/ 119491 w 449772"/>
                  <a:gd name="connsiteY4" fmla="*/ 129354 h 162196"/>
                  <a:gd name="connsiteX5" fmla="*/ 4918 w 449772"/>
                  <a:gd name="connsiteY5" fmla="*/ 93950 h 162196"/>
                  <a:gd name="connsiteX6" fmla="*/ -657 w 449772"/>
                  <a:gd name="connsiteY6" fmla="*/ 84416 h 162196"/>
                  <a:gd name="connsiteX7" fmla="*/ 14284 w 449772"/>
                  <a:gd name="connsiteY7" fmla="*/ 6361 h 162196"/>
                  <a:gd name="connsiteX8" fmla="*/ 23150 w 449772"/>
                  <a:gd name="connsiteY8" fmla="*/ -441 h 162196"/>
                  <a:gd name="connsiteX9" fmla="*/ 142684 w 449772"/>
                  <a:gd name="connsiteY9" fmla="*/ 8926 h 162196"/>
                  <a:gd name="connsiteX10" fmla="*/ 148985 w 449772"/>
                  <a:gd name="connsiteY10" fmla="*/ 12606 h 162196"/>
                  <a:gd name="connsiteX11" fmla="*/ 168053 w 449772"/>
                  <a:gd name="connsiteY11" fmla="*/ 40482 h 162196"/>
                  <a:gd name="connsiteX12" fmla="*/ 442025 w 449772"/>
                  <a:gd name="connsiteY12" fmla="*/ 92835 h 162196"/>
                  <a:gd name="connsiteX13" fmla="*/ 448827 w 449772"/>
                  <a:gd name="connsiteY13" fmla="*/ 102759 h 162196"/>
                  <a:gd name="connsiteX14" fmla="*/ 438902 w 449772"/>
                  <a:gd name="connsiteY14" fmla="*/ 109561 h 162196"/>
                  <a:gd name="connsiteX15" fmla="*/ 161529 w 449772"/>
                  <a:gd name="connsiteY15" fmla="*/ 56539 h 162196"/>
                  <a:gd name="connsiteX16" fmla="*/ 155954 w 449772"/>
                  <a:gd name="connsiteY16" fmla="*/ 53027 h 162196"/>
                  <a:gd name="connsiteX17" fmla="*/ 137165 w 449772"/>
                  <a:gd name="connsiteY17" fmla="*/ 25150 h 162196"/>
                  <a:gd name="connsiteX18" fmla="*/ 29059 w 449772"/>
                  <a:gd name="connsiteY18" fmla="*/ 16675 h 162196"/>
                  <a:gd name="connsiteX19" fmla="*/ 16960 w 449772"/>
                  <a:gd name="connsiteY19" fmla="*/ 80012 h 162196"/>
                  <a:gd name="connsiteX20" fmla="*/ 120551 w 449772"/>
                  <a:gd name="connsiteY20" fmla="*/ 112014 h 162196"/>
                  <a:gd name="connsiteX21" fmla="*/ 148427 w 449772"/>
                  <a:gd name="connsiteY21" fmla="*/ 93225 h 162196"/>
                  <a:gd name="connsiteX22" fmla="*/ 154672 w 449772"/>
                  <a:gd name="connsiteY22" fmla="*/ 91943 h 162196"/>
                  <a:gd name="connsiteX23" fmla="*/ 431989 w 449772"/>
                  <a:gd name="connsiteY23" fmla="*/ 144964 h 162196"/>
                  <a:gd name="connsiteX24" fmla="*/ 439571 w 449772"/>
                  <a:gd name="connsiteY24" fmla="*/ 154108 h 162196"/>
                  <a:gd name="connsiteX25" fmla="*/ 430428 w 449772"/>
                  <a:gd name="connsiteY25" fmla="*/ 161690 h 16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9772" h="162196">
                    <a:moveTo>
                      <a:pt x="430316" y="161523"/>
                    </a:moveTo>
                    <a:lnTo>
                      <a:pt x="428756" y="161523"/>
                    </a:lnTo>
                    <a:lnTo>
                      <a:pt x="154839" y="109171"/>
                    </a:lnTo>
                    <a:lnTo>
                      <a:pt x="126683" y="128294"/>
                    </a:lnTo>
                    <a:cubicBezTo>
                      <a:pt x="124565" y="129688"/>
                      <a:pt x="121944" y="130078"/>
                      <a:pt x="119491" y="129354"/>
                    </a:cubicBezTo>
                    <a:lnTo>
                      <a:pt x="4918" y="93950"/>
                    </a:lnTo>
                    <a:cubicBezTo>
                      <a:pt x="904" y="92612"/>
                      <a:pt x="-1438" y="88542"/>
                      <a:pt x="-657" y="84416"/>
                    </a:cubicBezTo>
                    <a:lnTo>
                      <a:pt x="14284" y="6361"/>
                    </a:lnTo>
                    <a:cubicBezTo>
                      <a:pt x="15065" y="2124"/>
                      <a:pt x="18856" y="-775"/>
                      <a:pt x="23150" y="-441"/>
                    </a:cubicBezTo>
                    <a:lnTo>
                      <a:pt x="142684" y="8926"/>
                    </a:lnTo>
                    <a:cubicBezTo>
                      <a:pt x="145249" y="9149"/>
                      <a:pt x="147535" y="10487"/>
                      <a:pt x="148985" y="12606"/>
                    </a:cubicBezTo>
                    <a:lnTo>
                      <a:pt x="168053" y="40482"/>
                    </a:lnTo>
                    <a:lnTo>
                      <a:pt x="442025" y="92835"/>
                    </a:lnTo>
                    <a:cubicBezTo>
                      <a:pt x="446652" y="93671"/>
                      <a:pt x="449663" y="98132"/>
                      <a:pt x="448827" y="102759"/>
                    </a:cubicBezTo>
                    <a:cubicBezTo>
                      <a:pt x="447990" y="107386"/>
                      <a:pt x="443530" y="110397"/>
                      <a:pt x="438902" y="109561"/>
                    </a:cubicBezTo>
                    <a:lnTo>
                      <a:pt x="161529" y="56539"/>
                    </a:lnTo>
                    <a:cubicBezTo>
                      <a:pt x="159243" y="56205"/>
                      <a:pt x="157236" y="54923"/>
                      <a:pt x="155954" y="53027"/>
                    </a:cubicBezTo>
                    <a:lnTo>
                      <a:pt x="137165" y="25150"/>
                    </a:lnTo>
                    <a:lnTo>
                      <a:pt x="29059" y="16675"/>
                    </a:lnTo>
                    <a:lnTo>
                      <a:pt x="16960" y="80012"/>
                    </a:lnTo>
                    <a:lnTo>
                      <a:pt x="120551" y="112014"/>
                    </a:lnTo>
                    <a:lnTo>
                      <a:pt x="148427" y="93225"/>
                    </a:lnTo>
                    <a:cubicBezTo>
                      <a:pt x="150267" y="91998"/>
                      <a:pt x="152497" y="91497"/>
                      <a:pt x="154672" y="91943"/>
                    </a:cubicBezTo>
                    <a:lnTo>
                      <a:pt x="431989" y="144964"/>
                    </a:lnTo>
                    <a:cubicBezTo>
                      <a:pt x="436616" y="145411"/>
                      <a:pt x="440017" y="149480"/>
                      <a:pt x="439571" y="154108"/>
                    </a:cubicBezTo>
                    <a:cubicBezTo>
                      <a:pt x="439126" y="158736"/>
                      <a:pt x="435056" y="162137"/>
                      <a:pt x="430428" y="161690"/>
                    </a:cubicBezTo>
                    <a:close/>
                  </a:path>
                </a:pathLst>
              </a:custGeom>
              <a:solidFill>
                <a:srgbClr val="30373B"/>
              </a:solidFill>
              <a:ln w="5573" cap="flat">
                <a:noFill/>
                <a:prstDash val="solid"/>
                <a:miter/>
              </a:ln>
            </p:spPr>
            <p:txBody>
              <a:bodyPr rtlCol="0" anchor="ctr"/>
              <a:lstStyle/>
              <a:p>
                <a:endParaRPr lang="en-GB"/>
              </a:p>
            </p:txBody>
          </p:sp>
          <p:sp>
            <p:nvSpPr>
              <p:cNvPr id="196" name="Graphic 6">
                <a:extLst>
                  <a:ext uri="{FF2B5EF4-FFF2-40B4-BE49-F238E27FC236}">
                    <a16:creationId xmlns:a16="http://schemas.microsoft.com/office/drawing/2014/main" id="{C37E23B4-93C6-DFE0-AB3B-F966ECDD37CD}"/>
                  </a:ext>
                </a:extLst>
              </p:cNvPr>
              <p:cNvSpPr/>
              <p:nvPr/>
            </p:nvSpPr>
            <p:spPr>
              <a:xfrm>
                <a:off x="9181135" y="5677828"/>
                <a:ext cx="294913" cy="74148"/>
              </a:xfrm>
              <a:custGeom>
                <a:avLst/>
                <a:gdLst>
                  <a:gd name="connsiteX0" fmla="*/ 284645 w 294913"/>
                  <a:gd name="connsiteY0" fmla="*/ 73474 h 74148"/>
                  <a:gd name="connsiteX1" fmla="*/ 282916 w 294913"/>
                  <a:gd name="connsiteY1" fmla="*/ 73474 h 74148"/>
                  <a:gd name="connsiteX2" fmla="*/ 5878 w 294913"/>
                  <a:gd name="connsiteY2" fmla="*/ 16104 h 74148"/>
                  <a:gd name="connsiteX3" fmla="*/ -646 w 294913"/>
                  <a:gd name="connsiteY3" fmla="*/ 6180 h 74148"/>
                  <a:gd name="connsiteX4" fmla="*/ 9279 w 294913"/>
                  <a:gd name="connsiteY4" fmla="*/ -287 h 74148"/>
                  <a:gd name="connsiteX5" fmla="*/ 286540 w 294913"/>
                  <a:gd name="connsiteY5" fmla="*/ 56916 h 74148"/>
                  <a:gd name="connsiteX6" fmla="*/ 294067 w 294913"/>
                  <a:gd name="connsiteY6" fmla="*/ 66115 h 74148"/>
                  <a:gd name="connsiteX7" fmla="*/ 284868 w 294913"/>
                  <a:gd name="connsiteY7" fmla="*/ 73642 h 7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913" h="74148">
                    <a:moveTo>
                      <a:pt x="284645" y="73474"/>
                    </a:moveTo>
                    <a:cubicBezTo>
                      <a:pt x="284087" y="73530"/>
                      <a:pt x="283474" y="73530"/>
                      <a:pt x="282916" y="73474"/>
                    </a:cubicBezTo>
                    <a:lnTo>
                      <a:pt x="5878" y="16104"/>
                    </a:lnTo>
                    <a:cubicBezTo>
                      <a:pt x="1361" y="15157"/>
                      <a:pt x="-1537" y="10752"/>
                      <a:pt x="-646" y="6180"/>
                    </a:cubicBezTo>
                    <a:cubicBezTo>
                      <a:pt x="302" y="1664"/>
                      <a:pt x="4763" y="-1235"/>
                      <a:pt x="9279" y="-287"/>
                    </a:cubicBezTo>
                    <a:lnTo>
                      <a:pt x="286540" y="56916"/>
                    </a:lnTo>
                    <a:cubicBezTo>
                      <a:pt x="291168" y="57362"/>
                      <a:pt x="294513" y="61487"/>
                      <a:pt x="294067" y="66115"/>
                    </a:cubicBezTo>
                    <a:cubicBezTo>
                      <a:pt x="293621" y="70743"/>
                      <a:pt x="289495" y="74088"/>
                      <a:pt x="284868" y="73642"/>
                    </a:cubicBezTo>
                    <a:close/>
                  </a:path>
                </a:pathLst>
              </a:custGeom>
              <a:solidFill>
                <a:srgbClr val="30373B"/>
              </a:solidFill>
              <a:ln w="5573" cap="flat">
                <a:noFill/>
                <a:prstDash val="solid"/>
                <a:miter/>
              </a:ln>
            </p:spPr>
            <p:txBody>
              <a:bodyPr rtlCol="0" anchor="ctr"/>
              <a:lstStyle/>
              <a:p>
                <a:endParaRPr lang="en-GB"/>
              </a:p>
            </p:txBody>
          </p:sp>
          <p:sp>
            <p:nvSpPr>
              <p:cNvPr id="197" name="Graphic 6">
                <a:extLst>
                  <a:ext uri="{FF2B5EF4-FFF2-40B4-BE49-F238E27FC236}">
                    <a16:creationId xmlns:a16="http://schemas.microsoft.com/office/drawing/2014/main" id="{D3EC2958-662E-931C-312E-CFB526B0173A}"/>
                  </a:ext>
                </a:extLst>
              </p:cNvPr>
              <p:cNvSpPr/>
              <p:nvPr/>
            </p:nvSpPr>
            <p:spPr>
              <a:xfrm>
                <a:off x="5515845" y="6034271"/>
                <a:ext cx="502226" cy="241970"/>
              </a:xfrm>
              <a:custGeom>
                <a:avLst/>
                <a:gdLst>
                  <a:gd name="connsiteX0" fmla="*/ 446447 w 502226"/>
                  <a:gd name="connsiteY0" fmla="*/ 241448 h 241970"/>
                  <a:gd name="connsiteX1" fmla="*/ 446057 w 502226"/>
                  <a:gd name="connsiteY1" fmla="*/ 241448 h 241970"/>
                  <a:gd name="connsiteX2" fmla="*/ 184406 w 502226"/>
                  <a:gd name="connsiteY2" fmla="*/ 240221 h 241970"/>
                  <a:gd name="connsiteX3" fmla="*/ 145881 w 502226"/>
                  <a:gd name="connsiteY3" fmla="*/ 224053 h 241970"/>
                  <a:gd name="connsiteX4" fmla="*/ 119175 w 502226"/>
                  <a:gd name="connsiteY4" fmla="*/ 197124 h 241970"/>
                  <a:gd name="connsiteX5" fmla="*/ 92246 w 502226"/>
                  <a:gd name="connsiteY5" fmla="*/ 223774 h 241970"/>
                  <a:gd name="connsiteX6" fmla="*/ 14977 w 502226"/>
                  <a:gd name="connsiteY6" fmla="*/ 223328 h 241970"/>
                  <a:gd name="connsiteX7" fmla="*/ -806 w 502226"/>
                  <a:gd name="connsiteY7" fmla="*/ 184747 h 241970"/>
                  <a:gd name="connsiteX8" fmla="*/ -193 w 502226"/>
                  <a:gd name="connsiteY8" fmla="*/ 53894 h 241970"/>
                  <a:gd name="connsiteX9" fmla="*/ 54718 w 502226"/>
                  <a:gd name="connsiteY9" fmla="*/ -466 h 241970"/>
                  <a:gd name="connsiteX10" fmla="*/ 93250 w 502226"/>
                  <a:gd name="connsiteY10" fmla="*/ 15703 h 241970"/>
                  <a:gd name="connsiteX11" fmla="*/ 119955 w 502226"/>
                  <a:gd name="connsiteY11" fmla="*/ 42687 h 241970"/>
                  <a:gd name="connsiteX12" fmla="*/ 146884 w 502226"/>
                  <a:gd name="connsiteY12" fmla="*/ 15981 h 241970"/>
                  <a:gd name="connsiteX13" fmla="*/ 185354 w 502226"/>
                  <a:gd name="connsiteY13" fmla="*/ 147 h 241970"/>
                  <a:gd name="connsiteX14" fmla="*/ 185354 w 502226"/>
                  <a:gd name="connsiteY14" fmla="*/ 147 h 241970"/>
                  <a:gd name="connsiteX15" fmla="*/ 447060 w 502226"/>
                  <a:gd name="connsiteY15" fmla="*/ 1429 h 241970"/>
                  <a:gd name="connsiteX16" fmla="*/ 501420 w 502226"/>
                  <a:gd name="connsiteY16" fmla="*/ 56346 h 241970"/>
                  <a:gd name="connsiteX17" fmla="*/ 500751 w 502226"/>
                  <a:gd name="connsiteY17" fmla="*/ 187144 h 241970"/>
                  <a:gd name="connsiteX18" fmla="*/ 446224 w 502226"/>
                  <a:gd name="connsiteY18" fmla="*/ 241504 h 241970"/>
                  <a:gd name="connsiteX19" fmla="*/ 119231 w 502226"/>
                  <a:gd name="connsiteY19" fmla="*/ 177053 h 241970"/>
                  <a:gd name="connsiteX20" fmla="*/ 119231 w 502226"/>
                  <a:gd name="connsiteY20" fmla="*/ 177053 h 241970"/>
                  <a:gd name="connsiteX21" fmla="*/ 125140 w 502226"/>
                  <a:gd name="connsiteY21" fmla="*/ 179561 h 241970"/>
                  <a:gd name="connsiteX22" fmla="*/ 157701 w 502226"/>
                  <a:gd name="connsiteY22" fmla="*/ 212400 h 241970"/>
                  <a:gd name="connsiteX23" fmla="*/ 184462 w 502226"/>
                  <a:gd name="connsiteY23" fmla="*/ 223551 h 241970"/>
                  <a:gd name="connsiteX24" fmla="*/ 446113 w 502226"/>
                  <a:gd name="connsiteY24" fmla="*/ 224778 h 241970"/>
                  <a:gd name="connsiteX25" fmla="*/ 446391 w 502226"/>
                  <a:gd name="connsiteY25" fmla="*/ 224778 h 241970"/>
                  <a:gd name="connsiteX26" fmla="*/ 484192 w 502226"/>
                  <a:gd name="connsiteY26" fmla="*/ 187089 h 241970"/>
                  <a:gd name="connsiteX27" fmla="*/ 484861 w 502226"/>
                  <a:gd name="connsiteY27" fmla="*/ 56235 h 241970"/>
                  <a:gd name="connsiteX28" fmla="*/ 447116 w 502226"/>
                  <a:gd name="connsiteY28" fmla="*/ 18155 h 241970"/>
                  <a:gd name="connsiteX29" fmla="*/ 185410 w 502226"/>
                  <a:gd name="connsiteY29" fmla="*/ 16873 h 241970"/>
                  <a:gd name="connsiteX30" fmla="*/ 158592 w 502226"/>
                  <a:gd name="connsiteY30" fmla="*/ 28024 h 241970"/>
                  <a:gd name="connsiteX31" fmla="*/ 125698 w 502226"/>
                  <a:gd name="connsiteY31" fmla="*/ 60584 h 241970"/>
                  <a:gd name="connsiteX32" fmla="*/ 113951 w 502226"/>
                  <a:gd name="connsiteY32" fmla="*/ 60640 h 241970"/>
                  <a:gd name="connsiteX33" fmla="*/ 113878 w 502226"/>
                  <a:gd name="connsiteY33" fmla="*/ 60584 h 241970"/>
                  <a:gd name="connsiteX34" fmla="*/ 81318 w 502226"/>
                  <a:gd name="connsiteY34" fmla="*/ 27689 h 241970"/>
                  <a:gd name="connsiteX35" fmla="*/ 27622 w 502226"/>
                  <a:gd name="connsiteY35" fmla="*/ 27633 h 241970"/>
                  <a:gd name="connsiteX36" fmla="*/ 16477 w 502226"/>
                  <a:gd name="connsiteY36" fmla="*/ 54172 h 241970"/>
                  <a:gd name="connsiteX37" fmla="*/ 15864 w 502226"/>
                  <a:gd name="connsiteY37" fmla="*/ 185026 h 241970"/>
                  <a:gd name="connsiteX38" fmla="*/ 15864 w 502226"/>
                  <a:gd name="connsiteY38" fmla="*/ 185026 h 241970"/>
                  <a:gd name="connsiteX39" fmla="*/ 27015 w 502226"/>
                  <a:gd name="connsiteY39" fmla="*/ 211899 h 241970"/>
                  <a:gd name="connsiteX40" fmla="*/ 39280 w 502226"/>
                  <a:gd name="connsiteY40" fmla="*/ 220150 h 241970"/>
                  <a:gd name="connsiteX41" fmla="*/ 80593 w 502226"/>
                  <a:gd name="connsiteY41" fmla="*/ 212178 h 241970"/>
                  <a:gd name="connsiteX42" fmla="*/ 113488 w 502226"/>
                  <a:gd name="connsiteY42" fmla="*/ 179617 h 241970"/>
                  <a:gd name="connsiteX43" fmla="*/ 119231 w 502226"/>
                  <a:gd name="connsiteY43" fmla="*/ 177053 h 241970"/>
                  <a:gd name="connsiteX44" fmla="*/ 7724 w 502226"/>
                  <a:gd name="connsiteY44" fmla="*/ 184858 h 241970"/>
                  <a:gd name="connsiteX45" fmla="*/ 7724 w 502226"/>
                  <a:gd name="connsiteY45" fmla="*/ 184858 h 24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02226" h="241970">
                    <a:moveTo>
                      <a:pt x="446447" y="241448"/>
                    </a:moveTo>
                    <a:lnTo>
                      <a:pt x="446057" y="241448"/>
                    </a:lnTo>
                    <a:lnTo>
                      <a:pt x="184406" y="240221"/>
                    </a:lnTo>
                    <a:cubicBezTo>
                      <a:pt x="169922" y="240165"/>
                      <a:pt x="156050" y="234367"/>
                      <a:pt x="145881" y="224053"/>
                    </a:cubicBezTo>
                    <a:lnTo>
                      <a:pt x="119175" y="197124"/>
                    </a:lnTo>
                    <a:lnTo>
                      <a:pt x="92246" y="223774"/>
                    </a:lnTo>
                    <a:cubicBezTo>
                      <a:pt x="70787" y="245016"/>
                      <a:pt x="36192" y="244793"/>
                      <a:pt x="14977" y="223328"/>
                    </a:cubicBezTo>
                    <a:cubicBezTo>
                      <a:pt x="4825" y="213069"/>
                      <a:pt x="-851" y="199187"/>
                      <a:pt x="-806" y="184747"/>
                    </a:cubicBezTo>
                    <a:lnTo>
                      <a:pt x="-193" y="53894"/>
                    </a:lnTo>
                    <a:cubicBezTo>
                      <a:pt x="-43" y="23731"/>
                      <a:pt x="24545" y="-633"/>
                      <a:pt x="54718" y="-466"/>
                    </a:cubicBezTo>
                    <a:cubicBezTo>
                      <a:pt x="69197" y="-410"/>
                      <a:pt x="83058" y="5444"/>
                      <a:pt x="93250" y="15703"/>
                    </a:cubicBezTo>
                    <a:lnTo>
                      <a:pt x="119955" y="42687"/>
                    </a:lnTo>
                    <a:lnTo>
                      <a:pt x="146884" y="15981"/>
                    </a:lnTo>
                    <a:cubicBezTo>
                      <a:pt x="157143" y="5890"/>
                      <a:pt x="170953" y="203"/>
                      <a:pt x="185354" y="147"/>
                    </a:cubicBezTo>
                    <a:lnTo>
                      <a:pt x="185354" y="147"/>
                    </a:lnTo>
                    <a:lnTo>
                      <a:pt x="447060" y="1429"/>
                    </a:lnTo>
                    <a:cubicBezTo>
                      <a:pt x="477212" y="1653"/>
                      <a:pt x="501515" y="26184"/>
                      <a:pt x="501420" y="56346"/>
                    </a:cubicBezTo>
                    <a:lnTo>
                      <a:pt x="500751" y="187144"/>
                    </a:lnTo>
                    <a:cubicBezTo>
                      <a:pt x="500601" y="217195"/>
                      <a:pt x="476248" y="241448"/>
                      <a:pt x="446224" y="241504"/>
                    </a:cubicBezTo>
                    <a:close/>
                    <a:moveTo>
                      <a:pt x="119231" y="177053"/>
                    </a:moveTo>
                    <a:lnTo>
                      <a:pt x="119231" y="177053"/>
                    </a:lnTo>
                    <a:cubicBezTo>
                      <a:pt x="121450" y="177109"/>
                      <a:pt x="123568" y="178001"/>
                      <a:pt x="125140" y="179561"/>
                    </a:cubicBezTo>
                    <a:lnTo>
                      <a:pt x="157701" y="212400"/>
                    </a:lnTo>
                    <a:cubicBezTo>
                      <a:pt x="164781" y="219537"/>
                      <a:pt x="174415" y="223551"/>
                      <a:pt x="184462" y="223551"/>
                    </a:cubicBezTo>
                    <a:lnTo>
                      <a:pt x="446113" y="224778"/>
                    </a:lnTo>
                    <a:lnTo>
                      <a:pt x="446391" y="224778"/>
                    </a:lnTo>
                    <a:cubicBezTo>
                      <a:pt x="467210" y="224722"/>
                      <a:pt x="484097" y="207884"/>
                      <a:pt x="484192" y="187089"/>
                    </a:cubicBezTo>
                    <a:lnTo>
                      <a:pt x="484861" y="56235"/>
                    </a:lnTo>
                    <a:cubicBezTo>
                      <a:pt x="484923" y="35327"/>
                      <a:pt x="468040" y="18267"/>
                      <a:pt x="447116" y="18155"/>
                    </a:cubicBezTo>
                    <a:lnTo>
                      <a:pt x="185410" y="16873"/>
                    </a:lnTo>
                    <a:cubicBezTo>
                      <a:pt x="175346" y="16929"/>
                      <a:pt x="165707" y="20887"/>
                      <a:pt x="158592" y="28024"/>
                    </a:cubicBezTo>
                    <a:lnTo>
                      <a:pt x="125698" y="60584"/>
                    </a:lnTo>
                    <a:cubicBezTo>
                      <a:pt x="122476" y="63873"/>
                      <a:pt x="117212" y="63873"/>
                      <a:pt x="113951" y="60640"/>
                    </a:cubicBezTo>
                    <a:cubicBezTo>
                      <a:pt x="113928" y="60640"/>
                      <a:pt x="113901" y="60584"/>
                      <a:pt x="113878" y="60584"/>
                    </a:cubicBezTo>
                    <a:lnTo>
                      <a:pt x="81318" y="27689"/>
                    </a:lnTo>
                    <a:cubicBezTo>
                      <a:pt x="66505" y="12859"/>
                      <a:pt x="42464" y="12803"/>
                      <a:pt x="27622" y="27633"/>
                    </a:cubicBezTo>
                    <a:cubicBezTo>
                      <a:pt x="20569" y="34658"/>
                      <a:pt x="16566" y="44193"/>
                      <a:pt x="16477" y="54172"/>
                    </a:cubicBezTo>
                    <a:lnTo>
                      <a:pt x="15864" y="185026"/>
                    </a:lnTo>
                    <a:lnTo>
                      <a:pt x="15864" y="185026"/>
                    </a:lnTo>
                    <a:cubicBezTo>
                      <a:pt x="15819" y="195117"/>
                      <a:pt x="19839" y="204818"/>
                      <a:pt x="27015" y="211899"/>
                    </a:cubicBezTo>
                    <a:cubicBezTo>
                      <a:pt x="30499" y="215467"/>
                      <a:pt x="34675" y="218255"/>
                      <a:pt x="39280" y="220150"/>
                    </a:cubicBezTo>
                    <a:cubicBezTo>
                      <a:pt x="53392" y="226116"/>
                      <a:pt x="69716" y="222993"/>
                      <a:pt x="80593" y="212178"/>
                    </a:cubicBezTo>
                    <a:lnTo>
                      <a:pt x="113488" y="179617"/>
                    </a:lnTo>
                    <a:cubicBezTo>
                      <a:pt x="114993" y="178057"/>
                      <a:pt x="117056" y="177109"/>
                      <a:pt x="119231" y="177053"/>
                    </a:cubicBezTo>
                    <a:close/>
                    <a:moveTo>
                      <a:pt x="7724" y="184858"/>
                    </a:moveTo>
                    <a:lnTo>
                      <a:pt x="7724" y="184858"/>
                    </a:lnTo>
                    <a:close/>
                  </a:path>
                </a:pathLst>
              </a:custGeom>
              <a:solidFill>
                <a:srgbClr val="30373B"/>
              </a:solidFill>
              <a:ln w="5573" cap="flat">
                <a:noFill/>
                <a:prstDash val="solid"/>
                <a:miter/>
              </a:ln>
            </p:spPr>
            <p:txBody>
              <a:bodyPr rtlCol="0" anchor="ctr"/>
              <a:lstStyle/>
              <a:p>
                <a:endParaRPr lang="en-GB"/>
              </a:p>
            </p:txBody>
          </p:sp>
          <p:sp>
            <p:nvSpPr>
              <p:cNvPr id="198" name="Graphic 6">
                <a:extLst>
                  <a:ext uri="{FF2B5EF4-FFF2-40B4-BE49-F238E27FC236}">
                    <a16:creationId xmlns:a16="http://schemas.microsoft.com/office/drawing/2014/main" id="{777CA49E-3062-0399-0CA0-EB8B1BB90413}"/>
                  </a:ext>
                </a:extLst>
              </p:cNvPr>
              <p:cNvSpPr/>
              <p:nvPr/>
            </p:nvSpPr>
            <p:spPr>
              <a:xfrm>
                <a:off x="5088160" y="6091201"/>
                <a:ext cx="444801" cy="122709"/>
              </a:xfrm>
              <a:custGeom>
                <a:avLst/>
                <a:gdLst>
                  <a:gd name="connsiteX0" fmla="*/ 126423 w 444801"/>
                  <a:gd name="connsiteY0" fmla="*/ 122241 h 122709"/>
                  <a:gd name="connsiteX1" fmla="*/ 125475 w 444801"/>
                  <a:gd name="connsiteY1" fmla="*/ 122241 h 122709"/>
                  <a:gd name="connsiteX2" fmla="*/ 6553 w 444801"/>
                  <a:gd name="connsiteY2" fmla="*/ 108358 h 122709"/>
                  <a:gd name="connsiteX3" fmla="*/ -806 w 444801"/>
                  <a:gd name="connsiteY3" fmla="*/ 99995 h 122709"/>
                  <a:gd name="connsiteX4" fmla="*/ -416 w 444801"/>
                  <a:gd name="connsiteY4" fmla="*/ 20547 h 122709"/>
                  <a:gd name="connsiteX5" fmla="*/ 7055 w 444801"/>
                  <a:gd name="connsiteY5" fmla="*/ 12240 h 122709"/>
                  <a:gd name="connsiteX6" fmla="*/ 126256 w 444801"/>
                  <a:gd name="connsiteY6" fmla="*/ -417 h 122709"/>
                  <a:gd name="connsiteX7" fmla="*/ 133113 w 444801"/>
                  <a:gd name="connsiteY7" fmla="*/ 2036 h 122709"/>
                  <a:gd name="connsiteX8" fmla="*/ 157031 w 444801"/>
                  <a:gd name="connsiteY8" fmla="*/ 26178 h 122709"/>
                  <a:gd name="connsiteX9" fmla="*/ 389356 w 444801"/>
                  <a:gd name="connsiteY9" fmla="*/ 27404 h 122709"/>
                  <a:gd name="connsiteX10" fmla="*/ 397719 w 444801"/>
                  <a:gd name="connsiteY10" fmla="*/ 35767 h 122709"/>
                  <a:gd name="connsiteX11" fmla="*/ 389356 w 444801"/>
                  <a:gd name="connsiteY11" fmla="*/ 44130 h 122709"/>
                  <a:gd name="connsiteX12" fmla="*/ 389356 w 444801"/>
                  <a:gd name="connsiteY12" fmla="*/ 44130 h 122709"/>
                  <a:gd name="connsiteX13" fmla="*/ 153631 w 444801"/>
                  <a:gd name="connsiteY13" fmla="*/ 42904 h 122709"/>
                  <a:gd name="connsiteX14" fmla="*/ 147721 w 444801"/>
                  <a:gd name="connsiteY14" fmla="*/ 40450 h 122709"/>
                  <a:gd name="connsiteX15" fmla="*/ 124137 w 444801"/>
                  <a:gd name="connsiteY15" fmla="*/ 16644 h 122709"/>
                  <a:gd name="connsiteX16" fmla="*/ 16366 w 444801"/>
                  <a:gd name="connsiteY16" fmla="*/ 27794 h 122709"/>
                  <a:gd name="connsiteX17" fmla="*/ 16031 w 444801"/>
                  <a:gd name="connsiteY17" fmla="*/ 92301 h 122709"/>
                  <a:gd name="connsiteX18" fmla="*/ 123747 w 444801"/>
                  <a:gd name="connsiteY18" fmla="*/ 104846 h 122709"/>
                  <a:gd name="connsiteX19" fmla="*/ 147498 w 444801"/>
                  <a:gd name="connsiteY19" fmla="*/ 81262 h 122709"/>
                  <a:gd name="connsiteX20" fmla="*/ 153463 w 444801"/>
                  <a:gd name="connsiteY20" fmla="*/ 78865 h 122709"/>
                  <a:gd name="connsiteX21" fmla="*/ 435631 w 444801"/>
                  <a:gd name="connsiteY21" fmla="*/ 80091 h 122709"/>
                  <a:gd name="connsiteX22" fmla="*/ 443994 w 444801"/>
                  <a:gd name="connsiteY22" fmla="*/ 88454 h 122709"/>
                  <a:gd name="connsiteX23" fmla="*/ 435631 w 444801"/>
                  <a:gd name="connsiteY23" fmla="*/ 96817 h 122709"/>
                  <a:gd name="connsiteX24" fmla="*/ 435631 w 444801"/>
                  <a:gd name="connsiteY24" fmla="*/ 96817 h 122709"/>
                  <a:gd name="connsiteX25" fmla="*/ 156864 w 444801"/>
                  <a:gd name="connsiteY25" fmla="*/ 95591 h 122709"/>
                  <a:gd name="connsiteX26" fmla="*/ 132723 w 444801"/>
                  <a:gd name="connsiteY26" fmla="*/ 119509 h 122709"/>
                  <a:gd name="connsiteX27" fmla="*/ 126423 w 444801"/>
                  <a:gd name="connsiteY27" fmla="*/ 122241 h 12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801" h="122709">
                    <a:moveTo>
                      <a:pt x="126423" y="122241"/>
                    </a:moveTo>
                    <a:lnTo>
                      <a:pt x="125475" y="122241"/>
                    </a:lnTo>
                    <a:lnTo>
                      <a:pt x="6553" y="108358"/>
                    </a:lnTo>
                    <a:cubicBezTo>
                      <a:pt x="2332" y="107857"/>
                      <a:pt x="-840" y="104233"/>
                      <a:pt x="-806" y="99995"/>
                    </a:cubicBezTo>
                    <a:lnTo>
                      <a:pt x="-416" y="20547"/>
                    </a:lnTo>
                    <a:cubicBezTo>
                      <a:pt x="-411" y="16254"/>
                      <a:pt x="2806" y="12685"/>
                      <a:pt x="7055" y="12240"/>
                    </a:cubicBezTo>
                    <a:lnTo>
                      <a:pt x="126256" y="-417"/>
                    </a:lnTo>
                    <a:cubicBezTo>
                      <a:pt x="128798" y="-696"/>
                      <a:pt x="131329" y="197"/>
                      <a:pt x="133113" y="2036"/>
                    </a:cubicBezTo>
                    <a:lnTo>
                      <a:pt x="157031" y="26178"/>
                    </a:lnTo>
                    <a:lnTo>
                      <a:pt x="389356" y="27404"/>
                    </a:lnTo>
                    <a:cubicBezTo>
                      <a:pt x="393972" y="27404"/>
                      <a:pt x="397719" y="31140"/>
                      <a:pt x="397719" y="35767"/>
                    </a:cubicBezTo>
                    <a:cubicBezTo>
                      <a:pt x="397719" y="40395"/>
                      <a:pt x="393972" y="44130"/>
                      <a:pt x="389356" y="44130"/>
                    </a:cubicBezTo>
                    <a:lnTo>
                      <a:pt x="389356" y="44130"/>
                    </a:lnTo>
                    <a:lnTo>
                      <a:pt x="153631" y="42904"/>
                    </a:lnTo>
                    <a:cubicBezTo>
                      <a:pt x="151412" y="42904"/>
                      <a:pt x="149287" y="42012"/>
                      <a:pt x="147721" y="40450"/>
                    </a:cubicBezTo>
                    <a:lnTo>
                      <a:pt x="124137" y="16644"/>
                    </a:lnTo>
                    <a:lnTo>
                      <a:pt x="16366" y="27794"/>
                    </a:lnTo>
                    <a:lnTo>
                      <a:pt x="16031" y="92301"/>
                    </a:lnTo>
                    <a:lnTo>
                      <a:pt x="123747" y="104846"/>
                    </a:lnTo>
                    <a:lnTo>
                      <a:pt x="147498" y="81262"/>
                    </a:lnTo>
                    <a:cubicBezTo>
                      <a:pt x="149176" y="79868"/>
                      <a:pt x="151267" y="78976"/>
                      <a:pt x="153463" y="78865"/>
                    </a:cubicBezTo>
                    <a:lnTo>
                      <a:pt x="435631" y="80091"/>
                    </a:lnTo>
                    <a:cubicBezTo>
                      <a:pt x="440248" y="80091"/>
                      <a:pt x="443994" y="83827"/>
                      <a:pt x="443994" y="88454"/>
                    </a:cubicBezTo>
                    <a:cubicBezTo>
                      <a:pt x="443994" y="93082"/>
                      <a:pt x="440248" y="96817"/>
                      <a:pt x="435631" y="96817"/>
                    </a:cubicBezTo>
                    <a:lnTo>
                      <a:pt x="435631" y="96817"/>
                    </a:lnTo>
                    <a:lnTo>
                      <a:pt x="156864" y="95591"/>
                    </a:lnTo>
                    <a:lnTo>
                      <a:pt x="132723" y="119509"/>
                    </a:lnTo>
                    <a:cubicBezTo>
                      <a:pt x="131112" y="121293"/>
                      <a:pt x="128815" y="122297"/>
                      <a:pt x="126423" y="122241"/>
                    </a:cubicBezTo>
                    <a:close/>
                  </a:path>
                </a:pathLst>
              </a:custGeom>
              <a:solidFill>
                <a:srgbClr val="30373B"/>
              </a:solidFill>
              <a:ln w="5573" cap="flat">
                <a:noFill/>
                <a:prstDash val="solid"/>
                <a:miter/>
              </a:ln>
            </p:spPr>
            <p:txBody>
              <a:bodyPr rtlCol="0" anchor="ctr"/>
              <a:lstStyle/>
              <a:p>
                <a:endParaRPr lang="en-GB"/>
              </a:p>
            </p:txBody>
          </p:sp>
          <p:sp>
            <p:nvSpPr>
              <p:cNvPr id="199" name="Graphic 6">
                <a:extLst>
                  <a:ext uri="{FF2B5EF4-FFF2-40B4-BE49-F238E27FC236}">
                    <a16:creationId xmlns:a16="http://schemas.microsoft.com/office/drawing/2014/main" id="{BBB674A1-1B1F-11B1-8F7C-34924BB47BCD}"/>
                  </a:ext>
                </a:extLst>
              </p:cNvPr>
              <p:cNvSpPr/>
              <p:nvPr/>
            </p:nvSpPr>
            <p:spPr>
              <a:xfrm>
                <a:off x="7357993" y="2601869"/>
                <a:ext cx="16726" cy="3562642"/>
              </a:xfrm>
              <a:custGeom>
                <a:avLst/>
                <a:gdLst>
                  <a:gd name="connsiteX0" fmla="*/ 7556 w 16726"/>
                  <a:gd name="connsiteY0" fmla="*/ 3562176 h 3562642"/>
                  <a:gd name="connsiteX1" fmla="*/ -807 w 16726"/>
                  <a:gd name="connsiteY1" fmla="*/ 3553813 h 3562642"/>
                  <a:gd name="connsiteX2" fmla="*/ -807 w 16726"/>
                  <a:gd name="connsiteY2" fmla="*/ 3520361 h 3562642"/>
                  <a:gd name="connsiteX3" fmla="*/ 7556 w 16726"/>
                  <a:gd name="connsiteY3" fmla="*/ 3511998 h 3562642"/>
                  <a:gd name="connsiteX4" fmla="*/ 15919 w 16726"/>
                  <a:gd name="connsiteY4" fmla="*/ 3520361 h 3562642"/>
                  <a:gd name="connsiteX5" fmla="*/ 15919 w 16726"/>
                  <a:gd name="connsiteY5" fmla="*/ 3553813 h 3562642"/>
                  <a:gd name="connsiteX6" fmla="*/ 7556 w 16726"/>
                  <a:gd name="connsiteY6" fmla="*/ 3562176 h 3562642"/>
                  <a:gd name="connsiteX7" fmla="*/ 7556 w 16726"/>
                  <a:gd name="connsiteY7" fmla="*/ 3461820 h 3562642"/>
                  <a:gd name="connsiteX8" fmla="*/ -807 w 16726"/>
                  <a:gd name="connsiteY8" fmla="*/ 3453457 h 3562642"/>
                  <a:gd name="connsiteX9" fmla="*/ -807 w 16726"/>
                  <a:gd name="connsiteY9" fmla="*/ 3420005 h 3562642"/>
                  <a:gd name="connsiteX10" fmla="*/ 7556 w 16726"/>
                  <a:gd name="connsiteY10" fmla="*/ 3411642 h 3562642"/>
                  <a:gd name="connsiteX11" fmla="*/ 15919 w 16726"/>
                  <a:gd name="connsiteY11" fmla="*/ 3420005 h 3562642"/>
                  <a:gd name="connsiteX12" fmla="*/ 15919 w 16726"/>
                  <a:gd name="connsiteY12" fmla="*/ 3453457 h 3562642"/>
                  <a:gd name="connsiteX13" fmla="*/ 7556 w 16726"/>
                  <a:gd name="connsiteY13" fmla="*/ 3461820 h 3562642"/>
                  <a:gd name="connsiteX14" fmla="*/ 7556 w 16726"/>
                  <a:gd name="connsiteY14" fmla="*/ 3361463 h 3562642"/>
                  <a:gd name="connsiteX15" fmla="*/ -807 w 16726"/>
                  <a:gd name="connsiteY15" fmla="*/ 3353100 h 3562642"/>
                  <a:gd name="connsiteX16" fmla="*/ -807 w 16726"/>
                  <a:gd name="connsiteY16" fmla="*/ 3319648 h 3562642"/>
                  <a:gd name="connsiteX17" fmla="*/ 7556 w 16726"/>
                  <a:gd name="connsiteY17" fmla="*/ 3311285 h 3562642"/>
                  <a:gd name="connsiteX18" fmla="*/ 15919 w 16726"/>
                  <a:gd name="connsiteY18" fmla="*/ 3319648 h 3562642"/>
                  <a:gd name="connsiteX19" fmla="*/ 15919 w 16726"/>
                  <a:gd name="connsiteY19" fmla="*/ 3353100 h 3562642"/>
                  <a:gd name="connsiteX20" fmla="*/ 7556 w 16726"/>
                  <a:gd name="connsiteY20" fmla="*/ 3361463 h 3562642"/>
                  <a:gd name="connsiteX21" fmla="*/ 7556 w 16726"/>
                  <a:gd name="connsiteY21" fmla="*/ 3261107 h 3562642"/>
                  <a:gd name="connsiteX22" fmla="*/ -807 w 16726"/>
                  <a:gd name="connsiteY22" fmla="*/ 3252744 h 3562642"/>
                  <a:gd name="connsiteX23" fmla="*/ -807 w 16726"/>
                  <a:gd name="connsiteY23" fmla="*/ 3219292 h 3562642"/>
                  <a:gd name="connsiteX24" fmla="*/ 7556 w 16726"/>
                  <a:gd name="connsiteY24" fmla="*/ 3210929 h 3562642"/>
                  <a:gd name="connsiteX25" fmla="*/ 15919 w 16726"/>
                  <a:gd name="connsiteY25" fmla="*/ 3219292 h 3562642"/>
                  <a:gd name="connsiteX26" fmla="*/ 15919 w 16726"/>
                  <a:gd name="connsiteY26" fmla="*/ 3252744 h 3562642"/>
                  <a:gd name="connsiteX27" fmla="*/ 7556 w 16726"/>
                  <a:gd name="connsiteY27" fmla="*/ 3261107 h 3562642"/>
                  <a:gd name="connsiteX28" fmla="*/ 7556 w 16726"/>
                  <a:gd name="connsiteY28" fmla="*/ 3160751 h 3562642"/>
                  <a:gd name="connsiteX29" fmla="*/ -807 w 16726"/>
                  <a:gd name="connsiteY29" fmla="*/ 3152388 h 3562642"/>
                  <a:gd name="connsiteX30" fmla="*/ -807 w 16726"/>
                  <a:gd name="connsiteY30" fmla="*/ 3118936 h 3562642"/>
                  <a:gd name="connsiteX31" fmla="*/ 7556 w 16726"/>
                  <a:gd name="connsiteY31" fmla="*/ 3110573 h 3562642"/>
                  <a:gd name="connsiteX32" fmla="*/ 15919 w 16726"/>
                  <a:gd name="connsiteY32" fmla="*/ 3118936 h 3562642"/>
                  <a:gd name="connsiteX33" fmla="*/ 15919 w 16726"/>
                  <a:gd name="connsiteY33" fmla="*/ 3152388 h 3562642"/>
                  <a:gd name="connsiteX34" fmla="*/ 7556 w 16726"/>
                  <a:gd name="connsiteY34" fmla="*/ 3160751 h 3562642"/>
                  <a:gd name="connsiteX35" fmla="*/ 7556 w 16726"/>
                  <a:gd name="connsiteY35" fmla="*/ 3060395 h 3562642"/>
                  <a:gd name="connsiteX36" fmla="*/ -807 w 16726"/>
                  <a:gd name="connsiteY36" fmla="*/ 3052032 h 3562642"/>
                  <a:gd name="connsiteX37" fmla="*/ -807 w 16726"/>
                  <a:gd name="connsiteY37" fmla="*/ 3018580 h 3562642"/>
                  <a:gd name="connsiteX38" fmla="*/ 7556 w 16726"/>
                  <a:gd name="connsiteY38" fmla="*/ 3010217 h 3562642"/>
                  <a:gd name="connsiteX39" fmla="*/ 15919 w 16726"/>
                  <a:gd name="connsiteY39" fmla="*/ 3018580 h 3562642"/>
                  <a:gd name="connsiteX40" fmla="*/ 15919 w 16726"/>
                  <a:gd name="connsiteY40" fmla="*/ 3052032 h 3562642"/>
                  <a:gd name="connsiteX41" fmla="*/ 7556 w 16726"/>
                  <a:gd name="connsiteY41" fmla="*/ 3060395 h 3562642"/>
                  <a:gd name="connsiteX42" fmla="*/ 7556 w 16726"/>
                  <a:gd name="connsiteY42" fmla="*/ 2960039 h 3562642"/>
                  <a:gd name="connsiteX43" fmla="*/ -807 w 16726"/>
                  <a:gd name="connsiteY43" fmla="*/ 2951676 h 3562642"/>
                  <a:gd name="connsiteX44" fmla="*/ -807 w 16726"/>
                  <a:gd name="connsiteY44" fmla="*/ 2918224 h 3562642"/>
                  <a:gd name="connsiteX45" fmla="*/ 7556 w 16726"/>
                  <a:gd name="connsiteY45" fmla="*/ 2909861 h 3562642"/>
                  <a:gd name="connsiteX46" fmla="*/ 15919 w 16726"/>
                  <a:gd name="connsiteY46" fmla="*/ 2918224 h 3562642"/>
                  <a:gd name="connsiteX47" fmla="*/ 15919 w 16726"/>
                  <a:gd name="connsiteY47" fmla="*/ 2951676 h 3562642"/>
                  <a:gd name="connsiteX48" fmla="*/ 7556 w 16726"/>
                  <a:gd name="connsiteY48" fmla="*/ 2960039 h 3562642"/>
                  <a:gd name="connsiteX49" fmla="*/ 7556 w 16726"/>
                  <a:gd name="connsiteY49" fmla="*/ 2859683 h 3562642"/>
                  <a:gd name="connsiteX50" fmla="*/ -807 w 16726"/>
                  <a:gd name="connsiteY50" fmla="*/ 2851320 h 3562642"/>
                  <a:gd name="connsiteX51" fmla="*/ -807 w 16726"/>
                  <a:gd name="connsiteY51" fmla="*/ 2817868 h 3562642"/>
                  <a:gd name="connsiteX52" fmla="*/ 7556 w 16726"/>
                  <a:gd name="connsiteY52" fmla="*/ 2809505 h 3562642"/>
                  <a:gd name="connsiteX53" fmla="*/ 15919 w 16726"/>
                  <a:gd name="connsiteY53" fmla="*/ 2817868 h 3562642"/>
                  <a:gd name="connsiteX54" fmla="*/ 15919 w 16726"/>
                  <a:gd name="connsiteY54" fmla="*/ 2851320 h 3562642"/>
                  <a:gd name="connsiteX55" fmla="*/ 7556 w 16726"/>
                  <a:gd name="connsiteY55" fmla="*/ 2859683 h 3562642"/>
                  <a:gd name="connsiteX56" fmla="*/ 7556 w 16726"/>
                  <a:gd name="connsiteY56" fmla="*/ 2759327 h 3562642"/>
                  <a:gd name="connsiteX57" fmla="*/ -807 w 16726"/>
                  <a:gd name="connsiteY57" fmla="*/ 2750964 h 3562642"/>
                  <a:gd name="connsiteX58" fmla="*/ -807 w 16726"/>
                  <a:gd name="connsiteY58" fmla="*/ 2717512 h 3562642"/>
                  <a:gd name="connsiteX59" fmla="*/ 7556 w 16726"/>
                  <a:gd name="connsiteY59" fmla="*/ 2709149 h 3562642"/>
                  <a:gd name="connsiteX60" fmla="*/ 15919 w 16726"/>
                  <a:gd name="connsiteY60" fmla="*/ 2717512 h 3562642"/>
                  <a:gd name="connsiteX61" fmla="*/ 15919 w 16726"/>
                  <a:gd name="connsiteY61" fmla="*/ 2750964 h 3562642"/>
                  <a:gd name="connsiteX62" fmla="*/ 7556 w 16726"/>
                  <a:gd name="connsiteY62" fmla="*/ 2759327 h 3562642"/>
                  <a:gd name="connsiteX63" fmla="*/ 7556 w 16726"/>
                  <a:gd name="connsiteY63" fmla="*/ 2658971 h 3562642"/>
                  <a:gd name="connsiteX64" fmla="*/ -807 w 16726"/>
                  <a:gd name="connsiteY64" fmla="*/ 2650608 h 3562642"/>
                  <a:gd name="connsiteX65" fmla="*/ -807 w 16726"/>
                  <a:gd name="connsiteY65" fmla="*/ 2617156 h 3562642"/>
                  <a:gd name="connsiteX66" fmla="*/ 7556 w 16726"/>
                  <a:gd name="connsiteY66" fmla="*/ 2608793 h 3562642"/>
                  <a:gd name="connsiteX67" fmla="*/ 15919 w 16726"/>
                  <a:gd name="connsiteY67" fmla="*/ 2617156 h 3562642"/>
                  <a:gd name="connsiteX68" fmla="*/ 15919 w 16726"/>
                  <a:gd name="connsiteY68" fmla="*/ 2650608 h 3562642"/>
                  <a:gd name="connsiteX69" fmla="*/ 7556 w 16726"/>
                  <a:gd name="connsiteY69" fmla="*/ 2658971 h 3562642"/>
                  <a:gd name="connsiteX70" fmla="*/ 7556 w 16726"/>
                  <a:gd name="connsiteY70" fmla="*/ 2558614 h 3562642"/>
                  <a:gd name="connsiteX71" fmla="*/ -807 w 16726"/>
                  <a:gd name="connsiteY71" fmla="*/ 2550251 h 3562642"/>
                  <a:gd name="connsiteX72" fmla="*/ -807 w 16726"/>
                  <a:gd name="connsiteY72" fmla="*/ 2516799 h 3562642"/>
                  <a:gd name="connsiteX73" fmla="*/ 7556 w 16726"/>
                  <a:gd name="connsiteY73" fmla="*/ 2508436 h 3562642"/>
                  <a:gd name="connsiteX74" fmla="*/ 15919 w 16726"/>
                  <a:gd name="connsiteY74" fmla="*/ 2516799 h 3562642"/>
                  <a:gd name="connsiteX75" fmla="*/ 15919 w 16726"/>
                  <a:gd name="connsiteY75" fmla="*/ 2550251 h 3562642"/>
                  <a:gd name="connsiteX76" fmla="*/ 7556 w 16726"/>
                  <a:gd name="connsiteY76" fmla="*/ 2558614 h 3562642"/>
                  <a:gd name="connsiteX77" fmla="*/ 7556 w 16726"/>
                  <a:gd name="connsiteY77" fmla="*/ 2458258 h 3562642"/>
                  <a:gd name="connsiteX78" fmla="*/ -807 w 16726"/>
                  <a:gd name="connsiteY78" fmla="*/ 2449895 h 3562642"/>
                  <a:gd name="connsiteX79" fmla="*/ -807 w 16726"/>
                  <a:gd name="connsiteY79" fmla="*/ 2416443 h 3562642"/>
                  <a:gd name="connsiteX80" fmla="*/ 7556 w 16726"/>
                  <a:gd name="connsiteY80" fmla="*/ 2408080 h 3562642"/>
                  <a:gd name="connsiteX81" fmla="*/ 15919 w 16726"/>
                  <a:gd name="connsiteY81" fmla="*/ 2416443 h 3562642"/>
                  <a:gd name="connsiteX82" fmla="*/ 15919 w 16726"/>
                  <a:gd name="connsiteY82" fmla="*/ 2449895 h 3562642"/>
                  <a:gd name="connsiteX83" fmla="*/ 7556 w 16726"/>
                  <a:gd name="connsiteY83" fmla="*/ 2458258 h 3562642"/>
                  <a:gd name="connsiteX84" fmla="*/ 7556 w 16726"/>
                  <a:gd name="connsiteY84" fmla="*/ 2357902 h 3562642"/>
                  <a:gd name="connsiteX85" fmla="*/ -807 w 16726"/>
                  <a:gd name="connsiteY85" fmla="*/ 2349539 h 3562642"/>
                  <a:gd name="connsiteX86" fmla="*/ -807 w 16726"/>
                  <a:gd name="connsiteY86" fmla="*/ 2316087 h 3562642"/>
                  <a:gd name="connsiteX87" fmla="*/ 7556 w 16726"/>
                  <a:gd name="connsiteY87" fmla="*/ 2307724 h 3562642"/>
                  <a:gd name="connsiteX88" fmla="*/ 15919 w 16726"/>
                  <a:gd name="connsiteY88" fmla="*/ 2316087 h 3562642"/>
                  <a:gd name="connsiteX89" fmla="*/ 15919 w 16726"/>
                  <a:gd name="connsiteY89" fmla="*/ 2349539 h 3562642"/>
                  <a:gd name="connsiteX90" fmla="*/ 7556 w 16726"/>
                  <a:gd name="connsiteY90" fmla="*/ 2357902 h 3562642"/>
                  <a:gd name="connsiteX91" fmla="*/ 7556 w 16726"/>
                  <a:gd name="connsiteY91" fmla="*/ 2257546 h 3562642"/>
                  <a:gd name="connsiteX92" fmla="*/ -807 w 16726"/>
                  <a:gd name="connsiteY92" fmla="*/ 2249183 h 3562642"/>
                  <a:gd name="connsiteX93" fmla="*/ -807 w 16726"/>
                  <a:gd name="connsiteY93" fmla="*/ 2215731 h 3562642"/>
                  <a:gd name="connsiteX94" fmla="*/ 7556 w 16726"/>
                  <a:gd name="connsiteY94" fmla="*/ 2207368 h 3562642"/>
                  <a:gd name="connsiteX95" fmla="*/ 15919 w 16726"/>
                  <a:gd name="connsiteY95" fmla="*/ 2215731 h 3562642"/>
                  <a:gd name="connsiteX96" fmla="*/ 15919 w 16726"/>
                  <a:gd name="connsiteY96" fmla="*/ 2249183 h 3562642"/>
                  <a:gd name="connsiteX97" fmla="*/ 7556 w 16726"/>
                  <a:gd name="connsiteY97" fmla="*/ 2257546 h 3562642"/>
                  <a:gd name="connsiteX98" fmla="*/ 7556 w 16726"/>
                  <a:gd name="connsiteY98" fmla="*/ 2157190 h 3562642"/>
                  <a:gd name="connsiteX99" fmla="*/ -807 w 16726"/>
                  <a:gd name="connsiteY99" fmla="*/ 2148827 h 3562642"/>
                  <a:gd name="connsiteX100" fmla="*/ -807 w 16726"/>
                  <a:gd name="connsiteY100" fmla="*/ 2115375 h 3562642"/>
                  <a:gd name="connsiteX101" fmla="*/ 7556 w 16726"/>
                  <a:gd name="connsiteY101" fmla="*/ 2107012 h 3562642"/>
                  <a:gd name="connsiteX102" fmla="*/ 15919 w 16726"/>
                  <a:gd name="connsiteY102" fmla="*/ 2115375 h 3562642"/>
                  <a:gd name="connsiteX103" fmla="*/ 15919 w 16726"/>
                  <a:gd name="connsiteY103" fmla="*/ 2148827 h 3562642"/>
                  <a:gd name="connsiteX104" fmla="*/ 7556 w 16726"/>
                  <a:gd name="connsiteY104" fmla="*/ 2157190 h 3562642"/>
                  <a:gd name="connsiteX105" fmla="*/ 7556 w 16726"/>
                  <a:gd name="connsiteY105" fmla="*/ 2056834 h 3562642"/>
                  <a:gd name="connsiteX106" fmla="*/ -807 w 16726"/>
                  <a:gd name="connsiteY106" fmla="*/ 2048471 h 3562642"/>
                  <a:gd name="connsiteX107" fmla="*/ -807 w 16726"/>
                  <a:gd name="connsiteY107" fmla="*/ 2015019 h 3562642"/>
                  <a:gd name="connsiteX108" fmla="*/ 7556 w 16726"/>
                  <a:gd name="connsiteY108" fmla="*/ 2006656 h 3562642"/>
                  <a:gd name="connsiteX109" fmla="*/ 15919 w 16726"/>
                  <a:gd name="connsiteY109" fmla="*/ 2015019 h 3562642"/>
                  <a:gd name="connsiteX110" fmla="*/ 15919 w 16726"/>
                  <a:gd name="connsiteY110" fmla="*/ 2048471 h 3562642"/>
                  <a:gd name="connsiteX111" fmla="*/ 7556 w 16726"/>
                  <a:gd name="connsiteY111" fmla="*/ 2056834 h 3562642"/>
                  <a:gd name="connsiteX112" fmla="*/ 7556 w 16726"/>
                  <a:gd name="connsiteY112" fmla="*/ 1956478 h 3562642"/>
                  <a:gd name="connsiteX113" fmla="*/ -807 w 16726"/>
                  <a:gd name="connsiteY113" fmla="*/ 1948115 h 3562642"/>
                  <a:gd name="connsiteX114" fmla="*/ -807 w 16726"/>
                  <a:gd name="connsiteY114" fmla="*/ 1914663 h 3562642"/>
                  <a:gd name="connsiteX115" fmla="*/ 7556 w 16726"/>
                  <a:gd name="connsiteY115" fmla="*/ 1906300 h 3562642"/>
                  <a:gd name="connsiteX116" fmla="*/ 15919 w 16726"/>
                  <a:gd name="connsiteY116" fmla="*/ 1914663 h 3562642"/>
                  <a:gd name="connsiteX117" fmla="*/ 15919 w 16726"/>
                  <a:gd name="connsiteY117" fmla="*/ 1948115 h 3562642"/>
                  <a:gd name="connsiteX118" fmla="*/ 7556 w 16726"/>
                  <a:gd name="connsiteY118" fmla="*/ 1956478 h 3562642"/>
                  <a:gd name="connsiteX119" fmla="*/ 7556 w 16726"/>
                  <a:gd name="connsiteY119" fmla="*/ 1856122 h 3562642"/>
                  <a:gd name="connsiteX120" fmla="*/ -807 w 16726"/>
                  <a:gd name="connsiteY120" fmla="*/ 1847759 h 3562642"/>
                  <a:gd name="connsiteX121" fmla="*/ -807 w 16726"/>
                  <a:gd name="connsiteY121" fmla="*/ 1814306 h 3562642"/>
                  <a:gd name="connsiteX122" fmla="*/ 7556 w 16726"/>
                  <a:gd name="connsiteY122" fmla="*/ 1805943 h 3562642"/>
                  <a:gd name="connsiteX123" fmla="*/ 15919 w 16726"/>
                  <a:gd name="connsiteY123" fmla="*/ 1814306 h 3562642"/>
                  <a:gd name="connsiteX124" fmla="*/ 15919 w 16726"/>
                  <a:gd name="connsiteY124" fmla="*/ 1847759 h 3562642"/>
                  <a:gd name="connsiteX125" fmla="*/ 7556 w 16726"/>
                  <a:gd name="connsiteY125" fmla="*/ 1856122 h 3562642"/>
                  <a:gd name="connsiteX126" fmla="*/ 7556 w 16726"/>
                  <a:gd name="connsiteY126" fmla="*/ 1755765 h 3562642"/>
                  <a:gd name="connsiteX127" fmla="*/ -807 w 16726"/>
                  <a:gd name="connsiteY127" fmla="*/ 1747402 h 3562642"/>
                  <a:gd name="connsiteX128" fmla="*/ -807 w 16726"/>
                  <a:gd name="connsiteY128" fmla="*/ 1713950 h 3562642"/>
                  <a:gd name="connsiteX129" fmla="*/ 7556 w 16726"/>
                  <a:gd name="connsiteY129" fmla="*/ 1705587 h 3562642"/>
                  <a:gd name="connsiteX130" fmla="*/ 15919 w 16726"/>
                  <a:gd name="connsiteY130" fmla="*/ 1713950 h 3562642"/>
                  <a:gd name="connsiteX131" fmla="*/ 15919 w 16726"/>
                  <a:gd name="connsiteY131" fmla="*/ 1747402 h 3562642"/>
                  <a:gd name="connsiteX132" fmla="*/ 7556 w 16726"/>
                  <a:gd name="connsiteY132" fmla="*/ 1755765 h 3562642"/>
                  <a:gd name="connsiteX133" fmla="*/ 7556 w 16726"/>
                  <a:gd name="connsiteY133" fmla="*/ 1655409 h 3562642"/>
                  <a:gd name="connsiteX134" fmla="*/ -807 w 16726"/>
                  <a:gd name="connsiteY134" fmla="*/ 1647046 h 3562642"/>
                  <a:gd name="connsiteX135" fmla="*/ -807 w 16726"/>
                  <a:gd name="connsiteY135" fmla="*/ 1613594 h 3562642"/>
                  <a:gd name="connsiteX136" fmla="*/ 7556 w 16726"/>
                  <a:gd name="connsiteY136" fmla="*/ 1605231 h 3562642"/>
                  <a:gd name="connsiteX137" fmla="*/ 15919 w 16726"/>
                  <a:gd name="connsiteY137" fmla="*/ 1613594 h 3562642"/>
                  <a:gd name="connsiteX138" fmla="*/ 15919 w 16726"/>
                  <a:gd name="connsiteY138" fmla="*/ 1647046 h 3562642"/>
                  <a:gd name="connsiteX139" fmla="*/ 7556 w 16726"/>
                  <a:gd name="connsiteY139" fmla="*/ 1655409 h 3562642"/>
                  <a:gd name="connsiteX140" fmla="*/ 7556 w 16726"/>
                  <a:gd name="connsiteY140" fmla="*/ 1555053 h 3562642"/>
                  <a:gd name="connsiteX141" fmla="*/ -807 w 16726"/>
                  <a:gd name="connsiteY141" fmla="*/ 1546690 h 3562642"/>
                  <a:gd name="connsiteX142" fmla="*/ -807 w 16726"/>
                  <a:gd name="connsiteY142" fmla="*/ 1513238 h 3562642"/>
                  <a:gd name="connsiteX143" fmla="*/ 7556 w 16726"/>
                  <a:gd name="connsiteY143" fmla="*/ 1504875 h 3562642"/>
                  <a:gd name="connsiteX144" fmla="*/ 15919 w 16726"/>
                  <a:gd name="connsiteY144" fmla="*/ 1513238 h 3562642"/>
                  <a:gd name="connsiteX145" fmla="*/ 15919 w 16726"/>
                  <a:gd name="connsiteY145" fmla="*/ 1546690 h 3562642"/>
                  <a:gd name="connsiteX146" fmla="*/ 7556 w 16726"/>
                  <a:gd name="connsiteY146" fmla="*/ 1555053 h 3562642"/>
                  <a:gd name="connsiteX147" fmla="*/ 7556 w 16726"/>
                  <a:gd name="connsiteY147" fmla="*/ 1454697 h 3562642"/>
                  <a:gd name="connsiteX148" fmla="*/ -807 w 16726"/>
                  <a:gd name="connsiteY148" fmla="*/ 1446334 h 3562642"/>
                  <a:gd name="connsiteX149" fmla="*/ -807 w 16726"/>
                  <a:gd name="connsiteY149" fmla="*/ 1412882 h 3562642"/>
                  <a:gd name="connsiteX150" fmla="*/ 7556 w 16726"/>
                  <a:gd name="connsiteY150" fmla="*/ 1404519 h 3562642"/>
                  <a:gd name="connsiteX151" fmla="*/ 15919 w 16726"/>
                  <a:gd name="connsiteY151" fmla="*/ 1412882 h 3562642"/>
                  <a:gd name="connsiteX152" fmla="*/ 15919 w 16726"/>
                  <a:gd name="connsiteY152" fmla="*/ 1446334 h 3562642"/>
                  <a:gd name="connsiteX153" fmla="*/ 7556 w 16726"/>
                  <a:gd name="connsiteY153" fmla="*/ 1454697 h 3562642"/>
                  <a:gd name="connsiteX154" fmla="*/ 7556 w 16726"/>
                  <a:gd name="connsiteY154" fmla="*/ 1354341 h 3562642"/>
                  <a:gd name="connsiteX155" fmla="*/ -807 w 16726"/>
                  <a:gd name="connsiteY155" fmla="*/ 1345978 h 3562642"/>
                  <a:gd name="connsiteX156" fmla="*/ -807 w 16726"/>
                  <a:gd name="connsiteY156" fmla="*/ 1312526 h 3562642"/>
                  <a:gd name="connsiteX157" fmla="*/ 7556 w 16726"/>
                  <a:gd name="connsiteY157" fmla="*/ 1304163 h 3562642"/>
                  <a:gd name="connsiteX158" fmla="*/ 15919 w 16726"/>
                  <a:gd name="connsiteY158" fmla="*/ 1312526 h 3562642"/>
                  <a:gd name="connsiteX159" fmla="*/ 15919 w 16726"/>
                  <a:gd name="connsiteY159" fmla="*/ 1345978 h 3562642"/>
                  <a:gd name="connsiteX160" fmla="*/ 7556 w 16726"/>
                  <a:gd name="connsiteY160" fmla="*/ 1354341 h 3562642"/>
                  <a:gd name="connsiteX161" fmla="*/ 7556 w 16726"/>
                  <a:gd name="connsiteY161" fmla="*/ 1253985 h 3562642"/>
                  <a:gd name="connsiteX162" fmla="*/ -807 w 16726"/>
                  <a:gd name="connsiteY162" fmla="*/ 1245622 h 3562642"/>
                  <a:gd name="connsiteX163" fmla="*/ -807 w 16726"/>
                  <a:gd name="connsiteY163" fmla="*/ 1212170 h 3562642"/>
                  <a:gd name="connsiteX164" fmla="*/ 7556 w 16726"/>
                  <a:gd name="connsiteY164" fmla="*/ 1203807 h 3562642"/>
                  <a:gd name="connsiteX165" fmla="*/ 15919 w 16726"/>
                  <a:gd name="connsiteY165" fmla="*/ 1212170 h 3562642"/>
                  <a:gd name="connsiteX166" fmla="*/ 15919 w 16726"/>
                  <a:gd name="connsiteY166" fmla="*/ 1245622 h 3562642"/>
                  <a:gd name="connsiteX167" fmla="*/ 7556 w 16726"/>
                  <a:gd name="connsiteY167" fmla="*/ 1253985 h 3562642"/>
                  <a:gd name="connsiteX168" fmla="*/ 7556 w 16726"/>
                  <a:gd name="connsiteY168" fmla="*/ 1153629 h 3562642"/>
                  <a:gd name="connsiteX169" fmla="*/ -807 w 16726"/>
                  <a:gd name="connsiteY169" fmla="*/ 1145266 h 3562642"/>
                  <a:gd name="connsiteX170" fmla="*/ -807 w 16726"/>
                  <a:gd name="connsiteY170" fmla="*/ 1111814 h 3562642"/>
                  <a:gd name="connsiteX171" fmla="*/ 7556 w 16726"/>
                  <a:gd name="connsiteY171" fmla="*/ 1103451 h 3562642"/>
                  <a:gd name="connsiteX172" fmla="*/ 15919 w 16726"/>
                  <a:gd name="connsiteY172" fmla="*/ 1111814 h 3562642"/>
                  <a:gd name="connsiteX173" fmla="*/ 15919 w 16726"/>
                  <a:gd name="connsiteY173" fmla="*/ 1145266 h 3562642"/>
                  <a:gd name="connsiteX174" fmla="*/ 7556 w 16726"/>
                  <a:gd name="connsiteY174" fmla="*/ 1153629 h 3562642"/>
                  <a:gd name="connsiteX175" fmla="*/ 7556 w 16726"/>
                  <a:gd name="connsiteY175" fmla="*/ 1053273 h 3562642"/>
                  <a:gd name="connsiteX176" fmla="*/ -807 w 16726"/>
                  <a:gd name="connsiteY176" fmla="*/ 1044910 h 3562642"/>
                  <a:gd name="connsiteX177" fmla="*/ -807 w 16726"/>
                  <a:gd name="connsiteY177" fmla="*/ 1011457 h 3562642"/>
                  <a:gd name="connsiteX178" fmla="*/ 7556 w 16726"/>
                  <a:gd name="connsiteY178" fmla="*/ 1003094 h 3562642"/>
                  <a:gd name="connsiteX179" fmla="*/ 15919 w 16726"/>
                  <a:gd name="connsiteY179" fmla="*/ 1011457 h 3562642"/>
                  <a:gd name="connsiteX180" fmla="*/ 15919 w 16726"/>
                  <a:gd name="connsiteY180" fmla="*/ 1044910 h 3562642"/>
                  <a:gd name="connsiteX181" fmla="*/ 7556 w 16726"/>
                  <a:gd name="connsiteY181" fmla="*/ 1053273 h 3562642"/>
                  <a:gd name="connsiteX182" fmla="*/ 7556 w 16726"/>
                  <a:gd name="connsiteY182" fmla="*/ 952916 h 3562642"/>
                  <a:gd name="connsiteX183" fmla="*/ -807 w 16726"/>
                  <a:gd name="connsiteY183" fmla="*/ 944553 h 3562642"/>
                  <a:gd name="connsiteX184" fmla="*/ -807 w 16726"/>
                  <a:gd name="connsiteY184" fmla="*/ 911101 h 3562642"/>
                  <a:gd name="connsiteX185" fmla="*/ 7556 w 16726"/>
                  <a:gd name="connsiteY185" fmla="*/ 902738 h 3562642"/>
                  <a:gd name="connsiteX186" fmla="*/ 15919 w 16726"/>
                  <a:gd name="connsiteY186" fmla="*/ 911101 h 3562642"/>
                  <a:gd name="connsiteX187" fmla="*/ 15919 w 16726"/>
                  <a:gd name="connsiteY187" fmla="*/ 944553 h 3562642"/>
                  <a:gd name="connsiteX188" fmla="*/ 7556 w 16726"/>
                  <a:gd name="connsiteY188" fmla="*/ 952916 h 3562642"/>
                  <a:gd name="connsiteX189" fmla="*/ 7556 w 16726"/>
                  <a:gd name="connsiteY189" fmla="*/ 852560 h 3562642"/>
                  <a:gd name="connsiteX190" fmla="*/ -807 w 16726"/>
                  <a:gd name="connsiteY190" fmla="*/ 844197 h 3562642"/>
                  <a:gd name="connsiteX191" fmla="*/ -807 w 16726"/>
                  <a:gd name="connsiteY191" fmla="*/ 810745 h 3562642"/>
                  <a:gd name="connsiteX192" fmla="*/ 7556 w 16726"/>
                  <a:gd name="connsiteY192" fmla="*/ 802382 h 3562642"/>
                  <a:gd name="connsiteX193" fmla="*/ 15919 w 16726"/>
                  <a:gd name="connsiteY193" fmla="*/ 810745 h 3562642"/>
                  <a:gd name="connsiteX194" fmla="*/ 15919 w 16726"/>
                  <a:gd name="connsiteY194" fmla="*/ 844197 h 3562642"/>
                  <a:gd name="connsiteX195" fmla="*/ 7556 w 16726"/>
                  <a:gd name="connsiteY195" fmla="*/ 852560 h 3562642"/>
                  <a:gd name="connsiteX196" fmla="*/ 7556 w 16726"/>
                  <a:gd name="connsiteY196" fmla="*/ 752204 h 3562642"/>
                  <a:gd name="connsiteX197" fmla="*/ -807 w 16726"/>
                  <a:gd name="connsiteY197" fmla="*/ 743841 h 3562642"/>
                  <a:gd name="connsiteX198" fmla="*/ -807 w 16726"/>
                  <a:gd name="connsiteY198" fmla="*/ 710389 h 3562642"/>
                  <a:gd name="connsiteX199" fmla="*/ 7556 w 16726"/>
                  <a:gd name="connsiteY199" fmla="*/ 702026 h 3562642"/>
                  <a:gd name="connsiteX200" fmla="*/ 15919 w 16726"/>
                  <a:gd name="connsiteY200" fmla="*/ 710389 h 3562642"/>
                  <a:gd name="connsiteX201" fmla="*/ 15919 w 16726"/>
                  <a:gd name="connsiteY201" fmla="*/ 743841 h 3562642"/>
                  <a:gd name="connsiteX202" fmla="*/ 7556 w 16726"/>
                  <a:gd name="connsiteY202" fmla="*/ 752204 h 3562642"/>
                  <a:gd name="connsiteX203" fmla="*/ 7556 w 16726"/>
                  <a:gd name="connsiteY203" fmla="*/ 651848 h 3562642"/>
                  <a:gd name="connsiteX204" fmla="*/ -807 w 16726"/>
                  <a:gd name="connsiteY204" fmla="*/ 643485 h 3562642"/>
                  <a:gd name="connsiteX205" fmla="*/ -807 w 16726"/>
                  <a:gd name="connsiteY205" fmla="*/ 610033 h 3562642"/>
                  <a:gd name="connsiteX206" fmla="*/ 7556 w 16726"/>
                  <a:gd name="connsiteY206" fmla="*/ 601670 h 3562642"/>
                  <a:gd name="connsiteX207" fmla="*/ 15919 w 16726"/>
                  <a:gd name="connsiteY207" fmla="*/ 610033 h 3562642"/>
                  <a:gd name="connsiteX208" fmla="*/ 15919 w 16726"/>
                  <a:gd name="connsiteY208" fmla="*/ 643485 h 3562642"/>
                  <a:gd name="connsiteX209" fmla="*/ 7556 w 16726"/>
                  <a:gd name="connsiteY209" fmla="*/ 651848 h 3562642"/>
                  <a:gd name="connsiteX210" fmla="*/ 7556 w 16726"/>
                  <a:gd name="connsiteY210" fmla="*/ 551492 h 3562642"/>
                  <a:gd name="connsiteX211" fmla="*/ -807 w 16726"/>
                  <a:gd name="connsiteY211" fmla="*/ 543129 h 3562642"/>
                  <a:gd name="connsiteX212" fmla="*/ -807 w 16726"/>
                  <a:gd name="connsiteY212" fmla="*/ 509677 h 3562642"/>
                  <a:gd name="connsiteX213" fmla="*/ 7556 w 16726"/>
                  <a:gd name="connsiteY213" fmla="*/ 501314 h 3562642"/>
                  <a:gd name="connsiteX214" fmla="*/ 15919 w 16726"/>
                  <a:gd name="connsiteY214" fmla="*/ 509677 h 3562642"/>
                  <a:gd name="connsiteX215" fmla="*/ 15919 w 16726"/>
                  <a:gd name="connsiteY215" fmla="*/ 543129 h 3562642"/>
                  <a:gd name="connsiteX216" fmla="*/ 7556 w 16726"/>
                  <a:gd name="connsiteY216" fmla="*/ 551492 h 3562642"/>
                  <a:gd name="connsiteX217" fmla="*/ 7556 w 16726"/>
                  <a:gd name="connsiteY217" fmla="*/ 451136 h 3562642"/>
                  <a:gd name="connsiteX218" fmla="*/ -807 w 16726"/>
                  <a:gd name="connsiteY218" fmla="*/ 442773 h 3562642"/>
                  <a:gd name="connsiteX219" fmla="*/ -807 w 16726"/>
                  <a:gd name="connsiteY219" fmla="*/ 409321 h 3562642"/>
                  <a:gd name="connsiteX220" fmla="*/ 7556 w 16726"/>
                  <a:gd name="connsiteY220" fmla="*/ 400958 h 3562642"/>
                  <a:gd name="connsiteX221" fmla="*/ 15919 w 16726"/>
                  <a:gd name="connsiteY221" fmla="*/ 409321 h 3562642"/>
                  <a:gd name="connsiteX222" fmla="*/ 15919 w 16726"/>
                  <a:gd name="connsiteY222" fmla="*/ 442773 h 3562642"/>
                  <a:gd name="connsiteX223" fmla="*/ 7556 w 16726"/>
                  <a:gd name="connsiteY223" fmla="*/ 451136 h 3562642"/>
                  <a:gd name="connsiteX224" fmla="*/ 7556 w 16726"/>
                  <a:gd name="connsiteY224" fmla="*/ 350780 h 3562642"/>
                  <a:gd name="connsiteX225" fmla="*/ -807 w 16726"/>
                  <a:gd name="connsiteY225" fmla="*/ 342417 h 3562642"/>
                  <a:gd name="connsiteX226" fmla="*/ -807 w 16726"/>
                  <a:gd name="connsiteY226" fmla="*/ 308965 h 3562642"/>
                  <a:gd name="connsiteX227" fmla="*/ 7556 w 16726"/>
                  <a:gd name="connsiteY227" fmla="*/ 300602 h 3562642"/>
                  <a:gd name="connsiteX228" fmla="*/ 15919 w 16726"/>
                  <a:gd name="connsiteY228" fmla="*/ 308965 h 3562642"/>
                  <a:gd name="connsiteX229" fmla="*/ 15919 w 16726"/>
                  <a:gd name="connsiteY229" fmla="*/ 342417 h 3562642"/>
                  <a:gd name="connsiteX230" fmla="*/ 7556 w 16726"/>
                  <a:gd name="connsiteY230" fmla="*/ 350780 h 3562642"/>
                  <a:gd name="connsiteX231" fmla="*/ 7556 w 16726"/>
                  <a:gd name="connsiteY231" fmla="*/ 250424 h 3562642"/>
                  <a:gd name="connsiteX232" fmla="*/ -807 w 16726"/>
                  <a:gd name="connsiteY232" fmla="*/ 242060 h 3562642"/>
                  <a:gd name="connsiteX233" fmla="*/ -807 w 16726"/>
                  <a:gd name="connsiteY233" fmla="*/ 208608 h 3562642"/>
                  <a:gd name="connsiteX234" fmla="*/ 7556 w 16726"/>
                  <a:gd name="connsiteY234" fmla="*/ 200245 h 3562642"/>
                  <a:gd name="connsiteX235" fmla="*/ 15919 w 16726"/>
                  <a:gd name="connsiteY235" fmla="*/ 208608 h 3562642"/>
                  <a:gd name="connsiteX236" fmla="*/ 15919 w 16726"/>
                  <a:gd name="connsiteY236" fmla="*/ 242060 h 3562642"/>
                  <a:gd name="connsiteX237" fmla="*/ 7556 w 16726"/>
                  <a:gd name="connsiteY237" fmla="*/ 250424 h 3562642"/>
                  <a:gd name="connsiteX238" fmla="*/ 7556 w 16726"/>
                  <a:gd name="connsiteY238" fmla="*/ 150067 h 3562642"/>
                  <a:gd name="connsiteX239" fmla="*/ -807 w 16726"/>
                  <a:gd name="connsiteY239" fmla="*/ 141704 h 3562642"/>
                  <a:gd name="connsiteX240" fmla="*/ -807 w 16726"/>
                  <a:gd name="connsiteY240" fmla="*/ 108252 h 3562642"/>
                  <a:gd name="connsiteX241" fmla="*/ 7556 w 16726"/>
                  <a:gd name="connsiteY241" fmla="*/ 99889 h 3562642"/>
                  <a:gd name="connsiteX242" fmla="*/ 15919 w 16726"/>
                  <a:gd name="connsiteY242" fmla="*/ 108252 h 3562642"/>
                  <a:gd name="connsiteX243" fmla="*/ 15919 w 16726"/>
                  <a:gd name="connsiteY243" fmla="*/ 141704 h 3562642"/>
                  <a:gd name="connsiteX244" fmla="*/ 7556 w 16726"/>
                  <a:gd name="connsiteY244" fmla="*/ 150067 h 3562642"/>
                  <a:gd name="connsiteX245" fmla="*/ 7556 w 16726"/>
                  <a:gd name="connsiteY245" fmla="*/ 49711 h 3562642"/>
                  <a:gd name="connsiteX246" fmla="*/ -807 w 16726"/>
                  <a:gd name="connsiteY246" fmla="*/ 41348 h 3562642"/>
                  <a:gd name="connsiteX247" fmla="*/ -807 w 16726"/>
                  <a:gd name="connsiteY247" fmla="*/ 7896 h 3562642"/>
                  <a:gd name="connsiteX248" fmla="*/ 7556 w 16726"/>
                  <a:gd name="connsiteY248" fmla="*/ -467 h 3562642"/>
                  <a:gd name="connsiteX249" fmla="*/ 15919 w 16726"/>
                  <a:gd name="connsiteY249" fmla="*/ 7896 h 3562642"/>
                  <a:gd name="connsiteX250" fmla="*/ 15919 w 16726"/>
                  <a:gd name="connsiteY250" fmla="*/ 41348 h 3562642"/>
                  <a:gd name="connsiteX251" fmla="*/ 7556 w 16726"/>
                  <a:gd name="connsiteY251" fmla="*/ 49711 h 35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6726" h="3562642">
                    <a:moveTo>
                      <a:pt x="7556" y="3562176"/>
                    </a:moveTo>
                    <a:cubicBezTo>
                      <a:pt x="2928" y="3562176"/>
                      <a:pt x="-807" y="3558440"/>
                      <a:pt x="-807" y="3553813"/>
                    </a:cubicBezTo>
                    <a:lnTo>
                      <a:pt x="-807" y="3520361"/>
                    </a:lnTo>
                    <a:cubicBezTo>
                      <a:pt x="-807" y="3515733"/>
                      <a:pt x="2928" y="3511998"/>
                      <a:pt x="7556" y="3511998"/>
                    </a:cubicBezTo>
                    <a:cubicBezTo>
                      <a:pt x="12184" y="3511998"/>
                      <a:pt x="15919" y="3515733"/>
                      <a:pt x="15919" y="3520361"/>
                    </a:cubicBezTo>
                    <a:lnTo>
                      <a:pt x="15919" y="3553813"/>
                    </a:lnTo>
                    <a:cubicBezTo>
                      <a:pt x="15919" y="3558440"/>
                      <a:pt x="12184" y="3562176"/>
                      <a:pt x="7556" y="3562176"/>
                    </a:cubicBezTo>
                    <a:close/>
                    <a:moveTo>
                      <a:pt x="7556" y="3461820"/>
                    </a:moveTo>
                    <a:cubicBezTo>
                      <a:pt x="2928" y="3461820"/>
                      <a:pt x="-807" y="3458084"/>
                      <a:pt x="-807" y="3453457"/>
                    </a:cubicBezTo>
                    <a:lnTo>
                      <a:pt x="-807" y="3420005"/>
                    </a:lnTo>
                    <a:cubicBezTo>
                      <a:pt x="-807" y="3415377"/>
                      <a:pt x="2928" y="3411642"/>
                      <a:pt x="7556" y="3411642"/>
                    </a:cubicBezTo>
                    <a:cubicBezTo>
                      <a:pt x="12184" y="3411642"/>
                      <a:pt x="15919" y="3415377"/>
                      <a:pt x="15919" y="3420005"/>
                    </a:cubicBezTo>
                    <a:lnTo>
                      <a:pt x="15919" y="3453457"/>
                    </a:lnTo>
                    <a:cubicBezTo>
                      <a:pt x="15919" y="3458084"/>
                      <a:pt x="12184" y="3461820"/>
                      <a:pt x="7556" y="3461820"/>
                    </a:cubicBezTo>
                    <a:close/>
                    <a:moveTo>
                      <a:pt x="7556" y="3361463"/>
                    </a:moveTo>
                    <a:cubicBezTo>
                      <a:pt x="2928" y="3361463"/>
                      <a:pt x="-807" y="3357728"/>
                      <a:pt x="-807" y="3353100"/>
                    </a:cubicBezTo>
                    <a:lnTo>
                      <a:pt x="-807" y="3319648"/>
                    </a:lnTo>
                    <a:cubicBezTo>
                      <a:pt x="-807" y="3315020"/>
                      <a:pt x="2928" y="3311285"/>
                      <a:pt x="7556" y="3311285"/>
                    </a:cubicBezTo>
                    <a:cubicBezTo>
                      <a:pt x="12184" y="3311285"/>
                      <a:pt x="15919" y="3315020"/>
                      <a:pt x="15919" y="3319648"/>
                    </a:cubicBezTo>
                    <a:lnTo>
                      <a:pt x="15919" y="3353100"/>
                    </a:lnTo>
                    <a:cubicBezTo>
                      <a:pt x="15919" y="3357728"/>
                      <a:pt x="12184" y="3361463"/>
                      <a:pt x="7556" y="3361463"/>
                    </a:cubicBezTo>
                    <a:close/>
                    <a:moveTo>
                      <a:pt x="7556" y="3261107"/>
                    </a:moveTo>
                    <a:cubicBezTo>
                      <a:pt x="2928" y="3261107"/>
                      <a:pt x="-807" y="3257372"/>
                      <a:pt x="-807" y="3252744"/>
                    </a:cubicBezTo>
                    <a:lnTo>
                      <a:pt x="-807" y="3219292"/>
                    </a:lnTo>
                    <a:cubicBezTo>
                      <a:pt x="-807" y="3214664"/>
                      <a:pt x="2928" y="3210929"/>
                      <a:pt x="7556" y="3210929"/>
                    </a:cubicBezTo>
                    <a:cubicBezTo>
                      <a:pt x="12184" y="3210929"/>
                      <a:pt x="15919" y="3214664"/>
                      <a:pt x="15919" y="3219292"/>
                    </a:cubicBezTo>
                    <a:lnTo>
                      <a:pt x="15919" y="3252744"/>
                    </a:lnTo>
                    <a:cubicBezTo>
                      <a:pt x="15919" y="3257372"/>
                      <a:pt x="12184" y="3261107"/>
                      <a:pt x="7556" y="3261107"/>
                    </a:cubicBezTo>
                    <a:close/>
                    <a:moveTo>
                      <a:pt x="7556" y="3160751"/>
                    </a:moveTo>
                    <a:cubicBezTo>
                      <a:pt x="2928" y="3160751"/>
                      <a:pt x="-807" y="3157015"/>
                      <a:pt x="-807" y="3152388"/>
                    </a:cubicBezTo>
                    <a:lnTo>
                      <a:pt x="-807" y="3118936"/>
                    </a:lnTo>
                    <a:cubicBezTo>
                      <a:pt x="-807" y="3114308"/>
                      <a:pt x="2928" y="3110573"/>
                      <a:pt x="7556" y="3110573"/>
                    </a:cubicBezTo>
                    <a:cubicBezTo>
                      <a:pt x="12184" y="3110573"/>
                      <a:pt x="15919" y="3114308"/>
                      <a:pt x="15919" y="3118936"/>
                    </a:cubicBezTo>
                    <a:lnTo>
                      <a:pt x="15919" y="3152388"/>
                    </a:lnTo>
                    <a:cubicBezTo>
                      <a:pt x="15919" y="3157015"/>
                      <a:pt x="12184" y="3160751"/>
                      <a:pt x="7556" y="3160751"/>
                    </a:cubicBezTo>
                    <a:close/>
                    <a:moveTo>
                      <a:pt x="7556" y="3060395"/>
                    </a:moveTo>
                    <a:cubicBezTo>
                      <a:pt x="2928" y="3060395"/>
                      <a:pt x="-807" y="3056659"/>
                      <a:pt x="-807" y="3052032"/>
                    </a:cubicBezTo>
                    <a:lnTo>
                      <a:pt x="-807" y="3018580"/>
                    </a:lnTo>
                    <a:cubicBezTo>
                      <a:pt x="-807" y="3013952"/>
                      <a:pt x="2928" y="3010217"/>
                      <a:pt x="7556" y="3010217"/>
                    </a:cubicBezTo>
                    <a:cubicBezTo>
                      <a:pt x="12184" y="3010217"/>
                      <a:pt x="15919" y="3013952"/>
                      <a:pt x="15919" y="3018580"/>
                    </a:cubicBezTo>
                    <a:lnTo>
                      <a:pt x="15919" y="3052032"/>
                    </a:lnTo>
                    <a:cubicBezTo>
                      <a:pt x="15919" y="3056659"/>
                      <a:pt x="12184" y="3060395"/>
                      <a:pt x="7556" y="3060395"/>
                    </a:cubicBezTo>
                    <a:close/>
                    <a:moveTo>
                      <a:pt x="7556" y="2960039"/>
                    </a:moveTo>
                    <a:cubicBezTo>
                      <a:pt x="2928" y="2960039"/>
                      <a:pt x="-807" y="2956303"/>
                      <a:pt x="-807" y="2951676"/>
                    </a:cubicBezTo>
                    <a:lnTo>
                      <a:pt x="-807" y="2918224"/>
                    </a:lnTo>
                    <a:cubicBezTo>
                      <a:pt x="-807" y="2913596"/>
                      <a:pt x="2928" y="2909861"/>
                      <a:pt x="7556" y="2909861"/>
                    </a:cubicBezTo>
                    <a:cubicBezTo>
                      <a:pt x="12184" y="2909861"/>
                      <a:pt x="15919" y="2913596"/>
                      <a:pt x="15919" y="2918224"/>
                    </a:cubicBezTo>
                    <a:lnTo>
                      <a:pt x="15919" y="2951676"/>
                    </a:lnTo>
                    <a:cubicBezTo>
                      <a:pt x="15919" y="2956303"/>
                      <a:pt x="12184" y="2960039"/>
                      <a:pt x="7556" y="2960039"/>
                    </a:cubicBezTo>
                    <a:close/>
                    <a:moveTo>
                      <a:pt x="7556" y="2859683"/>
                    </a:moveTo>
                    <a:cubicBezTo>
                      <a:pt x="2928" y="2859683"/>
                      <a:pt x="-807" y="2855947"/>
                      <a:pt x="-807" y="2851320"/>
                    </a:cubicBezTo>
                    <a:lnTo>
                      <a:pt x="-807" y="2817868"/>
                    </a:lnTo>
                    <a:cubicBezTo>
                      <a:pt x="-807" y="2813240"/>
                      <a:pt x="2928" y="2809505"/>
                      <a:pt x="7556" y="2809505"/>
                    </a:cubicBezTo>
                    <a:cubicBezTo>
                      <a:pt x="12184" y="2809505"/>
                      <a:pt x="15919" y="2813240"/>
                      <a:pt x="15919" y="2817868"/>
                    </a:cubicBezTo>
                    <a:lnTo>
                      <a:pt x="15919" y="2851320"/>
                    </a:lnTo>
                    <a:cubicBezTo>
                      <a:pt x="15919" y="2855947"/>
                      <a:pt x="12184" y="2859683"/>
                      <a:pt x="7556" y="2859683"/>
                    </a:cubicBezTo>
                    <a:close/>
                    <a:moveTo>
                      <a:pt x="7556" y="2759327"/>
                    </a:moveTo>
                    <a:cubicBezTo>
                      <a:pt x="2928" y="2759327"/>
                      <a:pt x="-807" y="2755591"/>
                      <a:pt x="-807" y="2750964"/>
                    </a:cubicBezTo>
                    <a:lnTo>
                      <a:pt x="-807" y="2717512"/>
                    </a:lnTo>
                    <a:cubicBezTo>
                      <a:pt x="-807" y="2712884"/>
                      <a:pt x="2928" y="2709149"/>
                      <a:pt x="7556" y="2709149"/>
                    </a:cubicBezTo>
                    <a:cubicBezTo>
                      <a:pt x="12184" y="2709149"/>
                      <a:pt x="15919" y="2712884"/>
                      <a:pt x="15919" y="2717512"/>
                    </a:cubicBezTo>
                    <a:lnTo>
                      <a:pt x="15919" y="2750964"/>
                    </a:lnTo>
                    <a:cubicBezTo>
                      <a:pt x="15919" y="2755591"/>
                      <a:pt x="12184" y="2759327"/>
                      <a:pt x="7556" y="2759327"/>
                    </a:cubicBezTo>
                    <a:close/>
                    <a:moveTo>
                      <a:pt x="7556" y="2658971"/>
                    </a:moveTo>
                    <a:cubicBezTo>
                      <a:pt x="2928" y="2658971"/>
                      <a:pt x="-807" y="2655235"/>
                      <a:pt x="-807" y="2650608"/>
                    </a:cubicBezTo>
                    <a:lnTo>
                      <a:pt x="-807" y="2617156"/>
                    </a:lnTo>
                    <a:cubicBezTo>
                      <a:pt x="-807" y="2612539"/>
                      <a:pt x="2928" y="2608793"/>
                      <a:pt x="7556" y="2608793"/>
                    </a:cubicBezTo>
                    <a:cubicBezTo>
                      <a:pt x="12184" y="2608793"/>
                      <a:pt x="15919" y="2612539"/>
                      <a:pt x="15919" y="2617156"/>
                    </a:cubicBezTo>
                    <a:lnTo>
                      <a:pt x="15919" y="2650608"/>
                    </a:lnTo>
                    <a:cubicBezTo>
                      <a:pt x="15919" y="2655235"/>
                      <a:pt x="12184" y="2658971"/>
                      <a:pt x="7556" y="2658971"/>
                    </a:cubicBezTo>
                    <a:close/>
                    <a:moveTo>
                      <a:pt x="7556" y="2558614"/>
                    </a:moveTo>
                    <a:cubicBezTo>
                      <a:pt x="2928" y="2558614"/>
                      <a:pt x="-807" y="2554868"/>
                      <a:pt x="-807" y="2550251"/>
                    </a:cubicBezTo>
                    <a:lnTo>
                      <a:pt x="-807" y="2516799"/>
                    </a:lnTo>
                    <a:cubicBezTo>
                      <a:pt x="-807" y="2512183"/>
                      <a:pt x="2928" y="2508436"/>
                      <a:pt x="7556" y="2508436"/>
                    </a:cubicBezTo>
                    <a:cubicBezTo>
                      <a:pt x="12184" y="2508436"/>
                      <a:pt x="15919" y="2512183"/>
                      <a:pt x="15919" y="2516799"/>
                    </a:cubicBezTo>
                    <a:lnTo>
                      <a:pt x="15919" y="2550251"/>
                    </a:lnTo>
                    <a:cubicBezTo>
                      <a:pt x="15919" y="2554868"/>
                      <a:pt x="12184" y="2558614"/>
                      <a:pt x="7556" y="2558614"/>
                    </a:cubicBezTo>
                    <a:close/>
                    <a:moveTo>
                      <a:pt x="7556" y="2458258"/>
                    </a:moveTo>
                    <a:cubicBezTo>
                      <a:pt x="2928" y="2458258"/>
                      <a:pt x="-807" y="2454512"/>
                      <a:pt x="-807" y="2449895"/>
                    </a:cubicBezTo>
                    <a:lnTo>
                      <a:pt x="-807" y="2416443"/>
                    </a:lnTo>
                    <a:cubicBezTo>
                      <a:pt x="-807" y="2411827"/>
                      <a:pt x="2928" y="2408080"/>
                      <a:pt x="7556" y="2408080"/>
                    </a:cubicBezTo>
                    <a:cubicBezTo>
                      <a:pt x="12184" y="2408080"/>
                      <a:pt x="15919" y="2411827"/>
                      <a:pt x="15919" y="2416443"/>
                    </a:cubicBezTo>
                    <a:lnTo>
                      <a:pt x="15919" y="2449895"/>
                    </a:lnTo>
                    <a:cubicBezTo>
                      <a:pt x="15919" y="2454512"/>
                      <a:pt x="12184" y="2458258"/>
                      <a:pt x="7556" y="2458258"/>
                    </a:cubicBezTo>
                    <a:close/>
                    <a:moveTo>
                      <a:pt x="7556" y="2357902"/>
                    </a:moveTo>
                    <a:cubicBezTo>
                      <a:pt x="2928" y="2357902"/>
                      <a:pt x="-807" y="2354156"/>
                      <a:pt x="-807" y="2349539"/>
                    </a:cubicBezTo>
                    <a:lnTo>
                      <a:pt x="-807" y="2316087"/>
                    </a:lnTo>
                    <a:cubicBezTo>
                      <a:pt x="-807" y="2311471"/>
                      <a:pt x="2928" y="2307724"/>
                      <a:pt x="7556" y="2307724"/>
                    </a:cubicBezTo>
                    <a:cubicBezTo>
                      <a:pt x="12184" y="2307724"/>
                      <a:pt x="15919" y="2311471"/>
                      <a:pt x="15919" y="2316087"/>
                    </a:cubicBezTo>
                    <a:lnTo>
                      <a:pt x="15919" y="2349539"/>
                    </a:lnTo>
                    <a:cubicBezTo>
                      <a:pt x="15919" y="2354156"/>
                      <a:pt x="12184" y="2357902"/>
                      <a:pt x="7556" y="2357902"/>
                    </a:cubicBezTo>
                    <a:close/>
                    <a:moveTo>
                      <a:pt x="7556" y="2257546"/>
                    </a:moveTo>
                    <a:cubicBezTo>
                      <a:pt x="2928" y="2257546"/>
                      <a:pt x="-807" y="2253799"/>
                      <a:pt x="-807" y="2249183"/>
                    </a:cubicBezTo>
                    <a:lnTo>
                      <a:pt x="-807" y="2215731"/>
                    </a:lnTo>
                    <a:cubicBezTo>
                      <a:pt x="-807" y="2211115"/>
                      <a:pt x="2928" y="2207368"/>
                      <a:pt x="7556" y="2207368"/>
                    </a:cubicBezTo>
                    <a:cubicBezTo>
                      <a:pt x="12184" y="2207368"/>
                      <a:pt x="15919" y="2211115"/>
                      <a:pt x="15919" y="2215731"/>
                    </a:cubicBezTo>
                    <a:lnTo>
                      <a:pt x="15919" y="2249183"/>
                    </a:lnTo>
                    <a:cubicBezTo>
                      <a:pt x="15919" y="2253799"/>
                      <a:pt x="12184" y="2257546"/>
                      <a:pt x="7556" y="2257546"/>
                    </a:cubicBezTo>
                    <a:close/>
                    <a:moveTo>
                      <a:pt x="7556" y="2157190"/>
                    </a:moveTo>
                    <a:cubicBezTo>
                      <a:pt x="2928" y="2157190"/>
                      <a:pt x="-807" y="2153443"/>
                      <a:pt x="-807" y="2148827"/>
                    </a:cubicBezTo>
                    <a:lnTo>
                      <a:pt x="-807" y="2115375"/>
                    </a:lnTo>
                    <a:cubicBezTo>
                      <a:pt x="-807" y="2110759"/>
                      <a:pt x="2928" y="2107012"/>
                      <a:pt x="7556" y="2107012"/>
                    </a:cubicBezTo>
                    <a:cubicBezTo>
                      <a:pt x="12184" y="2107012"/>
                      <a:pt x="15919" y="2110759"/>
                      <a:pt x="15919" y="2115375"/>
                    </a:cubicBezTo>
                    <a:lnTo>
                      <a:pt x="15919" y="2148827"/>
                    </a:lnTo>
                    <a:cubicBezTo>
                      <a:pt x="15919" y="2153443"/>
                      <a:pt x="12184" y="2157190"/>
                      <a:pt x="7556" y="2157190"/>
                    </a:cubicBezTo>
                    <a:close/>
                    <a:moveTo>
                      <a:pt x="7556" y="2056834"/>
                    </a:moveTo>
                    <a:cubicBezTo>
                      <a:pt x="2928" y="2056834"/>
                      <a:pt x="-807" y="2053087"/>
                      <a:pt x="-807" y="2048471"/>
                    </a:cubicBezTo>
                    <a:lnTo>
                      <a:pt x="-807" y="2015019"/>
                    </a:lnTo>
                    <a:cubicBezTo>
                      <a:pt x="-807" y="2010402"/>
                      <a:pt x="2928" y="2006656"/>
                      <a:pt x="7556" y="2006656"/>
                    </a:cubicBezTo>
                    <a:cubicBezTo>
                      <a:pt x="12184" y="2006656"/>
                      <a:pt x="15919" y="2010402"/>
                      <a:pt x="15919" y="2015019"/>
                    </a:cubicBezTo>
                    <a:lnTo>
                      <a:pt x="15919" y="2048471"/>
                    </a:lnTo>
                    <a:cubicBezTo>
                      <a:pt x="15919" y="2053087"/>
                      <a:pt x="12184" y="2056834"/>
                      <a:pt x="7556" y="2056834"/>
                    </a:cubicBezTo>
                    <a:close/>
                    <a:moveTo>
                      <a:pt x="7556" y="1956478"/>
                    </a:moveTo>
                    <a:cubicBezTo>
                      <a:pt x="2928" y="1956478"/>
                      <a:pt x="-807" y="1952731"/>
                      <a:pt x="-807" y="1948115"/>
                    </a:cubicBezTo>
                    <a:lnTo>
                      <a:pt x="-807" y="1914663"/>
                    </a:lnTo>
                    <a:cubicBezTo>
                      <a:pt x="-807" y="1910046"/>
                      <a:pt x="2928" y="1906300"/>
                      <a:pt x="7556" y="1906300"/>
                    </a:cubicBezTo>
                    <a:cubicBezTo>
                      <a:pt x="12184" y="1906300"/>
                      <a:pt x="15919" y="1910046"/>
                      <a:pt x="15919" y="1914663"/>
                    </a:cubicBezTo>
                    <a:lnTo>
                      <a:pt x="15919" y="1948115"/>
                    </a:lnTo>
                    <a:cubicBezTo>
                      <a:pt x="15919" y="1952731"/>
                      <a:pt x="12184" y="1956478"/>
                      <a:pt x="7556" y="1956478"/>
                    </a:cubicBezTo>
                    <a:close/>
                    <a:moveTo>
                      <a:pt x="7556" y="1856122"/>
                    </a:moveTo>
                    <a:cubicBezTo>
                      <a:pt x="2928" y="1856122"/>
                      <a:pt x="-807" y="1852375"/>
                      <a:pt x="-807" y="1847759"/>
                    </a:cubicBezTo>
                    <a:lnTo>
                      <a:pt x="-807" y="1814306"/>
                    </a:lnTo>
                    <a:cubicBezTo>
                      <a:pt x="-807" y="1809690"/>
                      <a:pt x="2928" y="1805943"/>
                      <a:pt x="7556" y="1805943"/>
                    </a:cubicBezTo>
                    <a:cubicBezTo>
                      <a:pt x="12184" y="1805943"/>
                      <a:pt x="15919" y="1809690"/>
                      <a:pt x="15919" y="1814306"/>
                    </a:cubicBezTo>
                    <a:lnTo>
                      <a:pt x="15919" y="1847759"/>
                    </a:lnTo>
                    <a:cubicBezTo>
                      <a:pt x="15919" y="1852375"/>
                      <a:pt x="12184" y="1856122"/>
                      <a:pt x="7556" y="1856122"/>
                    </a:cubicBezTo>
                    <a:close/>
                    <a:moveTo>
                      <a:pt x="7556" y="1755765"/>
                    </a:moveTo>
                    <a:cubicBezTo>
                      <a:pt x="2928" y="1755765"/>
                      <a:pt x="-807" y="1752019"/>
                      <a:pt x="-807" y="1747402"/>
                    </a:cubicBezTo>
                    <a:lnTo>
                      <a:pt x="-807" y="1713950"/>
                    </a:lnTo>
                    <a:cubicBezTo>
                      <a:pt x="-807" y="1709334"/>
                      <a:pt x="2928" y="1705587"/>
                      <a:pt x="7556" y="1705587"/>
                    </a:cubicBezTo>
                    <a:cubicBezTo>
                      <a:pt x="12184" y="1705587"/>
                      <a:pt x="15919" y="1709334"/>
                      <a:pt x="15919" y="1713950"/>
                    </a:cubicBezTo>
                    <a:lnTo>
                      <a:pt x="15919" y="1747402"/>
                    </a:lnTo>
                    <a:cubicBezTo>
                      <a:pt x="15919" y="1752019"/>
                      <a:pt x="12184" y="1755765"/>
                      <a:pt x="7556" y="1755765"/>
                    </a:cubicBezTo>
                    <a:close/>
                    <a:moveTo>
                      <a:pt x="7556" y="1655409"/>
                    </a:moveTo>
                    <a:cubicBezTo>
                      <a:pt x="2928" y="1655409"/>
                      <a:pt x="-807" y="1651663"/>
                      <a:pt x="-807" y="1647046"/>
                    </a:cubicBezTo>
                    <a:lnTo>
                      <a:pt x="-807" y="1613594"/>
                    </a:lnTo>
                    <a:cubicBezTo>
                      <a:pt x="-807" y="1608978"/>
                      <a:pt x="2928" y="1605231"/>
                      <a:pt x="7556" y="1605231"/>
                    </a:cubicBezTo>
                    <a:cubicBezTo>
                      <a:pt x="12184" y="1605231"/>
                      <a:pt x="15919" y="1608978"/>
                      <a:pt x="15919" y="1613594"/>
                    </a:cubicBezTo>
                    <a:lnTo>
                      <a:pt x="15919" y="1647046"/>
                    </a:lnTo>
                    <a:cubicBezTo>
                      <a:pt x="15919" y="1651663"/>
                      <a:pt x="12184" y="1655409"/>
                      <a:pt x="7556" y="1655409"/>
                    </a:cubicBezTo>
                    <a:close/>
                    <a:moveTo>
                      <a:pt x="7556" y="1555053"/>
                    </a:moveTo>
                    <a:cubicBezTo>
                      <a:pt x="2928" y="1555053"/>
                      <a:pt x="-807" y="1551307"/>
                      <a:pt x="-807" y="1546690"/>
                    </a:cubicBezTo>
                    <a:lnTo>
                      <a:pt x="-807" y="1513238"/>
                    </a:lnTo>
                    <a:cubicBezTo>
                      <a:pt x="-807" y="1508622"/>
                      <a:pt x="2928" y="1504875"/>
                      <a:pt x="7556" y="1504875"/>
                    </a:cubicBezTo>
                    <a:cubicBezTo>
                      <a:pt x="12184" y="1504875"/>
                      <a:pt x="15919" y="1508622"/>
                      <a:pt x="15919" y="1513238"/>
                    </a:cubicBezTo>
                    <a:lnTo>
                      <a:pt x="15919" y="1546690"/>
                    </a:lnTo>
                    <a:cubicBezTo>
                      <a:pt x="15919" y="1551307"/>
                      <a:pt x="12184" y="1555053"/>
                      <a:pt x="7556" y="1555053"/>
                    </a:cubicBezTo>
                    <a:close/>
                    <a:moveTo>
                      <a:pt x="7556" y="1454697"/>
                    </a:moveTo>
                    <a:cubicBezTo>
                      <a:pt x="2928" y="1454697"/>
                      <a:pt x="-807" y="1450950"/>
                      <a:pt x="-807" y="1446334"/>
                    </a:cubicBezTo>
                    <a:lnTo>
                      <a:pt x="-807" y="1412882"/>
                    </a:lnTo>
                    <a:cubicBezTo>
                      <a:pt x="-807" y="1408266"/>
                      <a:pt x="2928" y="1404519"/>
                      <a:pt x="7556" y="1404519"/>
                    </a:cubicBezTo>
                    <a:cubicBezTo>
                      <a:pt x="12184" y="1404519"/>
                      <a:pt x="15919" y="1408266"/>
                      <a:pt x="15919" y="1412882"/>
                    </a:cubicBezTo>
                    <a:lnTo>
                      <a:pt x="15919" y="1446334"/>
                    </a:lnTo>
                    <a:cubicBezTo>
                      <a:pt x="15919" y="1450950"/>
                      <a:pt x="12184" y="1454697"/>
                      <a:pt x="7556" y="1454697"/>
                    </a:cubicBezTo>
                    <a:close/>
                    <a:moveTo>
                      <a:pt x="7556" y="1354341"/>
                    </a:moveTo>
                    <a:cubicBezTo>
                      <a:pt x="2928" y="1354341"/>
                      <a:pt x="-807" y="1350594"/>
                      <a:pt x="-807" y="1345978"/>
                    </a:cubicBezTo>
                    <a:lnTo>
                      <a:pt x="-807" y="1312526"/>
                    </a:lnTo>
                    <a:cubicBezTo>
                      <a:pt x="-807" y="1307909"/>
                      <a:pt x="2928" y="1304163"/>
                      <a:pt x="7556" y="1304163"/>
                    </a:cubicBezTo>
                    <a:cubicBezTo>
                      <a:pt x="12184" y="1304163"/>
                      <a:pt x="15919" y="1307909"/>
                      <a:pt x="15919" y="1312526"/>
                    </a:cubicBezTo>
                    <a:lnTo>
                      <a:pt x="15919" y="1345978"/>
                    </a:lnTo>
                    <a:cubicBezTo>
                      <a:pt x="15919" y="1350594"/>
                      <a:pt x="12184" y="1354341"/>
                      <a:pt x="7556" y="1354341"/>
                    </a:cubicBezTo>
                    <a:close/>
                    <a:moveTo>
                      <a:pt x="7556" y="1253985"/>
                    </a:moveTo>
                    <a:cubicBezTo>
                      <a:pt x="2928" y="1253985"/>
                      <a:pt x="-807" y="1250238"/>
                      <a:pt x="-807" y="1245622"/>
                    </a:cubicBezTo>
                    <a:lnTo>
                      <a:pt x="-807" y="1212170"/>
                    </a:lnTo>
                    <a:cubicBezTo>
                      <a:pt x="-807" y="1207553"/>
                      <a:pt x="2928" y="1203807"/>
                      <a:pt x="7556" y="1203807"/>
                    </a:cubicBezTo>
                    <a:cubicBezTo>
                      <a:pt x="12184" y="1203807"/>
                      <a:pt x="15919" y="1207553"/>
                      <a:pt x="15919" y="1212170"/>
                    </a:cubicBezTo>
                    <a:lnTo>
                      <a:pt x="15919" y="1245622"/>
                    </a:lnTo>
                    <a:cubicBezTo>
                      <a:pt x="15919" y="1250238"/>
                      <a:pt x="12184" y="1253985"/>
                      <a:pt x="7556" y="1253985"/>
                    </a:cubicBezTo>
                    <a:close/>
                    <a:moveTo>
                      <a:pt x="7556" y="1153629"/>
                    </a:moveTo>
                    <a:cubicBezTo>
                      <a:pt x="2928" y="1153629"/>
                      <a:pt x="-807" y="1149882"/>
                      <a:pt x="-807" y="1145266"/>
                    </a:cubicBezTo>
                    <a:lnTo>
                      <a:pt x="-807" y="1111814"/>
                    </a:lnTo>
                    <a:cubicBezTo>
                      <a:pt x="-807" y="1107197"/>
                      <a:pt x="2928" y="1103451"/>
                      <a:pt x="7556" y="1103451"/>
                    </a:cubicBezTo>
                    <a:cubicBezTo>
                      <a:pt x="12184" y="1103451"/>
                      <a:pt x="15919" y="1107197"/>
                      <a:pt x="15919" y="1111814"/>
                    </a:cubicBezTo>
                    <a:lnTo>
                      <a:pt x="15919" y="1145266"/>
                    </a:lnTo>
                    <a:cubicBezTo>
                      <a:pt x="15919" y="1149882"/>
                      <a:pt x="12184" y="1153629"/>
                      <a:pt x="7556" y="1153629"/>
                    </a:cubicBezTo>
                    <a:close/>
                    <a:moveTo>
                      <a:pt x="7556" y="1053273"/>
                    </a:moveTo>
                    <a:cubicBezTo>
                      <a:pt x="2928" y="1053273"/>
                      <a:pt x="-807" y="1049526"/>
                      <a:pt x="-807" y="1044910"/>
                    </a:cubicBezTo>
                    <a:lnTo>
                      <a:pt x="-807" y="1011457"/>
                    </a:lnTo>
                    <a:cubicBezTo>
                      <a:pt x="-807" y="1006841"/>
                      <a:pt x="2928" y="1003094"/>
                      <a:pt x="7556" y="1003094"/>
                    </a:cubicBezTo>
                    <a:cubicBezTo>
                      <a:pt x="12184" y="1003094"/>
                      <a:pt x="15919" y="1006841"/>
                      <a:pt x="15919" y="1011457"/>
                    </a:cubicBezTo>
                    <a:lnTo>
                      <a:pt x="15919" y="1044910"/>
                    </a:lnTo>
                    <a:cubicBezTo>
                      <a:pt x="15919" y="1049526"/>
                      <a:pt x="12184" y="1053273"/>
                      <a:pt x="7556" y="1053273"/>
                    </a:cubicBezTo>
                    <a:close/>
                    <a:moveTo>
                      <a:pt x="7556" y="952916"/>
                    </a:moveTo>
                    <a:cubicBezTo>
                      <a:pt x="2928" y="952916"/>
                      <a:pt x="-807" y="949170"/>
                      <a:pt x="-807" y="944553"/>
                    </a:cubicBezTo>
                    <a:lnTo>
                      <a:pt x="-807" y="911101"/>
                    </a:lnTo>
                    <a:cubicBezTo>
                      <a:pt x="-807" y="906485"/>
                      <a:pt x="2928" y="902738"/>
                      <a:pt x="7556" y="902738"/>
                    </a:cubicBezTo>
                    <a:cubicBezTo>
                      <a:pt x="12184" y="902738"/>
                      <a:pt x="15919" y="906485"/>
                      <a:pt x="15919" y="911101"/>
                    </a:cubicBezTo>
                    <a:lnTo>
                      <a:pt x="15919" y="944553"/>
                    </a:lnTo>
                    <a:cubicBezTo>
                      <a:pt x="15919" y="949170"/>
                      <a:pt x="12184" y="952916"/>
                      <a:pt x="7556" y="952916"/>
                    </a:cubicBezTo>
                    <a:close/>
                    <a:moveTo>
                      <a:pt x="7556" y="852560"/>
                    </a:moveTo>
                    <a:cubicBezTo>
                      <a:pt x="2928" y="852560"/>
                      <a:pt x="-807" y="848814"/>
                      <a:pt x="-807" y="844197"/>
                    </a:cubicBezTo>
                    <a:lnTo>
                      <a:pt x="-807" y="810745"/>
                    </a:lnTo>
                    <a:cubicBezTo>
                      <a:pt x="-807" y="806129"/>
                      <a:pt x="2928" y="802382"/>
                      <a:pt x="7556" y="802382"/>
                    </a:cubicBezTo>
                    <a:cubicBezTo>
                      <a:pt x="12184" y="802382"/>
                      <a:pt x="15919" y="806129"/>
                      <a:pt x="15919" y="810745"/>
                    </a:cubicBezTo>
                    <a:lnTo>
                      <a:pt x="15919" y="844197"/>
                    </a:lnTo>
                    <a:cubicBezTo>
                      <a:pt x="15919" y="848814"/>
                      <a:pt x="12184" y="852560"/>
                      <a:pt x="7556" y="852560"/>
                    </a:cubicBezTo>
                    <a:close/>
                    <a:moveTo>
                      <a:pt x="7556" y="752204"/>
                    </a:moveTo>
                    <a:cubicBezTo>
                      <a:pt x="2928" y="752204"/>
                      <a:pt x="-807" y="748458"/>
                      <a:pt x="-807" y="743841"/>
                    </a:cubicBezTo>
                    <a:lnTo>
                      <a:pt x="-807" y="710389"/>
                    </a:lnTo>
                    <a:cubicBezTo>
                      <a:pt x="-807" y="705773"/>
                      <a:pt x="2928" y="702026"/>
                      <a:pt x="7556" y="702026"/>
                    </a:cubicBezTo>
                    <a:cubicBezTo>
                      <a:pt x="12184" y="702026"/>
                      <a:pt x="15919" y="705773"/>
                      <a:pt x="15919" y="710389"/>
                    </a:cubicBezTo>
                    <a:lnTo>
                      <a:pt x="15919" y="743841"/>
                    </a:lnTo>
                    <a:cubicBezTo>
                      <a:pt x="15919" y="748458"/>
                      <a:pt x="12184" y="752204"/>
                      <a:pt x="7556" y="752204"/>
                    </a:cubicBezTo>
                    <a:close/>
                    <a:moveTo>
                      <a:pt x="7556" y="651848"/>
                    </a:moveTo>
                    <a:cubicBezTo>
                      <a:pt x="2928" y="651848"/>
                      <a:pt x="-807" y="648101"/>
                      <a:pt x="-807" y="643485"/>
                    </a:cubicBezTo>
                    <a:lnTo>
                      <a:pt x="-807" y="610033"/>
                    </a:lnTo>
                    <a:cubicBezTo>
                      <a:pt x="-807" y="605417"/>
                      <a:pt x="2928" y="601670"/>
                      <a:pt x="7556" y="601670"/>
                    </a:cubicBezTo>
                    <a:cubicBezTo>
                      <a:pt x="12184" y="601670"/>
                      <a:pt x="15919" y="605417"/>
                      <a:pt x="15919" y="610033"/>
                    </a:cubicBezTo>
                    <a:lnTo>
                      <a:pt x="15919" y="643485"/>
                    </a:lnTo>
                    <a:cubicBezTo>
                      <a:pt x="15919" y="648101"/>
                      <a:pt x="12184" y="651848"/>
                      <a:pt x="7556" y="651848"/>
                    </a:cubicBezTo>
                    <a:close/>
                    <a:moveTo>
                      <a:pt x="7556" y="551492"/>
                    </a:moveTo>
                    <a:cubicBezTo>
                      <a:pt x="2928" y="551492"/>
                      <a:pt x="-807" y="547745"/>
                      <a:pt x="-807" y="543129"/>
                    </a:cubicBezTo>
                    <a:lnTo>
                      <a:pt x="-807" y="509677"/>
                    </a:lnTo>
                    <a:cubicBezTo>
                      <a:pt x="-807" y="505060"/>
                      <a:pt x="2928" y="501314"/>
                      <a:pt x="7556" y="501314"/>
                    </a:cubicBezTo>
                    <a:cubicBezTo>
                      <a:pt x="12184" y="501314"/>
                      <a:pt x="15919" y="505060"/>
                      <a:pt x="15919" y="509677"/>
                    </a:cubicBezTo>
                    <a:lnTo>
                      <a:pt x="15919" y="543129"/>
                    </a:lnTo>
                    <a:cubicBezTo>
                      <a:pt x="15919" y="547745"/>
                      <a:pt x="12184" y="551492"/>
                      <a:pt x="7556" y="551492"/>
                    </a:cubicBezTo>
                    <a:close/>
                    <a:moveTo>
                      <a:pt x="7556" y="451136"/>
                    </a:moveTo>
                    <a:cubicBezTo>
                      <a:pt x="2928" y="451136"/>
                      <a:pt x="-807" y="447389"/>
                      <a:pt x="-807" y="442773"/>
                    </a:cubicBezTo>
                    <a:lnTo>
                      <a:pt x="-807" y="409321"/>
                    </a:lnTo>
                    <a:cubicBezTo>
                      <a:pt x="-807" y="404704"/>
                      <a:pt x="2928" y="400958"/>
                      <a:pt x="7556" y="400958"/>
                    </a:cubicBezTo>
                    <a:cubicBezTo>
                      <a:pt x="12184" y="400958"/>
                      <a:pt x="15919" y="404704"/>
                      <a:pt x="15919" y="409321"/>
                    </a:cubicBezTo>
                    <a:lnTo>
                      <a:pt x="15919" y="442773"/>
                    </a:lnTo>
                    <a:cubicBezTo>
                      <a:pt x="15919" y="447389"/>
                      <a:pt x="12184" y="451136"/>
                      <a:pt x="7556" y="451136"/>
                    </a:cubicBezTo>
                    <a:close/>
                    <a:moveTo>
                      <a:pt x="7556" y="350780"/>
                    </a:moveTo>
                    <a:cubicBezTo>
                      <a:pt x="2928" y="350780"/>
                      <a:pt x="-807" y="347033"/>
                      <a:pt x="-807" y="342417"/>
                    </a:cubicBezTo>
                    <a:lnTo>
                      <a:pt x="-807" y="308965"/>
                    </a:lnTo>
                    <a:cubicBezTo>
                      <a:pt x="-807" y="304348"/>
                      <a:pt x="2928" y="300602"/>
                      <a:pt x="7556" y="300602"/>
                    </a:cubicBezTo>
                    <a:cubicBezTo>
                      <a:pt x="12184" y="300602"/>
                      <a:pt x="15919" y="304348"/>
                      <a:pt x="15919" y="308965"/>
                    </a:cubicBezTo>
                    <a:lnTo>
                      <a:pt x="15919" y="342417"/>
                    </a:lnTo>
                    <a:cubicBezTo>
                      <a:pt x="15919" y="347033"/>
                      <a:pt x="12184" y="350780"/>
                      <a:pt x="7556" y="350780"/>
                    </a:cubicBezTo>
                    <a:close/>
                    <a:moveTo>
                      <a:pt x="7556" y="250424"/>
                    </a:moveTo>
                    <a:cubicBezTo>
                      <a:pt x="2928" y="250424"/>
                      <a:pt x="-807" y="246677"/>
                      <a:pt x="-807" y="242060"/>
                    </a:cubicBezTo>
                    <a:lnTo>
                      <a:pt x="-807" y="208608"/>
                    </a:lnTo>
                    <a:cubicBezTo>
                      <a:pt x="-807" y="203992"/>
                      <a:pt x="2928" y="200245"/>
                      <a:pt x="7556" y="200245"/>
                    </a:cubicBezTo>
                    <a:cubicBezTo>
                      <a:pt x="12184" y="200245"/>
                      <a:pt x="15919" y="203992"/>
                      <a:pt x="15919" y="208608"/>
                    </a:cubicBezTo>
                    <a:lnTo>
                      <a:pt x="15919" y="242060"/>
                    </a:lnTo>
                    <a:cubicBezTo>
                      <a:pt x="15919" y="246677"/>
                      <a:pt x="12184" y="250424"/>
                      <a:pt x="7556" y="250424"/>
                    </a:cubicBezTo>
                    <a:close/>
                    <a:moveTo>
                      <a:pt x="7556" y="150067"/>
                    </a:moveTo>
                    <a:cubicBezTo>
                      <a:pt x="2928" y="150067"/>
                      <a:pt x="-807" y="146321"/>
                      <a:pt x="-807" y="141704"/>
                    </a:cubicBezTo>
                    <a:lnTo>
                      <a:pt x="-807" y="108252"/>
                    </a:lnTo>
                    <a:cubicBezTo>
                      <a:pt x="-807" y="103636"/>
                      <a:pt x="2928" y="99889"/>
                      <a:pt x="7556" y="99889"/>
                    </a:cubicBezTo>
                    <a:cubicBezTo>
                      <a:pt x="12184" y="99889"/>
                      <a:pt x="15919" y="103636"/>
                      <a:pt x="15919" y="108252"/>
                    </a:cubicBezTo>
                    <a:lnTo>
                      <a:pt x="15919" y="141704"/>
                    </a:lnTo>
                    <a:cubicBezTo>
                      <a:pt x="15919" y="146321"/>
                      <a:pt x="12184" y="150067"/>
                      <a:pt x="7556" y="150067"/>
                    </a:cubicBezTo>
                    <a:close/>
                    <a:moveTo>
                      <a:pt x="7556" y="49711"/>
                    </a:moveTo>
                    <a:cubicBezTo>
                      <a:pt x="2928" y="49711"/>
                      <a:pt x="-807" y="45965"/>
                      <a:pt x="-807" y="41348"/>
                    </a:cubicBezTo>
                    <a:lnTo>
                      <a:pt x="-807" y="7896"/>
                    </a:lnTo>
                    <a:cubicBezTo>
                      <a:pt x="-807" y="3280"/>
                      <a:pt x="2928" y="-467"/>
                      <a:pt x="7556" y="-467"/>
                    </a:cubicBezTo>
                    <a:cubicBezTo>
                      <a:pt x="12184" y="-467"/>
                      <a:pt x="15919" y="3280"/>
                      <a:pt x="15919" y="7896"/>
                    </a:cubicBezTo>
                    <a:lnTo>
                      <a:pt x="15919" y="41348"/>
                    </a:lnTo>
                    <a:cubicBezTo>
                      <a:pt x="15919" y="45965"/>
                      <a:pt x="12184" y="49711"/>
                      <a:pt x="7556" y="49711"/>
                    </a:cubicBezTo>
                    <a:close/>
                  </a:path>
                </a:pathLst>
              </a:custGeom>
              <a:solidFill>
                <a:srgbClr val="30373B"/>
              </a:solidFill>
              <a:ln w="5573" cap="flat">
                <a:noFill/>
                <a:prstDash val="solid"/>
                <a:miter/>
              </a:ln>
            </p:spPr>
            <p:txBody>
              <a:bodyPr rtlCol="0" anchor="ctr"/>
              <a:lstStyle/>
              <a:p>
                <a:endParaRPr lang="en-GB"/>
              </a:p>
            </p:txBody>
          </p:sp>
          <p:sp>
            <p:nvSpPr>
              <p:cNvPr id="200" name="Graphic 6">
                <a:extLst>
                  <a:ext uri="{FF2B5EF4-FFF2-40B4-BE49-F238E27FC236}">
                    <a16:creationId xmlns:a16="http://schemas.microsoft.com/office/drawing/2014/main" id="{F5EA4DBC-C62C-6F0B-42C6-326D8E961733}"/>
                  </a:ext>
                </a:extLst>
              </p:cNvPr>
              <p:cNvSpPr/>
              <p:nvPr/>
            </p:nvSpPr>
            <p:spPr>
              <a:xfrm>
                <a:off x="7553297" y="3241807"/>
                <a:ext cx="1224400" cy="194133"/>
              </a:xfrm>
              <a:custGeom>
                <a:avLst/>
                <a:gdLst>
                  <a:gd name="connsiteX0" fmla="*/ 1042730 w 1224400"/>
                  <a:gd name="connsiteY0" fmla="*/ 193667 h 194133"/>
                  <a:gd name="connsiteX1" fmla="*/ 948953 w 1224400"/>
                  <a:gd name="connsiteY1" fmla="*/ 100280 h 194133"/>
                  <a:gd name="connsiteX2" fmla="*/ 870174 w 1224400"/>
                  <a:gd name="connsiteY2" fmla="*/ 16259 h 194133"/>
                  <a:gd name="connsiteX3" fmla="*/ 791450 w 1224400"/>
                  <a:gd name="connsiteY3" fmla="*/ 100280 h 194133"/>
                  <a:gd name="connsiteX4" fmla="*/ 697616 w 1224400"/>
                  <a:gd name="connsiteY4" fmla="*/ 193667 h 194133"/>
                  <a:gd name="connsiteX5" fmla="*/ 603839 w 1224400"/>
                  <a:gd name="connsiteY5" fmla="*/ 100280 h 194133"/>
                  <a:gd name="connsiteX6" fmla="*/ 525116 w 1224400"/>
                  <a:gd name="connsiteY6" fmla="*/ 16259 h 194133"/>
                  <a:gd name="connsiteX7" fmla="*/ 446392 w 1224400"/>
                  <a:gd name="connsiteY7" fmla="*/ 100280 h 194133"/>
                  <a:gd name="connsiteX8" fmla="*/ 352558 w 1224400"/>
                  <a:gd name="connsiteY8" fmla="*/ 193667 h 194133"/>
                  <a:gd name="connsiteX9" fmla="*/ 258782 w 1224400"/>
                  <a:gd name="connsiteY9" fmla="*/ 100280 h 194133"/>
                  <a:gd name="connsiteX10" fmla="*/ 180058 w 1224400"/>
                  <a:gd name="connsiteY10" fmla="*/ 16259 h 194133"/>
                  <a:gd name="connsiteX11" fmla="*/ 101334 w 1224400"/>
                  <a:gd name="connsiteY11" fmla="*/ 100280 h 194133"/>
                  <a:gd name="connsiteX12" fmla="*/ 7556 w 1224400"/>
                  <a:gd name="connsiteY12" fmla="*/ 193667 h 194133"/>
                  <a:gd name="connsiteX13" fmla="*/ -807 w 1224400"/>
                  <a:gd name="connsiteY13" fmla="*/ 185304 h 194133"/>
                  <a:gd name="connsiteX14" fmla="*/ 7556 w 1224400"/>
                  <a:gd name="connsiteY14" fmla="*/ 176941 h 194133"/>
                  <a:gd name="connsiteX15" fmla="*/ 86280 w 1224400"/>
                  <a:gd name="connsiteY15" fmla="*/ 92976 h 194133"/>
                  <a:gd name="connsiteX16" fmla="*/ 180058 w 1224400"/>
                  <a:gd name="connsiteY16" fmla="*/ -467 h 194133"/>
                  <a:gd name="connsiteX17" fmla="*/ 273835 w 1224400"/>
                  <a:gd name="connsiteY17" fmla="*/ 92976 h 194133"/>
                  <a:gd name="connsiteX18" fmla="*/ 352558 w 1224400"/>
                  <a:gd name="connsiteY18" fmla="*/ 176941 h 194133"/>
                  <a:gd name="connsiteX19" fmla="*/ 431338 w 1224400"/>
                  <a:gd name="connsiteY19" fmla="*/ 92976 h 194133"/>
                  <a:gd name="connsiteX20" fmla="*/ 525116 w 1224400"/>
                  <a:gd name="connsiteY20" fmla="*/ -467 h 194133"/>
                  <a:gd name="connsiteX21" fmla="*/ 618893 w 1224400"/>
                  <a:gd name="connsiteY21" fmla="*/ 92976 h 194133"/>
                  <a:gd name="connsiteX22" fmla="*/ 697616 w 1224400"/>
                  <a:gd name="connsiteY22" fmla="*/ 176941 h 194133"/>
                  <a:gd name="connsiteX23" fmla="*/ 776396 w 1224400"/>
                  <a:gd name="connsiteY23" fmla="*/ 92976 h 194133"/>
                  <a:gd name="connsiteX24" fmla="*/ 870174 w 1224400"/>
                  <a:gd name="connsiteY24" fmla="*/ -467 h 194133"/>
                  <a:gd name="connsiteX25" fmla="*/ 964006 w 1224400"/>
                  <a:gd name="connsiteY25" fmla="*/ 92976 h 194133"/>
                  <a:gd name="connsiteX26" fmla="*/ 1042730 w 1224400"/>
                  <a:gd name="connsiteY26" fmla="*/ 176941 h 194133"/>
                  <a:gd name="connsiteX27" fmla="*/ 1121454 w 1224400"/>
                  <a:gd name="connsiteY27" fmla="*/ 92976 h 194133"/>
                  <a:gd name="connsiteX28" fmla="*/ 1215231 w 1224400"/>
                  <a:gd name="connsiteY28" fmla="*/ -467 h 194133"/>
                  <a:gd name="connsiteX29" fmla="*/ 1223594 w 1224400"/>
                  <a:gd name="connsiteY29" fmla="*/ 7896 h 194133"/>
                  <a:gd name="connsiteX30" fmla="*/ 1215231 w 1224400"/>
                  <a:gd name="connsiteY30" fmla="*/ 16259 h 194133"/>
                  <a:gd name="connsiteX31" fmla="*/ 1136507 w 1224400"/>
                  <a:gd name="connsiteY31" fmla="*/ 100280 h 194133"/>
                  <a:gd name="connsiteX32" fmla="*/ 1042730 w 1224400"/>
                  <a:gd name="connsiteY32" fmla="*/ 193667 h 19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24400" h="194133">
                    <a:moveTo>
                      <a:pt x="1042730" y="193667"/>
                    </a:moveTo>
                    <a:cubicBezTo>
                      <a:pt x="994392" y="193667"/>
                      <a:pt x="971255" y="146165"/>
                      <a:pt x="948953" y="100280"/>
                    </a:cubicBezTo>
                    <a:cubicBezTo>
                      <a:pt x="927934" y="57071"/>
                      <a:pt x="908085" y="16259"/>
                      <a:pt x="870174" y="16259"/>
                    </a:cubicBezTo>
                    <a:cubicBezTo>
                      <a:pt x="832261" y="16259"/>
                      <a:pt x="812412" y="57071"/>
                      <a:pt x="791450" y="100280"/>
                    </a:cubicBezTo>
                    <a:cubicBezTo>
                      <a:pt x="769148" y="146165"/>
                      <a:pt x="746011" y="193667"/>
                      <a:pt x="697616" y="193667"/>
                    </a:cubicBezTo>
                    <a:cubicBezTo>
                      <a:pt x="649223" y="193667"/>
                      <a:pt x="626197" y="146165"/>
                      <a:pt x="603839" y="100280"/>
                    </a:cubicBezTo>
                    <a:cubicBezTo>
                      <a:pt x="582876" y="57071"/>
                      <a:pt x="563028" y="16259"/>
                      <a:pt x="525116" y="16259"/>
                    </a:cubicBezTo>
                    <a:cubicBezTo>
                      <a:pt x="487203" y="16259"/>
                      <a:pt x="467355" y="57071"/>
                      <a:pt x="446392" y="100280"/>
                    </a:cubicBezTo>
                    <a:cubicBezTo>
                      <a:pt x="424091" y="146165"/>
                      <a:pt x="400953" y="193667"/>
                      <a:pt x="352558" y="193667"/>
                    </a:cubicBezTo>
                    <a:cubicBezTo>
                      <a:pt x="304165" y="193667"/>
                      <a:pt x="281139" y="146165"/>
                      <a:pt x="258782" y="100280"/>
                    </a:cubicBezTo>
                    <a:cubicBezTo>
                      <a:pt x="237818" y="57071"/>
                      <a:pt x="217970" y="16259"/>
                      <a:pt x="180058" y="16259"/>
                    </a:cubicBezTo>
                    <a:cubicBezTo>
                      <a:pt x="142145" y="16259"/>
                      <a:pt x="122297" y="57071"/>
                      <a:pt x="101334" y="100280"/>
                    </a:cubicBezTo>
                    <a:cubicBezTo>
                      <a:pt x="79033" y="146165"/>
                      <a:pt x="55895" y="193667"/>
                      <a:pt x="7556" y="193667"/>
                    </a:cubicBezTo>
                    <a:cubicBezTo>
                      <a:pt x="2929" y="193667"/>
                      <a:pt x="-807" y="189920"/>
                      <a:pt x="-807" y="185304"/>
                    </a:cubicBezTo>
                    <a:cubicBezTo>
                      <a:pt x="-807" y="180687"/>
                      <a:pt x="2929" y="176941"/>
                      <a:pt x="7556" y="176941"/>
                    </a:cubicBezTo>
                    <a:cubicBezTo>
                      <a:pt x="45413" y="176941"/>
                      <a:pt x="65262" y="136129"/>
                      <a:pt x="86280" y="92976"/>
                    </a:cubicBezTo>
                    <a:cubicBezTo>
                      <a:pt x="108582" y="47035"/>
                      <a:pt x="131719" y="-467"/>
                      <a:pt x="180058" y="-467"/>
                    </a:cubicBezTo>
                    <a:cubicBezTo>
                      <a:pt x="228396" y="-467"/>
                      <a:pt x="251533" y="47035"/>
                      <a:pt x="273835" y="92976"/>
                    </a:cubicBezTo>
                    <a:cubicBezTo>
                      <a:pt x="294854" y="136129"/>
                      <a:pt x="314702" y="176941"/>
                      <a:pt x="352558" y="176941"/>
                    </a:cubicBezTo>
                    <a:cubicBezTo>
                      <a:pt x="390415" y="176941"/>
                      <a:pt x="410319" y="136129"/>
                      <a:pt x="431338" y="92976"/>
                    </a:cubicBezTo>
                    <a:cubicBezTo>
                      <a:pt x="453639" y="47035"/>
                      <a:pt x="476721" y="-467"/>
                      <a:pt x="525116" y="-467"/>
                    </a:cubicBezTo>
                    <a:cubicBezTo>
                      <a:pt x="573509" y="-467"/>
                      <a:pt x="596591" y="47035"/>
                      <a:pt x="618893" y="92976"/>
                    </a:cubicBezTo>
                    <a:cubicBezTo>
                      <a:pt x="639912" y="136129"/>
                      <a:pt x="659760" y="176941"/>
                      <a:pt x="697616" y="176941"/>
                    </a:cubicBezTo>
                    <a:cubicBezTo>
                      <a:pt x="735473" y="176941"/>
                      <a:pt x="755377" y="136129"/>
                      <a:pt x="776396" y="92976"/>
                    </a:cubicBezTo>
                    <a:cubicBezTo>
                      <a:pt x="798697" y="47035"/>
                      <a:pt x="821835" y="-467"/>
                      <a:pt x="870174" y="-467"/>
                    </a:cubicBezTo>
                    <a:cubicBezTo>
                      <a:pt x="918511" y="-467"/>
                      <a:pt x="941649" y="47035"/>
                      <a:pt x="964006" y="92976"/>
                    </a:cubicBezTo>
                    <a:cubicBezTo>
                      <a:pt x="984970" y="136129"/>
                      <a:pt x="1004817" y="176941"/>
                      <a:pt x="1042730" y="176941"/>
                    </a:cubicBezTo>
                    <a:cubicBezTo>
                      <a:pt x="1080643" y="176941"/>
                      <a:pt x="1100491" y="136129"/>
                      <a:pt x="1121454" y="92976"/>
                    </a:cubicBezTo>
                    <a:cubicBezTo>
                      <a:pt x="1143755" y="47035"/>
                      <a:pt x="1166893" y="-467"/>
                      <a:pt x="1215231" y="-467"/>
                    </a:cubicBezTo>
                    <a:cubicBezTo>
                      <a:pt x="1219859" y="-467"/>
                      <a:pt x="1223594" y="3280"/>
                      <a:pt x="1223594" y="7896"/>
                    </a:cubicBezTo>
                    <a:cubicBezTo>
                      <a:pt x="1223594" y="12513"/>
                      <a:pt x="1219859" y="16259"/>
                      <a:pt x="1215231" y="16259"/>
                    </a:cubicBezTo>
                    <a:cubicBezTo>
                      <a:pt x="1177375" y="16259"/>
                      <a:pt x="1157526" y="57071"/>
                      <a:pt x="1136507" y="100280"/>
                    </a:cubicBezTo>
                    <a:cubicBezTo>
                      <a:pt x="1113983" y="146165"/>
                      <a:pt x="1090901" y="193667"/>
                      <a:pt x="1042730" y="193667"/>
                    </a:cubicBezTo>
                    <a:close/>
                  </a:path>
                </a:pathLst>
              </a:custGeom>
              <a:solidFill>
                <a:srgbClr val="30373B"/>
              </a:solidFill>
              <a:ln w="5573" cap="flat">
                <a:noFill/>
                <a:prstDash val="solid"/>
                <a:miter/>
              </a:ln>
            </p:spPr>
            <p:txBody>
              <a:bodyPr rtlCol="0" anchor="ctr"/>
              <a:lstStyle/>
              <a:p>
                <a:endParaRPr lang="en-GB"/>
              </a:p>
            </p:txBody>
          </p:sp>
          <p:sp>
            <p:nvSpPr>
              <p:cNvPr id="201" name="Graphic 6">
                <a:extLst>
                  <a:ext uri="{FF2B5EF4-FFF2-40B4-BE49-F238E27FC236}">
                    <a16:creationId xmlns:a16="http://schemas.microsoft.com/office/drawing/2014/main" id="{7FCA2E26-E94E-3C1F-DF29-7A23A869D18B}"/>
                  </a:ext>
                </a:extLst>
              </p:cNvPr>
              <p:cNvSpPr/>
              <p:nvPr/>
            </p:nvSpPr>
            <p:spPr>
              <a:xfrm>
                <a:off x="5718453" y="6184359"/>
                <a:ext cx="299786" cy="16726"/>
              </a:xfrm>
              <a:custGeom>
                <a:avLst/>
                <a:gdLst>
                  <a:gd name="connsiteX0" fmla="*/ 290617 w 299786"/>
                  <a:gd name="connsiteY0" fmla="*/ 16259 h 16726"/>
                  <a:gd name="connsiteX1" fmla="*/ 7556 w 299786"/>
                  <a:gd name="connsiteY1" fmla="*/ 16259 h 16726"/>
                  <a:gd name="connsiteX2" fmla="*/ -807 w 299786"/>
                  <a:gd name="connsiteY2" fmla="*/ 7896 h 16726"/>
                  <a:gd name="connsiteX3" fmla="*/ 7556 w 299786"/>
                  <a:gd name="connsiteY3" fmla="*/ -467 h 16726"/>
                  <a:gd name="connsiteX4" fmla="*/ 290617 w 299786"/>
                  <a:gd name="connsiteY4" fmla="*/ -467 h 16726"/>
                  <a:gd name="connsiteX5" fmla="*/ 298980 w 299786"/>
                  <a:gd name="connsiteY5" fmla="*/ 7896 h 16726"/>
                  <a:gd name="connsiteX6" fmla="*/ 290617 w 299786"/>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786" h="16726">
                    <a:moveTo>
                      <a:pt x="290617" y="16259"/>
                    </a:moveTo>
                    <a:lnTo>
                      <a:pt x="7556" y="16259"/>
                    </a:lnTo>
                    <a:cubicBezTo>
                      <a:pt x="2940" y="16259"/>
                      <a:pt x="-807" y="12524"/>
                      <a:pt x="-807" y="7896"/>
                    </a:cubicBezTo>
                    <a:cubicBezTo>
                      <a:pt x="-807" y="3269"/>
                      <a:pt x="2940" y="-467"/>
                      <a:pt x="7556" y="-467"/>
                    </a:cubicBezTo>
                    <a:lnTo>
                      <a:pt x="290617" y="-467"/>
                    </a:lnTo>
                    <a:cubicBezTo>
                      <a:pt x="295233" y="-467"/>
                      <a:pt x="298980" y="3269"/>
                      <a:pt x="298980" y="7896"/>
                    </a:cubicBezTo>
                    <a:cubicBezTo>
                      <a:pt x="298980" y="12524"/>
                      <a:pt x="295233" y="16259"/>
                      <a:pt x="290617" y="16259"/>
                    </a:cubicBezTo>
                    <a:close/>
                  </a:path>
                </a:pathLst>
              </a:custGeom>
              <a:solidFill>
                <a:srgbClr val="30373B"/>
              </a:solidFill>
              <a:ln w="5573" cap="flat">
                <a:noFill/>
                <a:prstDash val="solid"/>
                <a:miter/>
              </a:ln>
            </p:spPr>
            <p:txBody>
              <a:bodyPr rtlCol="0" anchor="ctr"/>
              <a:lstStyle/>
              <a:p>
                <a:endParaRPr lang="en-GB"/>
              </a:p>
            </p:txBody>
          </p:sp>
          <p:sp>
            <p:nvSpPr>
              <p:cNvPr id="202" name="Graphic 6">
                <a:extLst>
                  <a:ext uri="{FF2B5EF4-FFF2-40B4-BE49-F238E27FC236}">
                    <a16:creationId xmlns:a16="http://schemas.microsoft.com/office/drawing/2014/main" id="{660D9BBA-E74E-0AA6-0A84-F23D1B29E879}"/>
                  </a:ext>
                </a:extLst>
              </p:cNvPr>
              <p:cNvSpPr/>
              <p:nvPr/>
            </p:nvSpPr>
            <p:spPr>
              <a:xfrm>
                <a:off x="5828064" y="6109316"/>
                <a:ext cx="190174" cy="16726"/>
              </a:xfrm>
              <a:custGeom>
                <a:avLst/>
                <a:gdLst>
                  <a:gd name="connsiteX0" fmla="*/ 181005 w 190174"/>
                  <a:gd name="connsiteY0" fmla="*/ 16259 h 16726"/>
                  <a:gd name="connsiteX1" fmla="*/ 7556 w 190174"/>
                  <a:gd name="connsiteY1" fmla="*/ 16259 h 16726"/>
                  <a:gd name="connsiteX2" fmla="*/ -807 w 190174"/>
                  <a:gd name="connsiteY2" fmla="*/ 7896 h 16726"/>
                  <a:gd name="connsiteX3" fmla="*/ 7556 w 190174"/>
                  <a:gd name="connsiteY3" fmla="*/ -467 h 16726"/>
                  <a:gd name="connsiteX4" fmla="*/ 181005 w 190174"/>
                  <a:gd name="connsiteY4" fmla="*/ -467 h 16726"/>
                  <a:gd name="connsiteX5" fmla="*/ 189368 w 190174"/>
                  <a:gd name="connsiteY5" fmla="*/ 7896 h 16726"/>
                  <a:gd name="connsiteX6" fmla="*/ 181005 w 190174"/>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74" h="16726">
                    <a:moveTo>
                      <a:pt x="181005" y="16259"/>
                    </a:moveTo>
                    <a:lnTo>
                      <a:pt x="7556" y="16259"/>
                    </a:lnTo>
                    <a:cubicBezTo>
                      <a:pt x="2940" y="16259"/>
                      <a:pt x="-807" y="12523"/>
                      <a:pt x="-807" y="7896"/>
                    </a:cubicBezTo>
                    <a:cubicBezTo>
                      <a:pt x="-807" y="3269"/>
                      <a:pt x="2940" y="-467"/>
                      <a:pt x="7556" y="-467"/>
                    </a:cubicBezTo>
                    <a:lnTo>
                      <a:pt x="181005" y="-467"/>
                    </a:lnTo>
                    <a:cubicBezTo>
                      <a:pt x="185622" y="-467"/>
                      <a:pt x="189368" y="3269"/>
                      <a:pt x="189368" y="7896"/>
                    </a:cubicBezTo>
                    <a:cubicBezTo>
                      <a:pt x="189368" y="12523"/>
                      <a:pt x="185622" y="16259"/>
                      <a:pt x="181005" y="16259"/>
                    </a:cubicBezTo>
                    <a:close/>
                  </a:path>
                </a:pathLst>
              </a:custGeom>
              <a:solidFill>
                <a:srgbClr val="30373B"/>
              </a:solidFill>
              <a:ln w="5573" cap="flat">
                <a:noFill/>
                <a:prstDash val="solid"/>
                <a:miter/>
              </a:ln>
            </p:spPr>
            <p:txBody>
              <a:bodyPr rtlCol="0" anchor="ctr"/>
              <a:lstStyle/>
              <a:p>
                <a:endParaRPr lang="en-GB"/>
              </a:p>
            </p:txBody>
          </p:sp>
        </p:grpSp>
      </p:grpSp>
      <p:sp>
        <p:nvSpPr>
          <p:cNvPr id="2" name="TextBox 1">
            <a:extLst>
              <a:ext uri="{FF2B5EF4-FFF2-40B4-BE49-F238E27FC236}">
                <a16:creationId xmlns:a16="http://schemas.microsoft.com/office/drawing/2014/main" id="{F5B6EA93-4699-4162-9110-28ED273DC6E2}"/>
              </a:ext>
            </a:extLst>
          </p:cNvPr>
          <p:cNvSpPr txBox="1"/>
          <p:nvPr/>
        </p:nvSpPr>
        <p:spPr>
          <a:xfrm>
            <a:off x="1132172" y="1521526"/>
            <a:ext cx="6419070" cy="6001643"/>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da-DK" dirty="0">
                <a:solidFill>
                  <a:schemeClr val="bg1"/>
                </a:solidFill>
              </a:rPr>
              <a:t>Samarbejde med Leverandøren gennem:  </a:t>
            </a:r>
          </a:p>
          <a:p>
            <a:pPr marL="742950" lvl="1" indent="-285750">
              <a:buFont typeface="Arial" panose="020B0604020202020204" pitchFamily="34" charset="0"/>
              <a:buChar char="•"/>
            </a:pPr>
            <a:r>
              <a:rPr lang="da-DK" dirty="0">
                <a:solidFill>
                  <a:schemeClr val="bg1"/>
                </a:solidFill>
              </a:rPr>
              <a:t> Testteam og Testmanager</a:t>
            </a:r>
          </a:p>
          <a:p>
            <a:pPr marL="342900" indent="-342900">
              <a:buFont typeface="Arial" panose="020B0604020202020204" pitchFamily="34" charset="0"/>
              <a:buChar char="•"/>
            </a:pPr>
            <a:r>
              <a:rPr lang="da-DK" dirty="0">
                <a:solidFill>
                  <a:schemeClr val="bg1"/>
                </a:solidFill>
                <a:cs typeface="Arial"/>
              </a:rPr>
              <a:t>Samarbejde med </a:t>
            </a:r>
            <a:r>
              <a:rPr lang="da-DK" dirty="0" err="1">
                <a:solidFill>
                  <a:schemeClr val="bg1"/>
                </a:solidFill>
                <a:cs typeface="Arial"/>
              </a:rPr>
              <a:t>NytSiS</a:t>
            </a:r>
            <a:r>
              <a:rPr lang="da-DK" dirty="0">
                <a:solidFill>
                  <a:schemeClr val="bg1"/>
                </a:solidFill>
                <a:cs typeface="Arial"/>
              </a:rPr>
              <a:t> Programmet gennem:</a:t>
            </a:r>
            <a:br>
              <a:rPr lang="da-DK" dirty="0">
                <a:solidFill>
                  <a:schemeClr val="bg1"/>
                </a:solidFill>
                <a:cs typeface="Arial"/>
              </a:rPr>
            </a:br>
            <a:r>
              <a:rPr lang="da-DK" dirty="0">
                <a:solidFill>
                  <a:schemeClr val="bg1"/>
                </a:solidFill>
                <a:cs typeface="Arial"/>
              </a:rPr>
              <a:t>Testteam, Ux team, Sporleads, </a:t>
            </a:r>
            <a:r>
              <a:rPr lang="da-DK" dirty="0" err="1">
                <a:solidFill>
                  <a:schemeClr val="bg1"/>
                </a:solidFill>
                <a:cs typeface="Arial"/>
              </a:rPr>
              <a:t>ProductOwner</a:t>
            </a:r>
            <a:r>
              <a:rPr lang="da-DK" dirty="0">
                <a:solidFill>
                  <a:schemeClr val="bg1"/>
                </a:solidFill>
                <a:cs typeface="Arial"/>
              </a:rPr>
              <a:t>, </a:t>
            </a:r>
            <a:r>
              <a:rPr lang="da-DK" dirty="0" err="1">
                <a:solidFill>
                  <a:schemeClr val="bg1"/>
                </a:solidFill>
                <a:cs typeface="Arial"/>
              </a:rPr>
              <a:t>SubjectMatterExperts</a:t>
            </a:r>
            <a:r>
              <a:rPr lang="da-DK" dirty="0">
                <a:solidFill>
                  <a:schemeClr val="bg1"/>
                </a:solidFill>
                <a:cs typeface="Arial"/>
              </a:rPr>
              <a:t> (SME) og </a:t>
            </a:r>
            <a:r>
              <a:rPr lang="da-DK" dirty="0" err="1">
                <a:solidFill>
                  <a:schemeClr val="bg1"/>
                </a:solidFill>
                <a:cs typeface="Arial"/>
              </a:rPr>
              <a:t>ProcesGruppeRepræsentanter</a:t>
            </a:r>
            <a:r>
              <a:rPr lang="da-DK" dirty="0">
                <a:solidFill>
                  <a:schemeClr val="bg1"/>
                </a:solidFill>
                <a:cs typeface="Arial"/>
              </a:rPr>
              <a:t> (PGR)</a:t>
            </a:r>
          </a:p>
          <a:p>
            <a:pPr marL="342900" indent="-342900">
              <a:buFont typeface="Arial" panose="020B0604020202020204" pitchFamily="34" charset="0"/>
              <a:buChar char="•"/>
            </a:pPr>
            <a:r>
              <a:rPr lang="da-DK" dirty="0">
                <a:solidFill>
                  <a:schemeClr val="bg1"/>
                </a:solidFill>
                <a:cs typeface="Arial"/>
              </a:rPr>
              <a:t>Samarbejde med Universiteterne gennem</a:t>
            </a:r>
          </a:p>
          <a:p>
            <a:pPr marL="800100" lvl="1" indent="-342900">
              <a:buFont typeface="Arial" panose="020B0604020202020204" pitchFamily="34" charset="0"/>
              <a:buChar char="•"/>
            </a:pPr>
            <a:r>
              <a:rPr lang="da-DK" dirty="0">
                <a:solidFill>
                  <a:schemeClr val="bg1"/>
                </a:solidFill>
                <a:cs typeface="Arial"/>
              </a:rPr>
              <a:t>Referencegrupper, Procesejere og Programledere </a:t>
            </a:r>
          </a:p>
          <a:p>
            <a:br>
              <a:rPr lang="da-DK" dirty="0">
                <a:solidFill>
                  <a:schemeClr val="bg1"/>
                </a:solidFill>
              </a:rPr>
            </a:br>
            <a:r>
              <a:rPr lang="da-DK" sz="2000" dirty="0">
                <a:solidFill>
                  <a:schemeClr val="bg1"/>
                </a:solidFill>
              </a:rPr>
              <a:t>Forpligtelser og mandat </a:t>
            </a:r>
          </a:p>
          <a:p>
            <a:r>
              <a:rPr lang="da-DK" sz="1600" dirty="0">
                <a:solidFill>
                  <a:schemeClr val="bg1"/>
                </a:solidFill>
              </a:rPr>
              <a:t>Testsporet skal sikre at program og universiteter kender kvalitet en af produktet tidligst muligt  i forløbet</a:t>
            </a:r>
          </a:p>
          <a:p>
            <a:pPr marL="285750" indent="-285750">
              <a:buFont typeface="Arial" panose="020B0604020202020204" pitchFamily="34" charset="0"/>
              <a:buChar char="•"/>
            </a:pPr>
            <a:r>
              <a:rPr lang="da-DK" sz="1400" dirty="0">
                <a:solidFill>
                  <a:schemeClr val="bg1"/>
                </a:solidFill>
              </a:rPr>
              <a:t>Rådgivning og sparring, rammesættende </a:t>
            </a:r>
            <a:r>
              <a:rPr lang="da-DK" sz="1400" dirty="0" err="1">
                <a:solidFill>
                  <a:schemeClr val="bg1"/>
                </a:solidFill>
              </a:rPr>
              <a:t>ift</a:t>
            </a:r>
            <a:r>
              <a:rPr lang="da-DK" sz="1400" dirty="0">
                <a:solidFill>
                  <a:schemeClr val="bg1"/>
                </a:solidFill>
              </a:rPr>
              <a:t> til leverandør</a:t>
            </a:r>
          </a:p>
          <a:p>
            <a:pPr marL="285750" indent="-285750">
              <a:buFont typeface="Arial" panose="020B0604020202020204" pitchFamily="34" charset="0"/>
              <a:buChar char="•"/>
            </a:pPr>
            <a:r>
              <a:rPr lang="da-DK" sz="1400" dirty="0">
                <a:solidFill>
                  <a:schemeClr val="bg1"/>
                </a:solidFill>
              </a:rPr>
              <a:t>Er udførende og delvis ansvarlig </a:t>
            </a:r>
            <a:r>
              <a:rPr lang="da-DK" sz="1400" dirty="0" err="1">
                <a:solidFill>
                  <a:schemeClr val="bg1"/>
                </a:solidFill>
              </a:rPr>
              <a:t>ift</a:t>
            </a:r>
            <a:r>
              <a:rPr lang="da-DK" sz="1400" dirty="0">
                <a:solidFill>
                  <a:schemeClr val="bg1"/>
                </a:solidFill>
              </a:rPr>
              <a:t> planlægning, eksekvering og afrapportering af testaktiviteter herunder tilpasning af kernedokumenter</a:t>
            </a:r>
            <a:endParaRPr lang="da-DK" sz="1400" i="1" dirty="0">
              <a:solidFill>
                <a:schemeClr val="bg1"/>
              </a:solidFill>
            </a:endParaRPr>
          </a:p>
          <a:p>
            <a:pPr marL="285750" indent="-285750">
              <a:buFont typeface="Arial" panose="020B0604020202020204" pitchFamily="34" charset="0"/>
              <a:buChar char="•"/>
            </a:pPr>
            <a:r>
              <a:rPr lang="da-DK" sz="1400" dirty="0">
                <a:solidFill>
                  <a:schemeClr val="bg1"/>
                </a:solidFill>
              </a:rPr>
              <a:t>Er kontrollerende </a:t>
            </a:r>
            <a:r>
              <a:rPr lang="da-DK" sz="1400" dirty="0" err="1">
                <a:solidFill>
                  <a:schemeClr val="bg1"/>
                </a:solidFill>
              </a:rPr>
              <a:t>ift</a:t>
            </a:r>
            <a:r>
              <a:rPr lang="da-DK" sz="1400" dirty="0">
                <a:solidFill>
                  <a:schemeClr val="bg1"/>
                </a:solidFill>
              </a:rPr>
              <a:t> scope, tidsplan, risici, fremdrift  </a:t>
            </a:r>
            <a:r>
              <a:rPr lang="da-DK" sz="1400" dirty="0" err="1">
                <a:solidFill>
                  <a:schemeClr val="bg1"/>
                </a:solidFill>
              </a:rPr>
              <a:t>o.lign</a:t>
            </a:r>
            <a:r>
              <a:rPr lang="da-DK" sz="1400" dirty="0">
                <a:solidFill>
                  <a:schemeClr val="bg1"/>
                </a:solidFill>
              </a:rPr>
              <a:t>.</a:t>
            </a:r>
          </a:p>
          <a:p>
            <a:pPr marL="285750" indent="-285750">
              <a:buFont typeface="Arial" panose="020B0604020202020204" pitchFamily="34" charset="0"/>
              <a:buChar char="•"/>
            </a:pPr>
            <a:r>
              <a:rPr lang="da-DK" sz="1400" dirty="0">
                <a:solidFill>
                  <a:schemeClr val="bg1"/>
                </a:solidFill>
              </a:rPr>
              <a:t>Koordinering /videndeling imellem universiteterne</a:t>
            </a:r>
          </a:p>
          <a:p>
            <a:pPr marL="285750" indent="-285750">
              <a:buFont typeface="Arial" panose="020B0604020202020204" pitchFamily="34" charset="0"/>
              <a:buChar char="•"/>
            </a:pPr>
            <a:r>
              <a:rPr lang="da-DK" sz="1400" dirty="0">
                <a:solidFill>
                  <a:schemeClr val="bg1"/>
                </a:solidFill>
              </a:rPr>
              <a:t>Central fejlhåndtering/ ændringshåndtering (CAB, som sparrer med DAB)</a:t>
            </a:r>
          </a:p>
          <a:p>
            <a:pPr marL="628650" lvl="1" indent="-171450">
              <a:buFont typeface="Arial" panose="020B0604020202020204" pitchFamily="34" charset="0"/>
              <a:buChar char="•"/>
            </a:pPr>
            <a:endParaRPr lang="da-DK" sz="1400" dirty="0">
              <a:solidFill>
                <a:schemeClr val="bg1"/>
              </a:solidFill>
            </a:endParaRPr>
          </a:p>
          <a:p>
            <a:pPr marL="742950" lvl="1" indent="-285750">
              <a:buFont typeface="Arial" panose="020B0604020202020204" pitchFamily="34" charset="0"/>
              <a:buChar char="•"/>
            </a:pPr>
            <a:endParaRPr lang="da-DK" sz="1400" dirty="0">
              <a:solidFill>
                <a:schemeClr val="bg1"/>
              </a:solidFill>
            </a:endParaRPr>
          </a:p>
          <a:p>
            <a:endParaRPr lang="da-DK" sz="1400" dirty="0">
              <a:solidFill>
                <a:schemeClr val="bg1"/>
              </a:solidFill>
            </a:endParaRPr>
          </a:p>
          <a:p>
            <a:endParaRPr lang="da-DK" sz="1400" dirty="0">
              <a:solidFill>
                <a:schemeClr val="bg1"/>
              </a:solidFill>
            </a:endParaRPr>
          </a:p>
          <a:p>
            <a:br>
              <a:rPr lang="da-DK" sz="1400" dirty="0">
                <a:solidFill>
                  <a:schemeClr val="bg1"/>
                </a:solidFill>
              </a:rPr>
            </a:br>
            <a:endParaRPr lang="da-DK" dirty="0">
              <a:solidFill>
                <a:schemeClr val="bg1"/>
              </a:solidFill>
            </a:endParaRPr>
          </a:p>
        </p:txBody>
      </p:sp>
    </p:spTree>
    <p:extLst>
      <p:ext uri="{BB962C8B-B14F-4D97-AF65-F5344CB8AC3E}">
        <p14:creationId xmlns:p14="http://schemas.microsoft.com/office/powerpoint/2010/main" val="11752797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FD16CE2B-389C-004B-349A-C26295F05869}"/>
              </a:ext>
            </a:extLst>
          </p:cNvPr>
          <p:cNvSpPr>
            <a:spLocks noGrp="1"/>
          </p:cNvSpPr>
          <p:nvPr>
            <p:ph type="sldNum" sz="quarter" idx="4"/>
          </p:nvPr>
        </p:nvSpPr>
        <p:spPr/>
        <p:txBody>
          <a:bodyPr/>
          <a:lstStyle/>
          <a:p>
            <a:fld id="{39DF810D-F77C-4BB2-BE6A-BDC67BB44902}" type="slidenum">
              <a:rPr lang="da-DK" smtClean="0"/>
              <a:pPr/>
              <a:t>4</a:t>
            </a:fld>
            <a:endParaRPr lang="da-DK"/>
          </a:p>
        </p:txBody>
      </p:sp>
      <p:sp>
        <p:nvSpPr>
          <p:cNvPr id="7" name="Rektangel 6">
            <a:extLst>
              <a:ext uri="{FF2B5EF4-FFF2-40B4-BE49-F238E27FC236}">
                <a16:creationId xmlns:a16="http://schemas.microsoft.com/office/drawing/2014/main" id="{297F5A6C-1D14-4603-0C04-6D01E00C6646}"/>
              </a:ext>
            </a:extLst>
          </p:cNvPr>
          <p:cNvSpPr/>
          <p:nvPr/>
        </p:nvSpPr>
        <p:spPr>
          <a:xfrm>
            <a:off x="-9144" y="0"/>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a-DK" dirty="0">
              <a:solidFill>
                <a:schemeClr val="bg1"/>
              </a:solidFill>
              <a:cs typeface="Arial"/>
            </a:endParaRPr>
          </a:p>
        </p:txBody>
      </p:sp>
      <p:sp>
        <p:nvSpPr>
          <p:cNvPr id="9" name="Title 5">
            <a:extLst>
              <a:ext uri="{FF2B5EF4-FFF2-40B4-BE49-F238E27FC236}">
                <a16:creationId xmlns:a16="http://schemas.microsoft.com/office/drawing/2014/main" id="{89ADDDCC-48D0-A25D-DEFB-F331C056B171}"/>
              </a:ext>
            </a:extLst>
          </p:cNvPr>
          <p:cNvSpPr txBox="1">
            <a:spLocks/>
          </p:cNvSpPr>
          <p:nvPr/>
        </p:nvSpPr>
        <p:spPr>
          <a:xfrm>
            <a:off x="1110780" y="596961"/>
            <a:ext cx="10331071" cy="627864"/>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4800" dirty="0">
                <a:solidFill>
                  <a:schemeClr val="bg1"/>
                </a:solidFill>
                <a:latin typeface="+mn-lt"/>
              </a:rPr>
              <a:t>Testsporets ydelser</a:t>
            </a:r>
            <a:endParaRPr lang="nb-NO" sz="4800" dirty="0">
              <a:solidFill>
                <a:schemeClr val="bg1"/>
              </a:solidFill>
              <a:latin typeface="+mn-lt"/>
            </a:endParaRPr>
          </a:p>
        </p:txBody>
      </p:sp>
      <p:grpSp>
        <p:nvGrpSpPr>
          <p:cNvPr id="104" name="Group 103">
            <a:extLst>
              <a:ext uri="{FF2B5EF4-FFF2-40B4-BE49-F238E27FC236}">
                <a16:creationId xmlns:a16="http://schemas.microsoft.com/office/drawing/2014/main" id="{9EE2FA64-324F-3584-E0BE-9E8098D95803}"/>
              </a:ext>
            </a:extLst>
          </p:cNvPr>
          <p:cNvGrpSpPr/>
          <p:nvPr/>
        </p:nvGrpSpPr>
        <p:grpSpPr>
          <a:xfrm>
            <a:off x="7290846" y="2455866"/>
            <a:ext cx="4554050" cy="4063084"/>
            <a:chOff x="5088160" y="2252854"/>
            <a:chExt cx="4554050" cy="4063084"/>
          </a:xfrm>
        </p:grpSpPr>
        <p:grpSp>
          <p:nvGrpSpPr>
            <p:cNvPr id="105" name="Group 104">
              <a:extLst>
                <a:ext uri="{FF2B5EF4-FFF2-40B4-BE49-F238E27FC236}">
                  <a16:creationId xmlns:a16="http://schemas.microsoft.com/office/drawing/2014/main" id="{B6CB8F35-B392-0BC9-1DD7-E9A24702FEDB}"/>
                </a:ext>
              </a:extLst>
            </p:cNvPr>
            <p:cNvGrpSpPr/>
            <p:nvPr/>
          </p:nvGrpSpPr>
          <p:grpSpPr>
            <a:xfrm>
              <a:off x="5507648" y="3152769"/>
              <a:ext cx="3209500" cy="3163169"/>
              <a:chOff x="5507648" y="3152769"/>
              <a:chExt cx="3209500" cy="3163169"/>
            </a:xfrm>
          </p:grpSpPr>
          <p:sp>
            <p:nvSpPr>
              <p:cNvPr id="203" name="Graphic 6">
                <a:extLst>
                  <a:ext uri="{FF2B5EF4-FFF2-40B4-BE49-F238E27FC236}">
                    <a16:creationId xmlns:a16="http://schemas.microsoft.com/office/drawing/2014/main" id="{148CE5D1-2EA4-784F-EE8D-1119D4345314}"/>
                  </a:ext>
                </a:extLst>
              </p:cNvPr>
              <p:cNvSpPr/>
              <p:nvPr/>
            </p:nvSpPr>
            <p:spPr>
              <a:xfrm>
                <a:off x="7508973"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579"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579"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4" name="Graphic 6">
                <a:extLst>
                  <a:ext uri="{FF2B5EF4-FFF2-40B4-BE49-F238E27FC236}">
                    <a16:creationId xmlns:a16="http://schemas.microsoft.com/office/drawing/2014/main" id="{A69D2D2C-6EA1-6D4A-918A-D1B645F0357E}"/>
                  </a:ext>
                </a:extLst>
              </p:cNvPr>
              <p:cNvSpPr/>
              <p:nvPr/>
            </p:nvSpPr>
            <p:spPr>
              <a:xfrm>
                <a:off x="5907457"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635"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635"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5" name="Graphic 6">
                <a:extLst>
                  <a:ext uri="{FF2B5EF4-FFF2-40B4-BE49-F238E27FC236}">
                    <a16:creationId xmlns:a16="http://schemas.microsoft.com/office/drawing/2014/main" id="{C7C48635-E34C-5020-CF88-1A69F6D16B34}"/>
                  </a:ext>
                </a:extLst>
              </p:cNvPr>
              <p:cNvSpPr/>
              <p:nvPr/>
            </p:nvSpPr>
            <p:spPr>
              <a:xfrm>
                <a:off x="8131627" y="3835803"/>
                <a:ext cx="325711" cy="325711"/>
              </a:xfrm>
              <a:custGeom>
                <a:avLst/>
                <a:gdLst>
                  <a:gd name="connsiteX0" fmla="*/ 249943 w 325711"/>
                  <a:gd name="connsiteY0" fmla="*/ 0 h 325711"/>
                  <a:gd name="connsiteX1" fmla="*/ 325712 w 325711"/>
                  <a:gd name="connsiteY1" fmla="*/ 0 h 325711"/>
                  <a:gd name="connsiteX2" fmla="*/ 325712 w 325711"/>
                  <a:gd name="connsiteY2" fmla="*/ 325711 h 325711"/>
                  <a:gd name="connsiteX3" fmla="*/ 249943 w 325711"/>
                  <a:gd name="connsiteY3" fmla="*/ 325711 h 325711"/>
                  <a:gd name="connsiteX4" fmla="*/ 75769 w 325711"/>
                  <a:gd name="connsiteY4" fmla="*/ 325711 h 325711"/>
                  <a:gd name="connsiteX5" fmla="*/ 0 w 325711"/>
                  <a:gd name="connsiteY5" fmla="*/ 325711 h 325711"/>
                  <a:gd name="connsiteX6" fmla="*/ 0 w 325711"/>
                  <a:gd name="connsiteY6" fmla="*/ 0 h 325711"/>
                  <a:gd name="connsiteX7" fmla="*/ 75769 w 325711"/>
                  <a:gd name="connsiteY7" fmla="*/ 0 h 32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11" h="325711">
                    <a:moveTo>
                      <a:pt x="249943" y="0"/>
                    </a:moveTo>
                    <a:cubicBezTo>
                      <a:pt x="291789" y="0"/>
                      <a:pt x="325712" y="0"/>
                      <a:pt x="325712" y="0"/>
                    </a:cubicBezTo>
                    <a:lnTo>
                      <a:pt x="325712" y="325711"/>
                    </a:lnTo>
                    <a:cubicBezTo>
                      <a:pt x="325712" y="325711"/>
                      <a:pt x="291789" y="325711"/>
                      <a:pt x="249943" y="325711"/>
                    </a:cubicBezTo>
                    <a:lnTo>
                      <a:pt x="75769" y="325711"/>
                    </a:lnTo>
                    <a:cubicBezTo>
                      <a:pt x="33923" y="325711"/>
                      <a:pt x="0" y="325711"/>
                      <a:pt x="0" y="325711"/>
                    </a:cubicBezTo>
                    <a:lnTo>
                      <a:pt x="0" y="0"/>
                    </a:lnTo>
                    <a:cubicBezTo>
                      <a:pt x="0" y="0"/>
                      <a:pt x="33923" y="0"/>
                      <a:pt x="75769" y="0"/>
                    </a:cubicBezTo>
                    <a:close/>
                  </a:path>
                </a:pathLst>
              </a:custGeom>
              <a:solidFill>
                <a:schemeClr val="accent2"/>
              </a:solidFill>
              <a:ln w="5573" cap="flat">
                <a:noFill/>
                <a:prstDash val="solid"/>
                <a:miter/>
              </a:ln>
            </p:spPr>
            <p:txBody>
              <a:bodyPr rtlCol="0" anchor="ctr"/>
              <a:lstStyle/>
              <a:p>
                <a:endParaRPr lang="en-GB"/>
              </a:p>
            </p:txBody>
          </p:sp>
          <p:sp>
            <p:nvSpPr>
              <p:cNvPr id="206" name="Graphic 6">
                <a:extLst>
                  <a:ext uri="{FF2B5EF4-FFF2-40B4-BE49-F238E27FC236}">
                    <a16:creationId xmlns:a16="http://schemas.microsoft.com/office/drawing/2014/main" id="{D85DE4EF-D8B0-1B1D-3C3E-119C8B2BA794}"/>
                  </a:ext>
                </a:extLst>
              </p:cNvPr>
              <p:cNvSpPr/>
              <p:nvPr/>
            </p:nvSpPr>
            <p:spPr>
              <a:xfrm>
                <a:off x="7522020" y="4946244"/>
                <a:ext cx="435991" cy="435991"/>
              </a:xfrm>
              <a:custGeom>
                <a:avLst/>
                <a:gdLst>
                  <a:gd name="connsiteX0" fmla="*/ 435992 w 435991"/>
                  <a:gd name="connsiteY0" fmla="*/ 217996 h 435991"/>
                  <a:gd name="connsiteX1" fmla="*/ 217996 w 435991"/>
                  <a:gd name="connsiteY1" fmla="*/ 435991 h 435991"/>
                  <a:gd name="connsiteX2" fmla="*/ 0 w 435991"/>
                  <a:gd name="connsiteY2" fmla="*/ 217996 h 435991"/>
                  <a:gd name="connsiteX3" fmla="*/ 217996 w 435991"/>
                  <a:gd name="connsiteY3" fmla="*/ 0 h 435991"/>
                  <a:gd name="connsiteX4" fmla="*/ 435992 w 435991"/>
                  <a:gd name="connsiteY4" fmla="*/ 217996 h 435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91" h="435991">
                    <a:moveTo>
                      <a:pt x="435992" y="217996"/>
                    </a:moveTo>
                    <a:cubicBezTo>
                      <a:pt x="435992" y="338392"/>
                      <a:pt x="338392" y="435991"/>
                      <a:pt x="217996" y="435991"/>
                    </a:cubicBezTo>
                    <a:cubicBezTo>
                      <a:pt x="97600" y="435991"/>
                      <a:pt x="0" y="338391"/>
                      <a:pt x="0" y="217996"/>
                    </a:cubicBezTo>
                    <a:cubicBezTo>
                      <a:pt x="0" y="97600"/>
                      <a:pt x="97600" y="0"/>
                      <a:pt x="217996" y="0"/>
                    </a:cubicBezTo>
                    <a:cubicBezTo>
                      <a:pt x="338392" y="0"/>
                      <a:pt x="435992" y="97600"/>
                      <a:pt x="435992" y="217996"/>
                    </a:cubicBezTo>
                    <a:close/>
                  </a:path>
                </a:pathLst>
              </a:custGeom>
              <a:solidFill>
                <a:schemeClr val="accent2"/>
              </a:solidFill>
              <a:ln w="5573" cap="flat">
                <a:noFill/>
                <a:prstDash val="solid"/>
                <a:miter/>
              </a:ln>
            </p:spPr>
            <p:txBody>
              <a:bodyPr rtlCol="0" anchor="ctr"/>
              <a:lstStyle/>
              <a:p>
                <a:endParaRPr lang="en-GB"/>
              </a:p>
            </p:txBody>
          </p:sp>
          <p:sp>
            <p:nvSpPr>
              <p:cNvPr id="207" name="Graphic 6">
                <a:extLst>
                  <a:ext uri="{FF2B5EF4-FFF2-40B4-BE49-F238E27FC236}">
                    <a16:creationId xmlns:a16="http://schemas.microsoft.com/office/drawing/2014/main" id="{7B794C1F-8F0A-E7A6-0085-07A765D88323}"/>
                  </a:ext>
                </a:extLst>
              </p:cNvPr>
              <p:cNvSpPr/>
              <p:nvPr/>
            </p:nvSpPr>
            <p:spPr>
              <a:xfrm>
                <a:off x="8395842" y="5369370"/>
                <a:ext cx="292649" cy="338353"/>
              </a:xfrm>
              <a:custGeom>
                <a:avLst/>
                <a:gdLst>
                  <a:gd name="connsiteX0" fmla="*/ 287495 w 292649"/>
                  <a:gd name="connsiteY0" fmla="*/ 238813 h 338353"/>
                  <a:gd name="connsiteX1" fmla="*/ 174259 w 292649"/>
                  <a:gd name="connsiteY1" fmla="*/ 203409 h 338353"/>
                  <a:gd name="connsiteX2" fmla="*/ 189034 w 292649"/>
                  <a:gd name="connsiteY2" fmla="*/ 125355 h 338353"/>
                  <a:gd name="connsiteX3" fmla="*/ 291843 w 292649"/>
                  <a:gd name="connsiteY3" fmla="*/ 133495 h 338353"/>
                  <a:gd name="connsiteX4" fmla="*/ 291843 w 292649"/>
                  <a:gd name="connsiteY4" fmla="*/ 105228 h 338353"/>
                  <a:gd name="connsiteX5" fmla="*/ 282533 w 292649"/>
                  <a:gd name="connsiteY5" fmla="*/ 87665 h 338353"/>
                  <a:gd name="connsiteX6" fmla="*/ 157143 w 292649"/>
                  <a:gd name="connsiteY6" fmla="*/ 3088 h 338353"/>
                  <a:gd name="connsiteX7" fmla="*/ 133950 w 292649"/>
                  <a:gd name="connsiteY7" fmla="*/ 3088 h 338353"/>
                  <a:gd name="connsiteX8" fmla="*/ 8560 w 292649"/>
                  <a:gd name="connsiteY8" fmla="*/ 87665 h 338353"/>
                  <a:gd name="connsiteX9" fmla="*/ -807 w 292649"/>
                  <a:gd name="connsiteY9" fmla="*/ 105228 h 338353"/>
                  <a:gd name="connsiteX10" fmla="*/ -807 w 292649"/>
                  <a:gd name="connsiteY10" fmla="*/ 232178 h 338353"/>
                  <a:gd name="connsiteX11" fmla="*/ 8560 w 292649"/>
                  <a:gd name="connsiteY11" fmla="*/ 249741 h 338353"/>
                  <a:gd name="connsiteX12" fmla="*/ 133950 w 292649"/>
                  <a:gd name="connsiteY12" fmla="*/ 334374 h 338353"/>
                  <a:gd name="connsiteX13" fmla="*/ 145490 w 292649"/>
                  <a:gd name="connsiteY13" fmla="*/ 337887 h 338353"/>
                  <a:gd name="connsiteX14" fmla="*/ 157143 w 292649"/>
                  <a:gd name="connsiteY14" fmla="*/ 334374 h 338353"/>
                  <a:gd name="connsiteX15" fmla="*/ 282533 w 292649"/>
                  <a:gd name="connsiteY15" fmla="*/ 249741 h 338353"/>
                  <a:gd name="connsiteX16" fmla="*/ 291397 w 292649"/>
                  <a:gd name="connsiteY16" fmla="*/ 236081 h 33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649" h="338353">
                    <a:moveTo>
                      <a:pt x="287495" y="238813"/>
                    </a:moveTo>
                    <a:lnTo>
                      <a:pt x="174259" y="203409"/>
                    </a:lnTo>
                    <a:lnTo>
                      <a:pt x="189034" y="125355"/>
                    </a:lnTo>
                    <a:lnTo>
                      <a:pt x="291843" y="133495"/>
                    </a:lnTo>
                    <a:lnTo>
                      <a:pt x="291843" y="105228"/>
                    </a:lnTo>
                    <a:cubicBezTo>
                      <a:pt x="291843" y="98203"/>
                      <a:pt x="288331" y="91624"/>
                      <a:pt x="282533" y="87665"/>
                    </a:cubicBezTo>
                    <a:lnTo>
                      <a:pt x="157143" y="3088"/>
                    </a:lnTo>
                    <a:cubicBezTo>
                      <a:pt x="150118" y="-1652"/>
                      <a:pt x="140975" y="-1652"/>
                      <a:pt x="133950" y="3088"/>
                    </a:cubicBezTo>
                    <a:lnTo>
                      <a:pt x="8560" y="87665"/>
                    </a:lnTo>
                    <a:cubicBezTo>
                      <a:pt x="2706" y="91569"/>
                      <a:pt x="-807" y="98203"/>
                      <a:pt x="-807" y="105228"/>
                    </a:cubicBezTo>
                    <a:lnTo>
                      <a:pt x="-807" y="232178"/>
                    </a:lnTo>
                    <a:cubicBezTo>
                      <a:pt x="-807" y="239203"/>
                      <a:pt x="2706" y="245838"/>
                      <a:pt x="8560" y="249741"/>
                    </a:cubicBezTo>
                    <a:lnTo>
                      <a:pt x="133950" y="334374"/>
                    </a:lnTo>
                    <a:cubicBezTo>
                      <a:pt x="137350" y="336660"/>
                      <a:pt x="141365" y="337887"/>
                      <a:pt x="145490" y="337887"/>
                    </a:cubicBezTo>
                    <a:cubicBezTo>
                      <a:pt x="149617" y="337887"/>
                      <a:pt x="153687" y="336660"/>
                      <a:pt x="157143" y="334374"/>
                    </a:cubicBezTo>
                    <a:lnTo>
                      <a:pt x="282533" y="249741"/>
                    </a:lnTo>
                    <a:cubicBezTo>
                      <a:pt x="287216" y="246563"/>
                      <a:pt x="290394" y="241656"/>
                      <a:pt x="291397" y="236081"/>
                    </a:cubicBezTo>
                    <a:close/>
                  </a:path>
                </a:pathLst>
              </a:custGeom>
              <a:solidFill>
                <a:schemeClr val="accent2"/>
              </a:solidFill>
              <a:ln w="5573" cap="flat">
                <a:noFill/>
                <a:prstDash val="solid"/>
                <a:miter/>
              </a:ln>
            </p:spPr>
            <p:txBody>
              <a:bodyPr rtlCol="0" anchor="ctr"/>
              <a:lstStyle/>
              <a:p>
                <a:endParaRPr lang="en-GB"/>
              </a:p>
            </p:txBody>
          </p:sp>
          <p:sp>
            <p:nvSpPr>
              <p:cNvPr id="208" name="Graphic 6">
                <a:extLst>
                  <a:ext uri="{FF2B5EF4-FFF2-40B4-BE49-F238E27FC236}">
                    <a16:creationId xmlns:a16="http://schemas.microsoft.com/office/drawing/2014/main" id="{B872DF55-6743-A3C0-C18F-2766839F234E}"/>
                  </a:ext>
                </a:extLst>
              </p:cNvPr>
              <p:cNvSpPr/>
              <p:nvPr/>
            </p:nvSpPr>
            <p:spPr>
              <a:xfrm>
                <a:off x="5507648" y="6090694"/>
                <a:ext cx="485724" cy="225244"/>
              </a:xfrm>
              <a:custGeom>
                <a:avLst/>
                <a:gdLst>
                  <a:gd name="connsiteX0" fmla="*/ -806 w 485724"/>
                  <a:gd name="connsiteY0" fmla="*/ 176383 h 225244"/>
                  <a:gd name="connsiteX1" fmla="*/ 45235 w 485724"/>
                  <a:gd name="connsiteY1" fmla="*/ 222881 h 225244"/>
                  <a:gd name="connsiteX2" fmla="*/ 78029 w 485724"/>
                  <a:gd name="connsiteY2" fmla="*/ 209500 h 225244"/>
                  <a:gd name="connsiteX3" fmla="*/ 110924 w 485724"/>
                  <a:gd name="connsiteY3" fmla="*/ 176940 h 225244"/>
                  <a:gd name="connsiteX4" fmla="*/ 143484 w 485724"/>
                  <a:gd name="connsiteY4" fmla="*/ 209835 h 225244"/>
                  <a:gd name="connsiteX5" fmla="*/ 176100 w 485724"/>
                  <a:gd name="connsiteY5" fmla="*/ 223550 h 225244"/>
                  <a:gd name="connsiteX6" fmla="*/ 437806 w 485724"/>
                  <a:gd name="connsiteY6" fmla="*/ 224777 h 225244"/>
                  <a:gd name="connsiteX7" fmla="*/ 484249 w 485724"/>
                  <a:gd name="connsiteY7" fmla="*/ 178725 h 225244"/>
                  <a:gd name="connsiteX8" fmla="*/ 484918 w 485724"/>
                  <a:gd name="connsiteY8" fmla="*/ 47871 h 225244"/>
                  <a:gd name="connsiteX9" fmla="*/ 438866 w 485724"/>
                  <a:gd name="connsiteY9" fmla="*/ 1428 h 225244"/>
                  <a:gd name="connsiteX10" fmla="*/ 177159 w 485724"/>
                  <a:gd name="connsiteY10" fmla="*/ 146 h 225244"/>
                  <a:gd name="connsiteX11" fmla="*/ 144432 w 485724"/>
                  <a:gd name="connsiteY11" fmla="*/ 13527 h 225244"/>
                  <a:gd name="connsiteX12" fmla="*/ 111537 w 485724"/>
                  <a:gd name="connsiteY12" fmla="*/ 46087 h 225244"/>
                  <a:gd name="connsiteX13" fmla="*/ 78921 w 485724"/>
                  <a:gd name="connsiteY13" fmla="*/ 13192 h 225244"/>
                  <a:gd name="connsiteX14" fmla="*/ 28743 w 485724"/>
                  <a:gd name="connsiteY14" fmla="*/ 2934 h 225244"/>
                  <a:gd name="connsiteX15" fmla="*/ 13690 w 485724"/>
                  <a:gd name="connsiteY15" fmla="*/ 12914 h 225244"/>
                  <a:gd name="connsiteX16" fmla="*/ -25 w 485724"/>
                  <a:gd name="connsiteY16" fmla="*/ 45530 h 2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5724" h="225244">
                    <a:moveTo>
                      <a:pt x="-806" y="176383"/>
                    </a:moveTo>
                    <a:cubicBezTo>
                      <a:pt x="-934" y="201917"/>
                      <a:pt x="19678" y="222769"/>
                      <a:pt x="45235" y="222881"/>
                    </a:cubicBezTo>
                    <a:cubicBezTo>
                      <a:pt x="57507" y="222937"/>
                      <a:pt x="69304" y="218142"/>
                      <a:pt x="78029" y="209500"/>
                    </a:cubicBezTo>
                    <a:lnTo>
                      <a:pt x="110924" y="176940"/>
                    </a:lnTo>
                    <a:lnTo>
                      <a:pt x="143484" y="209835"/>
                    </a:lnTo>
                    <a:cubicBezTo>
                      <a:pt x="152120" y="218533"/>
                      <a:pt x="163845" y="223438"/>
                      <a:pt x="176100" y="223550"/>
                    </a:cubicBezTo>
                    <a:lnTo>
                      <a:pt x="437806" y="224777"/>
                    </a:lnTo>
                    <a:cubicBezTo>
                      <a:pt x="463341" y="224888"/>
                      <a:pt x="484126" y="204259"/>
                      <a:pt x="484249" y="178725"/>
                    </a:cubicBezTo>
                    <a:lnTo>
                      <a:pt x="484918" y="47871"/>
                    </a:lnTo>
                    <a:cubicBezTo>
                      <a:pt x="485013" y="22336"/>
                      <a:pt x="464400" y="1540"/>
                      <a:pt x="438866" y="1428"/>
                    </a:cubicBezTo>
                    <a:lnTo>
                      <a:pt x="177159" y="146"/>
                    </a:lnTo>
                    <a:cubicBezTo>
                      <a:pt x="164910" y="90"/>
                      <a:pt x="153146" y="4941"/>
                      <a:pt x="144432" y="13527"/>
                    </a:cubicBezTo>
                    <a:lnTo>
                      <a:pt x="111537" y="46087"/>
                    </a:lnTo>
                    <a:lnTo>
                      <a:pt x="78921" y="13192"/>
                    </a:lnTo>
                    <a:cubicBezTo>
                      <a:pt x="65797" y="-21"/>
                      <a:pt x="46004" y="-4091"/>
                      <a:pt x="28743" y="2934"/>
                    </a:cubicBezTo>
                    <a:cubicBezTo>
                      <a:pt x="23112" y="5220"/>
                      <a:pt x="17989" y="8621"/>
                      <a:pt x="13690" y="12914"/>
                    </a:cubicBezTo>
                    <a:cubicBezTo>
                      <a:pt x="4959" y="21500"/>
                      <a:pt x="19" y="33263"/>
                      <a:pt x="-25" y="45530"/>
                    </a:cubicBezTo>
                    <a:close/>
                  </a:path>
                </a:pathLst>
              </a:custGeom>
              <a:solidFill>
                <a:schemeClr val="accent2"/>
              </a:solidFill>
              <a:ln w="5573" cap="flat">
                <a:noFill/>
                <a:prstDash val="solid"/>
                <a:miter/>
              </a:ln>
            </p:spPr>
            <p:txBody>
              <a:bodyPr rtlCol="0" anchor="ctr"/>
              <a:lstStyle/>
              <a:p>
                <a:endParaRPr lang="en-GB"/>
              </a:p>
            </p:txBody>
          </p:sp>
        </p:grpSp>
        <p:grpSp>
          <p:nvGrpSpPr>
            <p:cNvPr id="106" name="Group 105">
              <a:extLst>
                <a:ext uri="{FF2B5EF4-FFF2-40B4-BE49-F238E27FC236}">
                  <a16:creationId xmlns:a16="http://schemas.microsoft.com/office/drawing/2014/main" id="{7BF449A1-D5CD-24B7-7654-166378883C8D}"/>
                </a:ext>
              </a:extLst>
            </p:cNvPr>
            <p:cNvGrpSpPr/>
            <p:nvPr/>
          </p:nvGrpSpPr>
          <p:grpSpPr>
            <a:xfrm>
              <a:off x="5088160" y="2252854"/>
              <a:ext cx="4554050" cy="4023387"/>
              <a:chOff x="5088160" y="2252854"/>
              <a:chExt cx="4554050" cy="4023387"/>
            </a:xfrm>
          </p:grpSpPr>
          <p:sp>
            <p:nvSpPr>
              <p:cNvPr id="107" name="Graphic 6">
                <a:extLst>
                  <a:ext uri="{FF2B5EF4-FFF2-40B4-BE49-F238E27FC236}">
                    <a16:creationId xmlns:a16="http://schemas.microsoft.com/office/drawing/2014/main" id="{ACBB701D-9C4A-0A5F-B37E-BE186E16DB1A}"/>
                  </a:ext>
                </a:extLst>
              </p:cNvPr>
              <p:cNvSpPr/>
              <p:nvPr/>
            </p:nvSpPr>
            <p:spPr>
              <a:xfrm>
                <a:off x="6175301" y="5778799"/>
                <a:ext cx="68023" cy="497392"/>
              </a:xfrm>
              <a:custGeom>
                <a:avLst/>
                <a:gdLst>
                  <a:gd name="connsiteX0" fmla="*/ 7272 w 68023"/>
                  <a:gd name="connsiteY0" fmla="*/ 496920 h 497392"/>
                  <a:gd name="connsiteX1" fmla="*/ 6603 w 68023"/>
                  <a:gd name="connsiteY1" fmla="*/ 496920 h 497392"/>
                  <a:gd name="connsiteX2" fmla="*/ -756 w 68023"/>
                  <a:gd name="connsiteY2" fmla="*/ 487776 h 497392"/>
                  <a:gd name="connsiteX3" fmla="*/ -756 w 68023"/>
                  <a:gd name="connsiteY3" fmla="*/ 487664 h 497392"/>
                  <a:gd name="connsiteX4" fmla="*/ 47582 w 68023"/>
                  <a:gd name="connsiteY4" fmla="*/ 66894 h 497392"/>
                  <a:gd name="connsiteX5" fmla="*/ 50481 w 68023"/>
                  <a:gd name="connsiteY5" fmla="*/ 7516 h 497392"/>
                  <a:gd name="connsiteX6" fmla="*/ 59290 w 68023"/>
                  <a:gd name="connsiteY6" fmla="*/ -457 h 497392"/>
                  <a:gd name="connsiteX7" fmla="*/ 67207 w 68023"/>
                  <a:gd name="connsiteY7" fmla="*/ 8353 h 497392"/>
                  <a:gd name="connsiteX8" fmla="*/ 64308 w 68023"/>
                  <a:gd name="connsiteY8" fmla="*/ 68287 h 497392"/>
                  <a:gd name="connsiteX9" fmla="*/ 15914 w 68023"/>
                  <a:gd name="connsiteY9" fmla="*/ 489560 h 497392"/>
                  <a:gd name="connsiteX10" fmla="*/ 7272 w 68023"/>
                  <a:gd name="connsiteY10" fmla="*/ 496920 h 49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23" h="497392">
                    <a:moveTo>
                      <a:pt x="7272" y="496920"/>
                    </a:moveTo>
                    <a:lnTo>
                      <a:pt x="6603" y="496920"/>
                    </a:lnTo>
                    <a:cubicBezTo>
                      <a:pt x="2032" y="496417"/>
                      <a:pt x="-1258" y="492347"/>
                      <a:pt x="-756" y="487776"/>
                    </a:cubicBezTo>
                    <a:cubicBezTo>
                      <a:pt x="-756" y="487720"/>
                      <a:pt x="-756" y="487720"/>
                      <a:pt x="-756" y="487664"/>
                    </a:cubicBezTo>
                    <a:lnTo>
                      <a:pt x="47582" y="66894"/>
                    </a:lnTo>
                    <a:lnTo>
                      <a:pt x="50481" y="7516"/>
                    </a:lnTo>
                    <a:cubicBezTo>
                      <a:pt x="50704" y="2888"/>
                      <a:pt x="54663" y="-679"/>
                      <a:pt x="59290" y="-457"/>
                    </a:cubicBezTo>
                    <a:cubicBezTo>
                      <a:pt x="63862" y="-178"/>
                      <a:pt x="67430" y="3725"/>
                      <a:pt x="67207" y="8353"/>
                    </a:cubicBezTo>
                    <a:lnTo>
                      <a:pt x="64308" y="68287"/>
                    </a:lnTo>
                    <a:lnTo>
                      <a:pt x="15914" y="489560"/>
                    </a:lnTo>
                    <a:cubicBezTo>
                      <a:pt x="15413" y="493909"/>
                      <a:pt x="11621" y="497086"/>
                      <a:pt x="7272" y="496920"/>
                    </a:cubicBezTo>
                    <a:close/>
                  </a:path>
                </a:pathLst>
              </a:custGeom>
              <a:solidFill>
                <a:srgbClr val="30373B"/>
              </a:solidFill>
              <a:ln w="5573" cap="flat">
                <a:noFill/>
                <a:prstDash val="solid"/>
                <a:miter/>
              </a:ln>
            </p:spPr>
            <p:txBody>
              <a:bodyPr rtlCol="0" anchor="ctr"/>
              <a:lstStyle/>
              <a:p>
                <a:endParaRPr lang="en-GB"/>
              </a:p>
            </p:txBody>
          </p:sp>
          <p:sp>
            <p:nvSpPr>
              <p:cNvPr id="108" name="Graphic 6">
                <a:extLst>
                  <a:ext uri="{FF2B5EF4-FFF2-40B4-BE49-F238E27FC236}">
                    <a16:creationId xmlns:a16="http://schemas.microsoft.com/office/drawing/2014/main" id="{B2317B86-2716-6BFF-3571-8135CD4F2156}"/>
                  </a:ext>
                </a:extLst>
              </p:cNvPr>
              <p:cNvSpPr/>
              <p:nvPr/>
            </p:nvSpPr>
            <p:spPr>
              <a:xfrm>
                <a:off x="6174031" y="5582446"/>
                <a:ext cx="309926" cy="192429"/>
              </a:xfrm>
              <a:custGeom>
                <a:avLst/>
                <a:gdLst>
                  <a:gd name="connsiteX0" fmla="*/ 279336 w 309926"/>
                  <a:gd name="connsiteY0" fmla="*/ 191938 h 192429"/>
                  <a:gd name="connsiteX1" fmla="*/ 205241 w 309926"/>
                  <a:gd name="connsiteY1" fmla="*/ 166738 h 192429"/>
                  <a:gd name="connsiteX2" fmla="*/ 130363 w 309926"/>
                  <a:gd name="connsiteY2" fmla="*/ 136241 h 192429"/>
                  <a:gd name="connsiteX3" fmla="*/ 125401 w 309926"/>
                  <a:gd name="connsiteY3" fmla="*/ 125480 h 192429"/>
                  <a:gd name="connsiteX4" fmla="*/ 135549 w 309926"/>
                  <a:gd name="connsiteY4" fmla="*/ 120351 h 192429"/>
                  <a:gd name="connsiteX5" fmla="*/ 212098 w 309926"/>
                  <a:gd name="connsiteY5" fmla="*/ 151461 h 192429"/>
                  <a:gd name="connsiteX6" fmla="*/ 287365 w 309926"/>
                  <a:gd name="connsiteY6" fmla="*/ 172982 h 192429"/>
                  <a:gd name="connsiteX7" fmla="*/ 288424 w 309926"/>
                  <a:gd name="connsiteY7" fmla="*/ 122804 h 192429"/>
                  <a:gd name="connsiteX8" fmla="*/ 284912 w 309926"/>
                  <a:gd name="connsiteY8" fmla="*/ 105576 h 192429"/>
                  <a:gd name="connsiteX9" fmla="*/ 207192 w 309926"/>
                  <a:gd name="connsiteY9" fmla="*/ 16371 h 192429"/>
                  <a:gd name="connsiteX10" fmla="*/ 118878 w 309926"/>
                  <a:gd name="connsiteY10" fmla="*/ 16371 h 192429"/>
                  <a:gd name="connsiteX11" fmla="*/ 24599 w 309926"/>
                  <a:gd name="connsiteY11" fmla="*/ 82049 h 192429"/>
                  <a:gd name="connsiteX12" fmla="*/ 22146 w 309926"/>
                  <a:gd name="connsiteY12" fmla="*/ 164006 h 192429"/>
                  <a:gd name="connsiteX13" fmla="*/ 131256 w 309926"/>
                  <a:gd name="connsiteY13" fmla="*/ 37055 h 192429"/>
                  <a:gd name="connsiteX14" fmla="*/ 142406 w 309926"/>
                  <a:gd name="connsiteY14" fmla="*/ 33543 h 192429"/>
                  <a:gd name="connsiteX15" fmla="*/ 145919 w 309926"/>
                  <a:gd name="connsiteY15" fmla="*/ 44693 h 192429"/>
                  <a:gd name="connsiteX16" fmla="*/ 145919 w 309926"/>
                  <a:gd name="connsiteY16" fmla="*/ 44693 h 192429"/>
                  <a:gd name="connsiteX17" fmla="*/ 80687 w 309926"/>
                  <a:gd name="connsiteY17" fmla="*/ 141370 h 192429"/>
                  <a:gd name="connsiteX18" fmla="*/ 16236 w 309926"/>
                  <a:gd name="connsiteY18" fmla="*/ 179617 h 192429"/>
                  <a:gd name="connsiteX19" fmla="*/ 8208 w 309926"/>
                  <a:gd name="connsiteY19" fmla="*/ 78201 h 192429"/>
                  <a:gd name="connsiteX20" fmla="*/ 118767 w 309926"/>
                  <a:gd name="connsiteY20" fmla="*/ -467 h 192429"/>
                  <a:gd name="connsiteX21" fmla="*/ 207080 w 309926"/>
                  <a:gd name="connsiteY21" fmla="*/ -467 h 192429"/>
                  <a:gd name="connsiteX22" fmla="*/ 301192 w 309926"/>
                  <a:gd name="connsiteY22" fmla="*/ 102343 h 192429"/>
                  <a:gd name="connsiteX23" fmla="*/ 304704 w 309926"/>
                  <a:gd name="connsiteY23" fmla="*/ 119459 h 192429"/>
                  <a:gd name="connsiteX24" fmla="*/ 297735 w 309926"/>
                  <a:gd name="connsiteY24" fmla="*/ 186028 h 192429"/>
                  <a:gd name="connsiteX25" fmla="*/ 279336 w 309926"/>
                  <a:gd name="connsiteY25" fmla="*/ 191938 h 19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9926" h="192429">
                    <a:moveTo>
                      <a:pt x="279336" y="191938"/>
                    </a:moveTo>
                    <a:cubicBezTo>
                      <a:pt x="261161" y="191938"/>
                      <a:pt x="236295" y="180788"/>
                      <a:pt x="205241" y="166738"/>
                    </a:cubicBezTo>
                    <a:cubicBezTo>
                      <a:pt x="180820" y="155253"/>
                      <a:pt x="155843" y="145049"/>
                      <a:pt x="130363" y="136241"/>
                    </a:cubicBezTo>
                    <a:cubicBezTo>
                      <a:pt x="126014" y="134624"/>
                      <a:pt x="123785" y="129829"/>
                      <a:pt x="125401" y="125480"/>
                    </a:cubicBezTo>
                    <a:cubicBezTo>
                      <a:pt x="126907" y="121410"/>
                      <a:pt x="131367" y="119124"/>
                      <a:pt x="135549" y="120351"/>
                    </a:cubicBezTo>
                    <a:cubicBezTo>
                      <a:pt x="161585" y="129327"/>
                      <a:pt x="187176" y="139753"/>
                      <a:pt x="212098" y="151461"/>
                    </a:cubicBezTo>
                    <a:cubicBezTo>
                      <a:pt x="245550" y="166626"/>
                      <a:pt x="277497" y="180955"/>
                      <a:pt x="287365" y="172982"/>
                    </a:cubicBezTo>
                    <a:cubicBezTo>
                      <a:pt x="291045" y="170083"/>
                      <a:pt x="296062" y="159601"/>
                      <a:pt x="288424" y="122804"/>
                    </a:cubicBezTo>
                    <a:lnTo>
                      <a:pt x="284912" y="105576"/>
                    </a:lnTo>
                    <a:cubicBezTo>
                      <a:pt x="272256" y="42408"/>
                      <a:pt x="267015" y="16371"/>
                      <a:pt x="207192" y="16371"/>
                    </a:cubicBezTo>
                    <a:lnTo>
                      <a:pt x="118878" y="16371"/>
                    </a:lnTo>
                    <a:cubicBezTo>
                      <a:pt x="69927" y="16371"/>
                      <a:pt x="33854" y="41571"/>
                      <a:pt x="24599" y="82049"/>
                    </a:cubicBezTo>
                    <a:cubicBezTo>
                      <a:pt x="7371" y="157650"/>
                      <a:pt x="21533" y="163783"/>
                      <a:pt x="22146" y="164006"/>
                    </a:cubicBezTo>
                    <a:cubicBezTo>
                      <a:pt x="36252" y="169191"/>
                      <a:pt x="89385" y="117005"/>
                      <a:pt x="131256" y="37055"/>
                    </a:cubicBezTo>
                    <a:cubicBezTo>
                      <a:pt x="133374" y="33041"/>
                      <a:pt x="138336" y="31480"/>
                      <a:pt x="142406" y="33543"/>
                    </a:cubicBezTo>
                    <a:cubicBezTo>
                      <a:pt x="146476" y="35661"/>
                      <a:pt x="148037" y="40623"/>
                      <a:pt x="145919" y="44693"/>
                    </a:cubicBezTo>
                    <a:cubicBezTo>
                      <a:pt x="145919" y="44693"/>
                      <a:pt x="145919" y="44693"/>
                      <a:pt x="145919" y="44693"/>
                    </a:cubicBezTo>
                    <a:cubicBezTo>
                      <a:pt x="127966" y="79317"/>
                      <a:pt x="106055" y="111765"/>
                      <a:pt x="80687" y="141370"/>
                    </a:cubicBezTo>
                    <a:cubicBezTo>
                      <a:pt x="53257" y="172369"/>
                      <a:pt x="31569" y="185248"/>
                      <a:pt x="16236" y="179617"/>
                    </a:cubicBezTo>
                    <a:cubicBezTo>
                      <a:pt x="-3389" y="172369"/>
                      <a:pt x="-6065" y="140143"/>
                      <a:pt x="8208" y="78201"/>
                    </a:cubicBezTo>
                    <a:cubicBezTo>
                      <a:pt x="19359" y="29696"/>
                      <a:pt x="61620" y="-467"/>
                      <a:pt x="118767" y="-467"/>
                    </a:cubicBezTo>
                    <a:lnTo>
                      <a:pt x="207080" y="-467"/>
                    </a:lnTo>
                    <a:cubicBezTo>
                      <a:pt x="280619" y="-467"/>
                      <a:pt x="288815" y="40456"/>
                      <a:pt x="301192" y="102343"/>
                    </a:cubicBezTo>
                    <a:cubicBezTo>
                      <a:pt x="302307" y="107918"/>
                      <a:pt x="303478" y="113494"/>
                      <a:pt x="304704" y="119459"/>
                    </a:cubicBezTo>
                    <a:cubicBezTo>
                      <a:pt x="312231" y="155643"/>
                      <a:pt x="310280" y="176160"/>
                      <a:pt x="297735" y="186028"/>
                    </a:cubicBezTo>
                    <a:cubicBezTo>
                      <a:pt x="292495" y="190099"/>
                      <a:pt x="285971" y="192217"/>
                      <a:pt x="279336" y="191938"/>
                    </a:cubicBezTo>
                    <a:close/>
                  </a:path>
                </a:pathLst>
              </a:custGeom>
              <a:solidFill>
                <a:srgbClr val="30373B"/>
              </a:solidFill>
              <a:ln w="5573" cap="flat">
                <a:noFill/>
                <a:prstDash val="solid"/>
                <a:miter/>
              </a:ln>
            </p:spPr>
            <p:txBody>
              <a:bodyPr rtlCol="0" anchor="ctr"/>
              <a:lstStyle/>
              <a:p>
                <a:endParaRPr lang="en-GB"/>
              </a:p>
            </p:txBody>
          </p:sp>
          <p:sp>
            <p:nvSpPr>
              <p:cNvPr id="109" name="Graphic 6">
                <a:extLst>
                  <a:ext uri="{FF2B5EF4-FFF2-40B4-BE49-F238E27FC236}">
                    <a16:creationId xmlns:a16="http://schemas.microsoft.com/office/drawing/2014/main" id="{FE6EB57C-8782-8224-C270-1279A9462BCA}"/>
                  </a:ext>
                </a:extLst>
              </p:cNvPr>
              <p:cNvSpPr/>
              <p:nvPr/>
            </p:nvSpPr>
            <p:spPr>
              <a:xfrm>
                <a:off x="6250492" y="5415353"/>
                <a:ext cx="143189" cy="183762"/>
              </a:xfrm>
              <a:custGeom>
                <a:avLst/>
                <a:gdLst>
                  <a:gd name="connsiteX0" fmla="*/ 70797 w 143189"/>
                  <a:gd name="connsiteY0" fmla="*/ 183296 h 183762"/>
                  <a:gd name="connsiteX1" fmla="*/ -289 w 143189"/>
                  <a:gd name="connsiteY1" fmla="*/ 92140 h 183762"/>
                  <a:gd name="connsiteX2" fmla="*/ 19503 w 143189"/>
                  <a:gd name="connsiteY2" fmla="*/ 20608 h 183762"/>
                  <a:gd name="connsiteX3" fmla="*/ 122089 w 143189"/>
                  <a:gd name="connsiteY3" fmla="*/ 20608 h 183762"/>
                  <a:gd name="connsiteX4" fmla="*/ 141882 w 143189"/>
                  <a:gd name="connsiteY4" fmla="*/ 92140 h 183762"/>
                  <a:gd name="connsiteX5" fmla="*/ 131289 w 143189"/>
                  <a:gd name="connsiteY5" fmla="*/ 134289 h 183762"/>
                  <a:gd name="connsiteX6" fmla="*/ 120194 w 143189"/>
                  <a:gd name="connsiteY6" fmla="*/ 138526 h 183762"/>
                  <a:gd name="connsiteX7" fmla="*/ 120138 w 143189"/>
                  <a:gd name="connsiteY7" fmla="*/ 138526 h 183762"/>
                  <a:gd name="connsiteX8" fmla="*/ 115845 w 143189"/>
                  <a:gd name="connsiteY8" fmla="*/ 127487 h 183762"/>
                  <a:gd name="connsiteX9" fmla="*/ 115901 w 143189"/>
                  <a:gd name="connsiteY9" fmla="*/ 127375 h 183762"/>
                  <a:gd name="connsiteX10" fmla="*/ 125100 w 143189"/>
                  <a:gd name="connsiteY10" fmla="*/ 90578 h 183762"/>
                  <a:gd name="connsiteX11" fmla="*/ 109656 w 143189"/>
                  <a:gd name="connsiteY11" fmla="*/ 31759 h 183762"/>
                  <a:gd name="connsiteX12" fmla="*/ 31602 w 143189"/>
                  <a:gd name="connsiteY12" fmla="*/ 31759 h 183762"/>
                  <a:gd name="connsiteX13" fmla="*/ 16102 w 143189"/>
                  <a:gd name="connsiteY13" fmla="*/ 90522 h 183762"/>
                  <a:gd name="connsiteX14" fmla="*/ 70517 w 143189"/>
                  <a:gd name="connsiteY14" fmla="*/ 166403 h 183762"/>
                  <a:gd name="connsiteX15" fmla="*/ 78880 w 143189"/>
                  <a:gd name="connsiteY15" fmla="*/ 174766 h 183762"/>
                  <a:gd name="connsiteX16" fmla="*/ 70517 w 143189"/>
                  <a:gd name="connsiteY16" fmla="*/ 183129 h 18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189" h="183762">
                    <a:moveTo>
                      <a:pt x="70797" y="183296"/>
                    </a:moveTo>
                    <a:cubicBezTo>
                      <a:pt x="31769" y="183296"/>
                      <a:pt x="3558" y="136017"/>
                      <a:pt x="-289" y="92140"/>
                    </a:cubicBezTo>
                    <a:cubicBezTo>
                      <a:pt x="-2854" y="62813"/>
                      <a:pt x="4171" y="37389"/>
                      <a:pt x="19503" y="20608"/>
                    </a:cubicBezTo>
                    <a:cubicBezTo>
                      <a:pt x="47938" y="-7492"/>
                      <a:pt x="93655" y="-7492"/>
                      <a:pt x="122089" y="20608"/>
                    </a:cubicBezTo>
                    <a:cubicBezTo>
                      <a:pt x="137422" y="37334"/>
                      <a:pt x="144391" y="62813"/>
                      <a:pt x="141882" y="92140"/>
                    </a:cubicBezTo>
                    <a:cubicBezTo>
                      <a:pt x="140712" y="106691"/>
                      <a:pt x="137143" y="120908"/>
                      <a:pt x="131289" y="134289"/>
                    </a:cubicBezTo>
                    <a:cubicBezTo>
                      <a:pt x="129393" y="138526"/>
                      <a:pt x="124431" y="140422"/>
                      <a:pt x="120194" y="138526"/>
                    </a:cubicBezTo>
                    <a:cubicBezTo>
                      <a:pt x="120138" y="138526"/>
                      <a:pt x="120138" y="138526"/>
                      <a:pt x="120138" y="138526"/>
                    </a:cubicBezTo>
                    <a:cubicBezTo>
                      <a:pt x="115901" y="136686"/>
                      <a:pt x="114005" y="131724"/>
                      <a:pt x="115845" y="127487"/>
                    </a:cubicBezTo>
                    <a:cubicBezTo>
                      <a:pt x="115845" y="127487"/>
                      <a:pt x="115901" y="127431"/>
                      <a:pt x="115901" y="127375"/>
                    </a:cubicBezTo>
                    <a:cubicBezTo>
                      <a:pt x="120975" y="115723"/>
                      <a:pt x="124097" y="103290"/>
                      <a:pt x="125100" y="90578"/>
                    </a:cubicBezTo>
                    <a:cubicBezTo>
                      <a:pt x="127275" y="65936"/>
                      <a:pt x="121755" y="45083"/>
                      <a:pt x="109656" y="31759"/>
                    </a:cubicBezTo>
                    <a:cubicBezTo>
                      <a:pt x="87857" y="10795"/>
                      <a:pt x="53401" y="10795"/>
                      <a:pt x="31602" y="31759"/>
                    </a:cubicBezTo>
                    <a:cubicBezTo>
                      <a:pt x="19448" y="45028"/>
                      <a:pt x="13928" y="65880"/>
                      <a:pt x="16102" y="90522"/>
                    </a:cubicBezTo>
                    <a:cubicBezTo>
                      <a:pt x="20451" y="140031"/>
                      <a:pt x="50502" y="166403"/>
                      <a:pt x="70517" y="166403"/>
                    </a:cubicBezTo>
                    <a:cubicBezTo>
                      <a:pt x="75145" y="166403"/>
                      <a:pt x="78880" y="170138"/>
                      <a:pt x="78880" y="174766"/>
                    </a:cubicBezTo>
                    <a:cubicBezTo>
                      <a:pt x="78880" y="179394"/>
                      <a:pt x="75145" y="183129"/>
                      <a:pt x="70517" y="183129"/>
                    </a:cubicBezTo>
                    <a:close/>
                  </a:path>
                </a:pathLst>
              </a:custGeom>
              <a:solidFill>
                <a:srgbClr val="30373B"/>
              </a:solidFill>
              <a:ln w="5573" cap="flat">
                <a:noFill/>
                <a:prstDash val="solid"/>
                <a:miter/>
              </a:ln>
            </p:spPr>
            <p:txBody>
              <a:bodyPr rtlCol="0" anchor="ctr"/>
              <a:lstStyle/>
              <a:p>
                <a:endParaRPr lang="en-GB"/>
              </a:p>
            </p:txBody>
          </p:sp>
          <p:sp>
            <p:nvSpPr>
              <p:cNvPr id="110" name="Graphic 6">
                <a:extLst>
                  <a:ext uri="{FF2B5EF4-FFF2-40B4-BE49-F238E27FC236}">
                    <a16:creationId xmlns:a16="http://schemas.microsoft.com/office/drawing/2014/main" id="{D01AE15E-6057-0C79-9475-AD84391C8A37}"/>
                  </a:ext>
                </a:extLst>
              </p:cNvPr>
              <p:cNvSpPr/>
              <p:nvPr/>
            </p:nvSpPr>
            <p:spPr>
              <a:xfrm>
                <a:off x="6373644" y="5800148"/>
                <a:ext cx="47022" cy="474589"/>
              </a:xfrm>
              <a:custGeom>
                <a:avLst/>
                <a:gdLst>
                  <a:gd name="connsiteX0" fmla="*/ 7579 w 47022"/>
                  <a:gd name="connsiteY0" fmla="*/ 474122 h 474589"/>
                  <a:gd name="connsiteX1" fmla="*/ 6966 w 47022"/>
                  <a:gd name="connsiteY1" fmla="*/ 474122 h 474589"/>
                  <a:gd name="connsiteX2" fmla="*/ -784 w 47022"/>
                  <a:gd name="connsiteY2" fmla="*/ 465145 h 474589"/>
                  <a:gd name="connsiteX3" fmla="*/ 29434 w 47022"/>
                  <a:gd name="connsiteY3" fmla="*/ 44820 h 474589"/>
                  <a:gd name="connsiteX4" fmla="*/ 27427 w 47022"/>
                  <a:gd name="connsiteY4" fmla="*/ 8358 h 474589"/>
                  <a:gd name="connsiteX5" fmla="*/ 35344 w 47022"/>
                  <a:gd name="connsiteY5" fmla="*/ -451 h 474589"/>
                  <a:gd name="connsiteX6" fmla="*/ 44153 w 47022"/>
                  <a:gd name="connsiteY6" fmla="*/ 7409 h 474589"/>
                  <a:gd name="connsiteX7" fmla="*/ 46216 w 47022"/>
                  <a:gd name="connsiteY7" fmla="*/ 44430 h 474589"/>
                  <a:gd name="connsiteX8" fmla="*/ 46216 w 47022"/>
                  <a:gd name="connsiteY8" fmla="*/ 45489 h 474589"/>
                  <a:gd name="connsiteX9" fmla="*/ 15998 w 47022"/>
                  <a:gd name="connsiteY9" fmla="*/ 466372 h 474589"/>
                  <a:gd name="connsiteX10" fmla="*/ 7579 w 47022"/>
                  <a:gd name="connsiteY10" fmla="*/ 474122 h 47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22" h="474589">
                    <a:moveTo>
                      <a:pt x="7579" y="474122"/>
                    </a:moveTo>
                    <a:lnTo>
                      <a:pt x="6966" y="474122"/>
                    </a:lnTo>
                    <a:cubicBezTo>
                      <a:pt x="2338" y="473787"/>
                      <a:pt x="-1119" y="469773"/>
                      <a:pt x="-784" y="465145"/>
                    </a:cubicBezTo>
                    <a:lnTo>
                      <a:pt x="29434" y="44820"/>
                    </a:lnTo>
                    <a:lnTo>
                      <a:pt x="27427" y="8358"/>
                    </a:lnTo>
                    <a:cubicBezTo>
                      <a:pt x="27148" y="3730"/>
                      <a:pt x="30717" y="-229"/>
                      <a:pt x="35344" y="-451"/>
                    </a:cubicBezTo>
                    <a:cubicBezTo>
                      <a:pt x="39916" y="-730"/>
                      <a:pt x="43874" y="2782"/>
                      <a:pt x="44153" y="7409"/>
                    </a:cubicBezTo>
                    <a:lnTo>
                      <a:pt x="46216" y="44430"/>
                    </a:lnTo>
                    <a:lnTo>
                      <a:pt x="46216" y="45489"/>
                    </a:lnTo>
                    <a:lnTo>
                      <a:pt x="15998" y="466372"/>
                    </a:lnTo>
                    <a:cubicBezTo>
                      <a:pt x="15663" y="470776"/>
                      <a:pt x="11984" y="474177"/>
                      <a:pt x="7579" y="474122"/>
                    </a:cubicBezTo>
                    <a:close/>
                  </a:path>
                </a:pathLst>
              </a:custGeom>
              <a:solidFill>
                <a:srgbClr val="30373B"/>
              </a:solidFill>
              <a:ln w="5573" cap="flat">
                <a:noFill/>
                <a:prstDash val="solid"/>
                <a:miter/>
              </a:ln>
            </p:spPr>
            <p:txBody>
              <a:bodyPr rtlCol="0" anchor="ctr"/>
              <a:lstStyle/>
              <a:p>
                <a:endParaRPr lang="en-GB"/>
              </a:p>
            </p:txBody>
          </p:sp>
          <p:sp>
            <p:nvSpPr>
              <p:cNvPr id="111" name="Graphic 6">
                <a:extLst>
                  <a:ext uri="{FF2B5EF4-FFF2-40B4-BE49-F238E27FC236}">
                    <a16:creationId xmlns:a16="http://schemas.microsoft.com/office/drawing/2014/main" id="{79EEC0F6-A6E2-A4D5-5CC6-7AF98AEAA14F}"/>
                  </a:ext>
                </a:extLst>
              </p:cNvPr>
              <p:cNvSpPr/>
              <p:nvPr/>
            </p:nvSpPr>
            <p:spPr>
              <a:xfrm>
                <a:off x="6228344" y="5918566"/>
                <a:ext cx="102565" cy="357662"/>
              </a:xfrm>
              <a:custGeom>
                <a:avLst/>
                <a:gdLst>
                  <a:gd name="connsiteX0" fmla="*/ 7530 w 102565"/>
                  <a:gd name="connsiteY0" fmla="*/ 357153 h 357662"/>
                  <a:gd name="connsiteX1" fmla="*/ 5467 w 102565"/>
                  <a:gd name="connsiteY1" fmla="*/ 357153 h 357662"/>
                  <a:gd name="connsiteX2" fmla="*/ -554 w 102565"/>
                  <a:gd name="connsiteY2" fmla="*/ 347006 h 357662"/>
                  <a:gd name="connsiteX3" fmla="*/ 84972 w 102565"/>
                  <a:gd name="connsiteY3" fmla="*/ 6910 h 357662"/>
                  <a:gd name="connsiteX4" fmla="*/ 94394 w 102565"/>
                  <a:gd name="connsiteY4" fmla="*/ -393 h 357662"/>
                  <a:gd name="connsiteX5" fmla="*/ 101698 w 102565"/>
                  <a:gd name="connsiteY5" fmla="*/ 8973 h 357662"/>
                  <a:gd name="connsiteX6" fmla="*/ 101698 w 102565"/>
                  <a:gd name="connsiteY6" fmla="*/ 348735 h 357662"/>
                  <a:gd name="connsiteX7" fmla="*/ 93335 w 102565"/>
                  <a:gd name="connsiteY7" fmla="*/ 357098 h 357662"/>
                  <a:gd name="connsiteX8" fmla="*/ 84972 w 102565"/>
                  <a:gd name="connsiteY8" fmla="*/ 348735 h 357662"/>
                  <a:gd name="connsiteX9" fmla="*/ 84972 w 102565"/>
                  <a:gd name="connsiteY9" fmla="*/ 76434 h 357662"/>
                  <a:gd name="connsiteX10" fmla="*/ 15893 w 102565"/>
                  <a:gd name="connsiteY10" fmla="*/ 350797 h 357662"/>
                  <a:gd name="connsiteX11" fmla="*/ 7530 w 102565"/>
                  <a:gd name="connsiteY11" fmla="*/ 357153 h 35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565" h="357662">
                    <a:moveTo>
                      <a:pt x="7530" y="357153"/>
                    </a:moveTo>
                    <a:cubicBezTo>
                      <a:pt x="6861" y="357209"/>
                      <a:pt x="6136" y="357209"/>
                      <a:pt x="5467" y="357153"/>
                    </a:cubicBezTo>
                    <a:cubicBezTo>
                      <a:pt x="1007" y="355982"/>
                      <a:pt x="-1669" y="351466"/>
                      <a:pt x="-554" y="347006"/>
                    </a:cubicBezTo>
                    <a:lnTo>
                      <a:pt x="84972" y="6910"/>
                    </a:lnTo>
                    <a:cubicBezTo>
                      <a:pt x="85530" y="2283"/>
                      <a:pt x="89767" y="-1006"/>
                      <a:pt x="94394" y="-393"/>
                    </a:cubicBezTo>
                    <a:cubicBezTo>
                      <a:pt x="98966" y="164"/>
                      <a:pt x="102256" y="4346"/>
                      <a:pt x="101698" y="8973"/>
                    </a:cubicBezTo>
                    <a:lnTo>
                      <a:pt x="101698" y="348735"/>
                    </a:lnTo>
                    <a:cubicBezTo>
                      <a:pt x="101698" y="353362"/>
                      <a:pt x="97963" y="357098"/>
                      <a:pt x="93335" y="357098"/>
                    </a:cubicBezTo>
                    <a:cubicBezTo>
                      <a:pt x="88707" y="357098"/>
                      <a:pt x="84972" y="353362"/>
                      <a:pt x="84972" y="348735"/>
                    </a:cubicBezTo>
                    <a:lnTo>
                      <a:pt x="84972" y="76434"/>
                    </a:lnTo>
                    <a:lnTo>
                      <a:pt x="15893" y="350797"/>
                    </a:lnTo>
                    <a:cubicBezTo>
                      <a:pt x="14946" y="354588"/>
                      <a:pt x="11433" y="357264"/>
                      <a:pt x="7530" y="357153"/>
                    </a:cubicBezTo>
                    <a:close/>
                  </a:path>
                </a:pathLst>
              </a:custGeom>
              <a:solidFill>
                <a:srgbClr val="30373B"/>
              </a:solidFill>
              <a:ln w="5573" cap="flat">
                <a:noFill/>
                <a:prstDash val="solid"/>
                <a:miter/>
              </a:ln>
            </p:spPr>
            <p:txBody>
              <a:bodyPr rtlCol="0" anchor="ctr"/>
              <a:lstStyle/>
              <a:p>
                <a:endParaRPr lang="en-GB"/>
              </a:p>
            </p:txBody>
          </p:sp>
          <p:sp>
            <p:nvSpPr>
              <p:cNvPr id="112" name="Graphic 6">
                <a:extLst>
                  <a:ext uri="{FF2B5EF4-FFF2-40B4-BE49-F238E27FC236}">
                    <a16:creationId xmlns:a16="http://schemas.microsoft.com/office/drawing/2014/main" id="{E0BC5D10-3188-E318-77FB-F20F0E4AABCE}"/>
                  </a:ext>
                </a:extLst>
              </p:cNvPr>
              <p:cNvSpPr/>
              <p:nvPr/>
            </p:nvSpPr>
            <p:spPr>
              <a:xfrm>
                <a:off x="9575903" y="5824226"/>
                <a:ext cx="45922" cy="439024"/>
              </a:xfrm>
              <a:custGeom>
                <a:avLst/>
                <a:gdLst>
                  <a:gd name="connsiteX0" fmla="*/ 7572 w 45922"/>
                  <a:gd name="connsiteY0" fmla="*/ 438557 h 439024"/>
                  <a:gd name="connsiteX1" fmla="*/ 6959 w 45922"/>
                  <a:gd name="connsiteY1" fmla="*/ 438557 h 439024"/>
                  <a:gd name="connsiteX2" fmla="*/ -791 w 45922"/>
                  <a:gd name="connsiteY2" fmla="*/ 429637 h 439024"/>
                  <a:gd name="connsiteX3" fmla="*/ 28368 w 45922"/>
                  <a:gd name="connsiteY3" fmla="*/ 7361 h 439024"/>
                  <a:gd name="connsiteX4" fmla="*/ 37288 w 45922"/>
                  <a:gd name="connsiteY4" fmla="*/ -445 h 439024"/>
                  <a:gd name="connsiteX5" fmla="*/ 45094 w 45922"/>
                  <a:gd name="connsiteY5" fmla="*/ 8476 h 439024"/>
                  <a:gd name="connsiteX6" fmla="*/ 15935 w 45922"/>
                  <a:gd name="connsiteY6" fmla="*/ 430752 h 439024"/>
                  <a:gd name="connsiteX7" fmla="*/ 7572 w 45922"/>
                  <a:gd name="connsiteY7" fmla="*/ 438557 h 43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22" h="439024">
                    <a:moveTo>
                      <a:pt x="7572" y="438557"/>
                    </a:moveTo>
                    <a:lnTo>
                      <a:pt x="6959" y="438557"/>
                    </a:lnTo>
                    <a:cubicBezTo>
                      <a:pt x="2387" y="438223"/>
                      <a:pt x="-1069" y="434209"/>
                      <a:pt x="-791" y="429637"/>
                    </a:cubicBezTo>
                    <a:lnTo>
                      <a:pt x="28368" y="7361"/>
                    </a:lnTo>
                    <a:cubicBezTo>
                      <a:pt x="28703" y="2734"/>
                      <a:pt x="32661" y="-779"/>
                      <a:pt x="37288" y="-445"/>
                    </a:cubicBezTo>
                    <a:cubicBezTo>
                      <a:pt x="41916" y="-110"/>
                      <a:pt x="45429" y="3848"/>
                      <a:pt x="45094" y="8476"/>
                    </a:cubicBezTo>
                    <a:lnTo>
                      <a:pt x="15935" y="430752"/>
                    </a:lnTo>
                    <a:cubicBezTo>
                      <a:pt x="15657" y="435157"/>
                      <a:pt x="11977" y="438613"/>
                      <a:pt x="7572" y="438557"/>
                    </a:cubicBezTo>
                    <a:close/>
                  </a:path>
                </a:pathLst>
              </a:custGeom>
              <a:solidFill>
                <a:srgbClr val="30373B"/>
              </a:solidFill>
              <a:ln w="5573" cap="flat">
                <a:noFill/>
                <a:prstDash val="solid"/>
                <a:miter/>
              </a:ln>
            </p:spPr>
            <p:txBody>
              <a:bodyPr rtlCol="0" anchor="ctr"/>
              <a:lstStyle/>
              <a:p>
                <a:endParaRPr lang="en-GB"/>
              </a:p>
            </p:txBody>
          </p:sp>
          <p:sp>
            <p:nvSpPr>
              <p:cNvPr id="113" name="Graphic 6">
                <a:extLst>
                  <a:ext uri="{FF2B5EF4-FFF2-40B4-BE49-F238E27FC236}">
                    <a16:creationId xmlns:a16="http://schemas.microsoft.com/office/drawing/2014/main" id="{17420BC4-BB95-08F8-FC59-07CCFDC8E078}"/>
                  </a:ext>
                </a:extLst>
              </p:cNvPr>
              <p:cNvSpPr/>
              <p:nvPr/>
            </p:nvSpPr>
            <p:spPr>
              <a:xfrm>
                <a:off x="9428242" y="5557517"/>
                <a:ext cx="213968" cy="283462"/>
              </a:xfrm>
              <a:custGeom>
                <a:avLst/>
                <a:gdLst>
                  <a:gd name="connsiteX0" fmla="*/ 43114 w 213968"/>
                  <a:gd name="connsiteY0" fmla="*/ 282990 h 283462"/>
                  <a:gd name="connsiteX1" fmla="*/ 34416 w 213968"/>
                  <a:gd name="connsiteY1" fmla="*/ 274962 h 283462"/>
                  <a:gd name="connsiteX2" fmla="*/ 42500 w 213968"/>
                  <a:gd name="connsiteY2" fmla="*/ 266264 h 283462"/>
                  <a:gd name="connsiteX3" fmla="*/ 120555 w 213968"/>
                  <a:gd name="connsiteY3" fmla="*/ 243015 h 283462"/>
                  <a:gd name="connsiteX4" fmla="*/ 196435 w 213968"/>
                  <a:gd name="connsiteY4" fmla="*/ 118295 h 283462"/>
                  <a:gd name="connsiteX5" fmla="*/ 122785 w 213968"/>
                  <a:gd name="connsiteY5" fmla="*/ 16266 h 283462"/>
                  <a:gd name="connsiteX6" fmla="*/ 47852 w 213968"/>
                  <a:gd name="connsiteY6" fmla="*/ 16266 h 283462"/>
                  <a:gd name="connsiteX7" fmla="*/ 21649 w 213968"/>
                  <a:gd name="connsiteY7" fmla="*/ 25466 h 283462"/>
                  <a:gd name="connsiteX8" fmla="*/ 2302 w 213968"/>
                  <a:gd name="connsiteY8" fmla="*/ 20949 h 283462"/>
                  <a:gd name="connsiteX9" fmla="*/ 47852 w 213968"/>
                  <a:gd name="connsiteY9" fmla="*/ -460 h 283462"/>
                  <a:gd name="connsiteX10" fmla="*/ 122785 w 213968"/>
                  <a:gd name="connsiteY10" fmla="*/ -460 h 283462"/>
                  <a:gd name="connsiteX11" fmla="*/ 213161 w 213968"/>
                  <a:gd name="connsiteY11" fmla="*/ 118295 h 283462"/>
                  <a:gd name="connsiteX12" fmla="*/ 43783 w 213968"/>
                  <a:gd name="connsiteY12" fmla="*/ 282935 h 28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968" h="283462">
                    <a:moveTo>
                      <a:pt x="43114" y="282990"/>
                    </a:moveTo>
                    <a:cubicBezTo>
                      <a:pt x="38486" y="283158"/>
                      <a:pt x="34639" y="279534"/>
                      <a:pt x="34416" y="274962"/>
                    </a:cubicBezTo>
                    <a:cubicBezTo>
                      <a:pt x="34249" y="270334"/>
                      <a:pt x="37873" y="266432"/>
                      <a:pt x="42500" y="266264"/>
                    </a:cubicBezTo>
                    <a:cubicBezTo>
                      <a:pt x="69708" y="263254"/>
                      <a:pt x="96135" y="255393"/>
                      <a:pt x="120555" y="243015"/>
                    </a:cubicBezTo>
                    <a:cubicBezTo>
                      <a:pt x="170733" y="216644"/>
                      <a:pt x="196435" y="174717"/>
                      <a:pt x="196435" y="118295"/>
                    </a:cubicBezTo>
                    <a:cubicBezTo>
                      <a:pt x="196435" y="26357"/>
                      <a:pt x="172852" y="16266"/>
                      <a:pt x="122785" y="16266"/>
                    </a:cubicBezTo>
                    <a:lnTo>
                      <a:pt x="47852" y="16266"/>
                    </a:lnTo>
                    <a:cubicBezTo>
                      <a:pt x="38319" y="16099"/>
                      <a:pt x="29008" y="19388"/>
                      <a:pt x="21649" y="25466"/>
                    </a:cubicBezTo>
                    <a:cubicBezTo>
                      <a:pt x="9438" y="35389"/>
                      <a:pt x="-7957" y="32769"/>
                      <a:pt x="2302" y="20949"/>
                    </a:cubicBezTo>
                    <a:cubicBezTo>
                      <a:pt x="13397" y="7179"/>
                      <a:pt x="30179" y="-739"/>
                      <a:pt x="47852" y="-460"/>
                    </a:cubicBezTo>
                    <a:lnTo>
                      <a:pt x="122785" y="-460"/>
                    </a:lnTo>
                    <a:cubicBezTo>
                      <a:pt x="182720" y="-460"/>
                      <a:pt x="213161" y="17939"/>
                      <a:pt x="213161" y="118295"/>
                    </a:cubicBezTo>
                    <a:cubicBezTo>
                      <a:pt x="213161" y="268829"/>
                      <a:pt x="45455" y="282823"/>
                      <a:pt x="43783" y="282935"/>
                    </a:cubicBezTo>
                    <a:close/>
                  </a:path>
                </a:pathLst>
              </a:custGeom>
              <a:solidFill>
                <a:srgbClr val="30373B"/>
              </a:solidFill>
              <a:ln w="5573" cap="flat">
                <a:noFill/>
                <a:prstDash val="solid"/>
                <a:miter/>
              </a:ln>
            </p:spPr>
            <p:txBody>
              <a:bodyPr rtlCol="0" anchor="ctr"/>
              <a:lstStyle/>
              <a:p>
                <a:endParaRPr lang="en-GB"/>
              </a:p>
            </p:txBody>
          </p:sp>
          <p:sp>
            <p:nvSpPr>
              <p:cNvPr id="114" name="Graphic 6">
                <a:extLst>
                  <a:ext uri="{FF2B5EF4-FFF2-40B4-BE49-F238E27FC236}">
                    <a16:creationId xmlns:a16="http://schemas.microsoft.com/office/drawing/2014/main" id="{1A3A39E6-C1AC-3D63-B5C1-6D8D029B578C}"/>
                  </a:ext>
                </a:extLst>
              </p:cNvPr>
              <p:cNvSpPr/>
              <p:nvPr/>
            </p:nvSpPr>
            <p:spPr>
              <a:xfrm>
                <a:off x="9450556" y="5387964"/>
                <a:ext cx="145184" cy="186286"/>
              </a:xfrm>
              <a:custGeom>
                <a:avLst/>
                <a:gdLst>
                  <a:gd name="connsiteX0" fmla="*/ 71758 w 145184"/>
                  <a:gd name="connsiteY0" fmla="*/ 185820 h 186286"/>
                  <a:gd name="connsiteX1" fmla="*/ -276 w 145184"/>
                  <a:gd name="connsiteY1" fmla="*/ 93380 h 186286"/>
                  <a:gd name="connsiteX2" fmla="*/ 19795 w 145184"/>
                  <a:gd name="connsiteY2" fmla="*/ 20901 h 186286"/>
                  <a:gd name="connsiteX3" fmla="*/ 123776 w 145184"/>
                  <a:gd name="connsiteY3" fmla="*/ 20901 h 186286"/>
                  <a:gd name="connsiteX4" fmla="*/ 143847 w 145184"/>
                  <a:gd name="connsiteY4" fmla="*/ 93380 h 186286"/>
                  <a:gd name="connsiteX5" fmla="*/ 133087 w 145184"/>
                  <a:gd name="connsiteY5" fmla="*/ 136087 h 186286"/>
                  <a:gd name="connsiteX6" fmla="*/ 121936 w 145184"/>
                  <a:gd name="connsiteY6" fmla="*/ 140101 h 186286"/>
                  <a:gd name="connsiteX7" fmla="*/ 117810 w 145184"/>
                  <a:gd name="connsiteY7" fmla="*/ 129286 h 186286"/>
                  <a:gd name="connsiteX8" fmla="*/ 127177 w 145184"/>
                  <a:gd name="connsiteY8" fmla="*/ 91931 h 186286"/>
                  <a:gd name="connsiteX9" fmla="*/ 111399 w 145184"/>
                  <a:gd name="connsiteY9" fmla="*/ 32107 h 186286"/>
                  <a:gd name="connsiteX10" fmla="*/ 32173 w 145184"/>
                  <a:gd name="connsiteY10" fmla="*/ 32107 h 186286"/>
                  <a:gd name="connsiteX11" fmla="*/ 16395 w 145184"/>
                  <a:gd name="connsiteY11" fmla="*/ 91931 h 186286"/>
                  <a:gd name="connsiteX12" fmla="*/ 71758 w 145184"/>
                  <a:gd name="connsiteY12" fmla="*/ 169094 h 186286"/>
                  <a:gd name="connsiteX13" fmla="*/ 80121 w 145184"/>
                  <a:gd name="connsiteY13" fmla="*/ 177457 h 186286"/>
                  <a:gd name="connsiteX14" fmla="*/ 71758 w 145184"/>
                  <a:gd name="connsiteY14" fmla="*/ 185820 h 18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184" h="186286">
                    <a:moveTo>
                      <a:pt x="71758" y="185820"/>
                    </a:moveTo>
                    <a:cubicBezTo>
                      <a:pt x="32340" y="185820"/>
                      <a:pt x="3683" y="137872"/>
                      <a:pt x="-276" y="93380"/>
                    </a:cubicBezTo>
                    <a:cubicBezTo>
                      <a:pt x="-2896" y="63608"/>
                      <a:pt x="4241" y="37627"/>
                      <a:pt x="19795" y="20901"/>
                    </a:cubicBezTo>
                    <a:cubicBezTo>
                      <a:pt x="48620" y="-7589"/>
                      <a:pt x="94952" y="-7589"/>
                      <a:pt x="123776" y="20901"/>
                    </a:cubicBezTo>
                    <a:cubicBezTo>
                      <a:pt x="139331" y="37627"/>
                      <a:pt x="146468" y="63664"/>
                      <a:pt x="143847" y="93380"/>
                    </a:cubicBezTo>
                    <a:cubicBezTo>
                      <a:pt x="142620" y="108099"/>
                      <a:pt x="138996" y="122540"/>
                      <a:pt x="133087" y="136087"/>
                    </a:cubicBezTo>
                    <a:cubicBezTo>
                      <a:pt x="131136" y="140269"/>
                      <a:pt x="126118" y="142053"/>
                      <a:pt x="121936" y="140101"/>
                    </a:cubicBezTo>
                    <a:cubicBezTo>
                      <a:pt x="117922" y="138206"/>
                      <a:pt x="116082" y="133411"/>
                      <a:pt x="117810" y="129286"/>
                    </a:cubicBezTo>
                    <a:cubicBezTo>
                      <a:pt x="122995" y="117466"/>
                      <a:pt x="126173" y="104810"/>
                      <a:pt x="127177" y="91931"/>
                    </a:cubicBezTo>
                    <a:cubicBezTo>
                      <a:pt x="129407" y="66842"/>
                      <a:pt x="123776" y="45600"/>
                      <a:pt x="111399" y="32107"/>
                    </a:cubicBezTo>
                    <a:cubicBezTo>
                      <a:pt x="89265" y="10921"/>
                      <a:pt x="54307" y="10921"/>
                      <a:pt x="32173" y="32107"/>
                    </a:cubicBezTo>
                    <a:cubicBezTo>
                      <a:pt x="19795" y="45600"/>
                      <a:pt x="14165" y="66842"/>
                      <a:pt x="16395" y="91931"/>
                    </a:cubicBezTo>
                    <a:cubicBezTo>
                      <a:pt x="20855" y="142109"/>
                      <a:pt x="51408" y="169094"/>
                      <a:pt x="71758" y="169094"/>
                    </a:cubicBezTo>
                    <a:cubicBezTo>
                      <a:pt x="76385" y="169094"/>
                      <a:pt x="80121" y="172829"/>
                      <a:pt x="80121" y="177457"/>
                    </a:cubicBezTo>
                    <a:cubicBezTo>
                      <a:pt x="80121" y="182084"/>
                      <a:pt x="76385" y="185820"/>
                      <a:pt x="71758" y="185820"/>
                    </a:cubicBezTo>
                    <a:close/>
                  </a:path>
                </a:pathLst>
              </a:custGeom>
              <a:solidFill>
                <a:srgbClr val="30373B"/>
              </a:solidFill>
              <a:ln w="5573" cap="flat">
                <a:noFill/>
                <a:prstDash val="solid"/>
                <a:miter/>
              </a:ln>
            </p:spPr>
            <p:txBody>
              <a:bodyPr rtlCol="0" anchor="ctr"/>
              <a:lstStyle/>
              <a:p>
                <a:endParaRPr lang="en-GB"/>
              </a:p>
            </p:txBody>
          </p:sp>
          <p:sp>
            <p:nvSpPr>
              <p:cNvPr id="115" name="Graphic 6">
                <a:extLst>
                  <a:ext uri="{FF2B5EF4-FFF2-40B4-BE49-F238E27FC236}">
                    <a16:creationId xmlns:a16="http://schemas.microsoft.com/office/drawing/2014/main" id="{9B3C3A4D-132B-B3CF-0435-4C3EE90AA03A}"/>
                  </a:ext>
                </a:extLst>
              </p:cNvPr>
              <p:cNvSpPr/>
              <p:nvPr/>
            </p:nvSpPr>
            <p:spPr>
              <a:xfrm>
                <a:off x="9422988" y="5807690"/>
                <a:ext cx="47356" cy="459909"/>
              </a:xfrm>
              <a:custGeom>
                <a:avLst/>
                <a:gdLst>
                  <a:gd name="connsiteX0" fmla="*/ 38221 w 47356"/>
                  <a:gd name="connsiteY0" fmla="*/ 459387 h 459909"/>
                  <a:gd name="connsiteX1" fmla="*/ 29858 w 47356"/>
                  <a:gd name="connsiteY1" fmla="*/ 451582 h 459909"/>
                  <a:gd name="connsiteX2" fmla="*/ -807 w 47356"/>
                  <a:gd name="connsiteY2" fmla="*/ 7283 h 459909"/>
                  <a:gd name="connsiteX3" fmla="*/ -807 w 47356"/>
                  <a:gd name="connsiteY3" fmla="*/ 6335 h 459909"/>
                  <a:gd name="connsiteX4" fmla="*/ -807 w 47356"/>
                  <a:gd name="connsiteY4" fmla="*/ 760 h 459909"/>
                  <a:gd name="connsiteX5" fmla="*/ 15919 w 47356"/>
                  <a:gd name="connsiteY5" fmla="*/ -467 h 459909"/>
                  <a:gd name="connsiteX6" fmla="*/ 15919 w 47356"/>
                  <a:gd name="connsiteY6" fmla="*/ 6670 h 459909"/>
                  <a:gd name="connsiteX7" fmla="*/ 46528 w 47356"/>
                  <a:gd name="connsiteY7" fmla="*/ 450523 h 459909"/>
                  <a:gd name="connsiteX8" fmla="*/ 38778 w 47356"/>
                  <a:gd name="connsiteY8" fmla="*/ 459443 h 45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56" h="459909">
                    <a:moveTo>
                      <a:pt x="38221" y="459387"/>
                    </a:moveTo>
                    <a:cubicBezTo>
                      <a:pt x="33816" y="459387"/>
                      <a:pt x="30192" y="455986"/>
                      <a:pt x="29858" y="451582"/>
                    </a:cubicBezTo>
                    <a:lnTo>
                      <a:pt x="-807" y="7283"/>
                    </a:lnTo>
                    <a:lnTo>
                      <a:pt x="-807" y="6335"/>
                    </a:lnTo>
                    <a:lnTo>
                      <a:pt x="-807" y="760"/>
                    </a:lnTo>
                    <a:lnTo>
                      <a:pt x="15919" y="-467"/>
                    </a:lnTo>
                    <a:lnTo>
                      <a:pt x="15919" y="6670"/>
                    </a:lnTo>
                    <a:lnTo>
                      <a:pt x="46528" y="450523"/>
                    </a:lnTo>
                    <a:cubicBezTo>
                      <a:pt x="46862" y="455150"/>
                      <a:pt x="43405" y="459108"/>
                      <a:pt x="38778" y="459443"/>
                    </a:cubicBezTo>
                    <a:close/>
                  </a:path>
                </a:pathLst>
              </a:custGeom>
              <a:solidFill>
                <a:srgbClr val="30373B"/>
              </a:solidFill>
              <a:ln w="5573" cap="flat">
                <a:noFill/>
                <a:prstDash val="solid"/>
                <a:miter/>
              </a:ln>
            </p:spPr>
            <p:txBody>
              <a:bodyPr rtlCol="0" anchor="ctr"/>
              <a:lstStyle/>
              <a:p>
                <a:endParaRPr lang="en-GB"/>
              </a:p>
            </p:txBody>
          </p:sp>
          <p:sp>
            <p:nvSpPr>
              <p:cNvPr id="116" name="Graphic 6">
                <a:extLst>
                  <a:ext uri="{FF2B5EF4-FFF2-40B4-BE49-F238E27FC236}">
                    <a16:creationId xmlns:a16="http://schemas.microsoft.com/office/drawing/2014/main" id="{8EC854DA-7E22-0704-94E0-42F0F2108702}"/>
                  </a:ext>
                </a:extLst>
              </p:cNvPr>
              <p:cNvSpPr/>
              <p:nvPr/>
            </p:nvSpPr>
            <p:spPr>
              <a:xfrm>
                <a:off x="9507173" y="5866671"/>
                <a:ext cx="24313" cy="409514"/>
              </a:xfrm>
              <a:custGeom>
                <a:avLst/>
                <a:gdLst>
                  <a:gd name="connsiteX0" fmla="*/ 15141 w 24313"/>
                  <a:gd name="connsiteY0" fmla="*/ 409048 h 409514"/>
                  <a:gd name="connsiteX1" fmla="*/ 6834 w 24313"/>
                  <a:gd name="connsiteY1" fmla="*/ 400852 h 409514"/>
                  <a:gd name="connsiteX2" fmla="*/ -804 w 24313"/>
                  <a:gd name="connsiteY2" fmla="*/ 8069 h 409514"/>
                  <a:gd name="connsiteX3" fmla="*/ 7391 w 24313"/>
                  <a:gd name="connsiteY3" fmla="*/ -461 h 409514"/>
                  <a:gd name="connsiteX4" fmla="*/ 7391 w 24313"/>
                  <a:gd name="connsiteY4" fmla="*/ -461 h 409514"/>
                  <a:gd name="connsiteX5" fmla="*/ 15866 w 24313"/>
                  <a:gd name="connsiteY5" fmla="*/ 7456 h 409514"/>
                  <a:gd name="connsiteX6" fmla="*/ 15866 w 24313"/>
                  <a:gd name="connsiteY6" fmla="*/ 7734 h 409514"/>
                  <a:gd name="connsiteX7" fmla="*/ 23504 w 24313"/>
                  <a:gd name="connsiteY7" fmla="*/ 400518 h 409514"/>
                  <a:gd name="connsiteX8" fmla="*/ 15420 w 24313"/>
                  <a:gd name="connsiteY8" fmla="*/ 409048 h 409514"/>
                  <a:gd name="connsiteX9" fmla="*/ 15309 w 24313"/>
                  <a:gd name="connsiteY9" fmla="*/ 409048 h 4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13" h="409514">
                    <a:moveTo>
                      <a:pt x="15141" y="409048"/>
                    </a:moveTo>
                    <a:cubicBezTo>
                      <a:pt x="10569" y="409048"/>
                      <a:pt x="6890" y="405424"/>
                      <a:pt x="6834" y="400852"/>
                    </a:cubicBezTo>
                    <a:lnTo>
                      <a:pt x="-804" y="8069"/>
                    </a:lnTo>
                    <a:cubicBezTo>
                      <a:pt x="-916" y="3442"/>
                      <a:pt x="2764" y="-350"/>
                      <a:pt x="7391" y="-461"/>
                    </a:cubicBezTo>
                    <a:cubicBezTo>
                      <a:pt x="7391" y="-461"/>
                      <a:pt x="7391" y="-461"/>
                      <a:pt x="7391" y="-461"/>
                    </a:cubicBezTo>
                    <a:cubicBezTo>
                      <a:pt x="11908" y="-629"/>
                      <a:pt x="15699" y="2940"/>
                      <a:pt x="15866" y="7456"/>
                    </a:cubicBezTo>
                    <a:cubicBezTo>
                      <a:pt x="15866" y="7568"/>
                      <a:pt x="15866" y="7624"/>
                      <a:pt x="15866" y="7734"/>
                    </a:cubicBezTo>
                    <a:lnTo>
                      <a:pt x="23504" y="400518"/>
                    </a:lnTo>
                    <a:cubicBezTo>
                      <a:pt x="23616" y="405089"/>
                      <a:pt x="19992" y="408936"/>
                      <a:pt x="15420" y="409048"/>
                    </a:cubicBezTo>
                    <a:cubicBezTo>
                      <a:pt x="15364" y="409048"/>
                      <a:pt x="15364" y="409048"/>
                      <a:pt x="15309" y="409048"/>
                    </a:cubicBezTo>
                    <a:close/>
                  </a:path>
                </a:pathLst>
              </a:custGeom>
              <a:solidFill>
                <a:srgbClr val="30373B"/>
              </a:solidFill>
              <a:ln w="5573" cap="flat">
                <a:noFill/>
                <a:prstDash val="solid"/>
                <a:miter/>
              </a:ln>
            </p:spPr>
            <p:txBody>
              <a:bodyPr rtlCol="0" anchor="ctr"/>
              <a:lstStyle/>
              <a:p>
                <a:endParaRPr lang="en-GB"/>
              </a:p>
            </p:txBody>
          </p:sp>
          <p:sp>
            <p:nvSpPr>
              <p:cNvPr id="117" name="Graphic 6">
                <a:extLst>
                  <a:ext uri="{FF2B5EF4-FFF2-40B4-BE49-F238E27FC236}">
                    <a16:creationId xmlns:a16="http://schemas.microsoft.com/office/drawing/2014/main" id="{15FD71FF-E047-7449-0456-6F342A379FAA}"/>
                  </a:ext>
                </a:extLst>
              </p:cNvPr>
              <p:cNvSpPr/>
              <p:nvPr/>
            </p:nvSpPr>
            <p:spPr>
              <a:xfrm>
                <a:off x="7035611" y="2582920"/>
                <a:ext cx="46500" cy="522068"/>
              </a:xfrm>
              <a:custGeom>
                <a:avLst/>
                <a:gdLst>
                  <a:gd name="connsiteX0" fmla="*/ 7572 w 46500"/>
                  <a:gd name="connsiteY0" fmla="*/ 521601 h 522068"/>
                  <a:gd name="connsiteX1" fmla="*/ 7015 w 46500"/>
                  <a:gd name="connsiteY1" fmla="*/ 521601 h 522068"/>
                  <a:gd name="connsiteX2" fmla="*/ -791 w 46500"/>
                  <a:gd name="connsiteY2" fmla="*/ 512680 h 522068"/>
                  <a:gd name="connsiteX3" fmla="*/ 28870 w 46500"/>
                  <a:gd name="connsiteY3" fmla="*/ 83379 h 522068"/>
                  <a:gd name="connsiteX4" fmla="*/ 23685 w 46500"/>
                  <a:gd name="connsiteY4" fmla="*/ 8502 h 522068"/>
                  <a:gd name="connsiteX5" fmla="*/ 31490 w 46500"/>
                  <a:gd name="connsiteY5" fmla="*/ -446 h 522068"/>
                  <a:gd name="connsiteX6" fmla="*/ 40411 w 46500"/>
                  <a:gd name="connsiteY6" fmla="*/ 7332 h 522068"/>
                  <a:gd name="connsiteX7" fmla="*/ 45652 w 46500"/>
                  <a:gd name="connsiteY7" fmla="*/ 82766 h 522068"/>
                  <a:gd name="connsiteX8" fmla="*/ 45652 w 46500"/>
                  <a:gd name="connsiteY8" fmla="*/ 83937 h 522068"/>
                  <a:gd name="connsiteX9" fmla="*/ 16047 w 46500"/>
                  <a:gd name="connsiteY9" fmla="*/ 513851 h 522068"/>
                  <a:gd name="connsiteX10" fmla="*/ 7572 w 46500"/>
                  <a:gd name="connsiteY10" fmla="*/ 521601 h 5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00" h="522068">
                    <a:moveTo>
                      <a:pt x="7572" y="521601"/>
                    </a:moveTo>
                    <a:lnTo>
                      <a:pt x="7015" y="521601"/>
                    </a:lnTo>
                    <a:cubicBezTo>
                      <a:pt x="2387" y="521272"/>
                      <a:pt x="-1069" y="517291"/>
                      <a:pt x="-791" y="512680"/>
                    </a:cubicBezTo>
                    <a:lnTo>
                      <a:pt x="28870" y="83379"/>
                    </a:lnTo>
                    <a:lnTo>
                      <a:pt x="23685" y="8502"/>
                    </a:lnTo>
                    <a:cubicBezTo>
                      <a:pt x="23351" y="3886"/>
                      <a:pt x="26863" y="-123"/>
                      <a:pt x="31490" y="-446"/>
                    </a:cubicBezTo>
                    <a:cubicBezTo>
                      <a:pt x="36062" y="-769"/>
                      <a:pt x="40077" y="2715"/>
                      <a:pt x="40411" y="7332"/>
                    </a:cubicBezTo>
                    <a:lnTo>
                      <a:pt x="45652" y="82766"/>
                    </a:lnTo>
                    <a:cubicBezTo>
                      <a:pt x="45707" y="83156"/>
                      <a:pt x="45707" y="83547"/>
                      <a:pt x="45652" y="83937"/>
                    </a:cubicBezTo>
                    <a:lnTo>
                      <a:pt x="16047" y="513851"/>
                    </a:lnTo>
                    <a:cubicBezTo>
                      <a:pt x="15712" y="518273"/>
                      <a:pt x="12033" y="521674"/>
                      <a:pt x="7572" y="521601"/>
                    </a:cubicBezTo>
                    <a:close/>
                  </a:path>
                </a:pathLst>
              </a:custGeom>
              <a:solidFill>
                <a:srgbClr val="30373B"/>
              </a:solidFill>
              <a:ln w="5573" cap="flat">
                <a:noFill/>
                <a:prstDash val="solid"/>
                <a:miter/>
              </a:ln>
            </p:spPr>
            <p:txBody>
              <a:bodyPr rtlCol="0" anchor="ctr"/>
              <a:lstStyle/>
              <a:p>
                <a:endParaRPr lang="en-GB"/>
              </a:p>
            </p:txBody>
          </p:sp>
          <p:sp>
            <p:nvSpPr>
              <p:cNvPr id="118" name="Graphic 6">
                <a:extLst>
                  <a:ext uri="{FF2B5EF4-FFF2-40B4-BE49-F238E27FC236}">
                    <a16:creationId xmlns:a16="http://schemas.microsoft.com/office/drawing/2014/main" id="{0DD9E0FF-AD39-1C7A-40A8-7A8517F62713}"/>
                  </a:ext>
                </a:extLst>
              </p:cNvPr>
              <p:cNvSpPr/>
              <p:nvPr/>
            </p:nvSpPr>
            <p:spPr>
              <a:xfrm>
                <a:off x="6829373" y="2414761"/>
                <a:ext cx="191145" cy="368195"/>
              </a:xfrm>
              <a:custGeom>
                <a:avLst/>
                <a:gdLst>
                  <a:gd name="connsiteX0" fmla="*/ 17893 w 191145"/>
                  <a:gd name="connsiteY0" fmla="*/ 367729 h 368195"/>
                  <a:gd name="connsiteX1" fmla="*/ 9586 w 191145"/>
                  <a:gd name="connsiteY1" fmla="*/ 360481 h 368195"/>
                  <a:gd name="connsiteX2" fmla="*/ -561 w 191145"/>
                  <a:gd name="connsiteY2" fmla="*/ 257337 h 368195"/>
                  <a:gd name="connsiteX3" fmla="*/ 107879 w 191145"/>
                  <a:gd name="connsiteY3" fmla="*/ -467 h 368195"/>
                  <a:gd name="connsiteX4" fmla="*/ 181976 w 191145"/>
                  <a:gd name="connsiteY4" fmla="*/ -467 h 368195"/>
                  <a:gd name="connsiteX5" fmla="*/ 190339 w 191145"/>
                  <a:gd name="connsiteY5" fmla="*/ 7896 h 368195"/>
                  <a:gd name="connsiteX6" fmla="*/ 181976 w 191145"/>
                  <a:gd name="connsiteY6" fmla="*/ 16259 h 368195"/>
                  <a:gd name="connsiteX7" fmla="*/ 109161 w 191145"/>
                  <a:gd name="connsiteY7" fmla="*/ 16259 h 368195"/>
                  <a:gd name="connsiteX8" fmla="*/ 24974 w 191145"/>
                  <a:gd name="connsiteY8" fmla="*/ 138527 h 368195"/>
                  <a:gd name="connsiteX9" fmla="*/ 16221 w 191145"/>
                  <a:gd name="connsiteY9" fmla="*/ 257337 h 368195"/>
                  <a:gd name="connsiteX10" fmla="*/ 16221 w 191145"/>
                  <a:gd name="connsiteY10" fmla="*/ 259177 h 368195"/>
                  <a:gd name="connsiteX11" fmla="*/ 26368 w 191145"/>
                  <a:gd name="connsiteY11" fmla="*/ 358195 h 368195"/>
                  <a:gd name="connsiteX12" fmla="*/ 19231 w 191145"/>
                  <a:gd name="connsiteY12" fmla="*/ 367612 h 368195"/>
                  <a:gd name="connsiteX13" fmla="*/ 19175 w 191145"/>
                  <a:gd name="connsiteY13" fmla="*/ 367617 h 3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145" h="368195">
                    <a:moveTo>
                      <a:pt x="17893" y="367729"/>
                    </a:moveTo>
                    <a:cubicBezTo>
                      <a:pt x="13711" y="367712"/>
                      <a:pt x="10143" y="364623"/>
                      <a:pt x="9586" y="360481"/>
                    </a:cubicBezTo>
                    <a:cubicBezTo>
                      <a:pt x="7579" y="345762"/>
                      <a:pt x="-2178" y="273060"/>
                      <a:pt x="-561" y="257337"/>
                    </a:cubicBezTo>
                    <a:cubicBezTo>
                      <a:pt x="-1174" y="239886"/>
                      <a:pt x="-7419" y="11186"/>
                      <a:pt x="107879" y="-467"/>
                    </a:cubicBezTo>
                    <a:lnTo>
                      <a:pt x="181976" y="-467"/>
                    </a:lnTo>
                    <a:cubicBezTo>
                      <a:pt x="186603" y="-467"/>
                      <a:pt x="190339" y="3280"/>
                      <a:pt x="190339" y="7896"/>
                    </a:cubicBezTo>
                    <a:cubicBezTo>
                      <a:pt x="190339" y="12513"/>
                      <a:pt x="186603" y="16259"/>
                      <a:pt x="181976" y="16259"/>
                    </a:cubicBezTo>
                    <a:lnTo>
                      <a:pt x="109161" y="16259"/>
                    </a:lnTo>
                    <a:cubicBezTo>
                      <a:pt x="57367" y="21835"/>
                      <a:pt x="34786" y="85784"/>
                      <a:pt x="24974" y="138527"/>
                    </a:cubicBezTo>
                    <a:cubicBezTo>
                      <a:pt x="18116" y="177743"/>
                      <a:pt x="15217" y="217540"/>
                      <a:pt x="16221" y="257337"/>
                    </a:cubicBezTo>
                    <a:cubicBezTo>
                      <a:pt x="16277" y="257950"/>
                      <a:pt x="16277" y="258563"/>
                      <a:pt x="16221" y="259177"/>
                    </a:cubicBezTo>
                    <a:cubicBezTo>
                      <a:pt x="14994" y="266146"/>
                      <a:pt x="20402" y="314930"/>
                      <a:pt x="26368" y="358195"/>
                    </a:cubicBezTo>
                    <a:cubicBezTo>
                      <a:pt x="26981" y="362772"/>
                      <a:pt x="23803" y="366987"/>
                      <a:pt x="19231" y="367612"/>
                    </a:cubicBezTo>
                    <a:cubicBezTo>
                      <a:pt x="19175" y="367612"/>
                      <a:pt x="19175" y="367617"/>
                      <a:pt x="19175" y="367617"/>
                    </a:cubicBezTo>
                    <a:close/>
                  </a:path>
                </a:pathLst>
              </a:custGeom>
              <a:solidFill>
                <a:srgbClr val="30373B"/>
              </a:solidFill>
              <a:ln w="5573" cap="flat">
                <a:noFill/>
                <a:prstDash val="solid"/>
                <a:miter/>
              </a:ln>
            </p:spPr>
            <p:txBody>
              <a:bodyPr rtlCol="0" anchor="ctr"/>
              <a:lstStyle/>
              <a:p>
                <a:endParaRPr lang="en-GB"/>
              </a:p>
            </p:txBody>
          </p:sp>
          <p:sp>
            <p:nvSpPr>
              <p:cNvPr id="119" name="Graphic 6">
                <a:extLst>
                  <a:ext uri="{FF2B5EF4-FFF2-40B4-BE49-F238E27FC236}">
                    <a16:creationId xmlns:a16="http://schemas.microsoft.com/office/drawing/2014/main" id="{B0DC7713-DB5D-7AD4-4ED1-9B54C81884D8}"/>
                  </a:ext>
                </a:extLst>
              </p:cNvPr>
              <p:cNvSpPr/>
              <p:nvPr/>
            </p:nvSpPr>
            <p:spPr>
              <a:xfrm>
                <a:off x="6881436" y="2252854"/>
                <a:ext cx="148082" cy="178857"/>
              </a:xfrm>
              <a:custGeom>
                <a:avLst/>
                <a:gdLst>
                  <a:gd name="connsiteX0" fmla="*/ 90383 w 148082"/>
                  <a:gd name="connsiteY0" fmla="*/ 178389 h 178857"/>
                  <a:gd name="connsiteX1" fmla="*/ 9708 w 148082"/>
                  <a:gd name="connsiteY1" fmla="*/ 113604 h 178857"/>
                  <a:gd name="connsiteX2" fmla="*/ 4801 w 148082"/>
                  <a:gd name="connsiteY2" fmla="*/ 40009 h 178857"/>
                  <a:gd name="connsiteX3" fmla="*/ 100920 w 148082"/>
                  <a:gd name="connsiteY3" fmla="*/ 6557 h 178857"/>
                  <a:gd name="connsiteX4" fmla="*/ 143014 w 148082"/>
                  <a:gd name="connsiteY4" fmla="*/ 67161 h 178857"/>
                  <a:gd name="connsiteX5" fmla="*/ 146917 w 148082"/>
                  <a:gd name="connsiteY5" fmla="*/ 110091 h 178857"/>
                  <a:gd name="connsiteX6" fmla="*/ 137829 w 148082"/>
                  <a:gd name="connsiteY6" fmla="*/ 117757 h 178857"/>
                  <a:gd name="connsiteX7" fmla="*/ 130191 w 148082"/>
                  <a:gd name="connsiteY7" fmla="*/ 108697 h 178857"/>
                  <a:gd name="connsiteX8" fmla="*/ 126734 w 148082"/>
                  <a:gd name="connsiteY8" fmla="*/ 71287 h 178857"/>
                  <a:gd name="connsiteX9" fmla="*/ 93282 w 148082"/>
                  <a:gd name="connsiteY9" fmla="*/ 21109 h 178857"/>
                  <a:gd name="connsiteX10" fmla="*/ 20357 w 148082"/>
                  <a:gd name="connsiteY10" fmla="*/ 46588 h 178857"/>
                  <a:gd name="connsiteX11" fmla="*/ 25207 w 148082"/>
                  <a:gd name="connsiteY11" fmla="*/ 106746 h 178857"/>
                  <a:gd name="connsiteX12" fmla="*/ 100976 w 148082"/>
                  <a:gd name="connsiteY12" fmla="*/ 159935 h 178857"/>
                  <a:gd name="connsiteX13" fmla="*/ 111625 w 148082"/>
                  <a:gd name="connsiteY13" fmla="*/ 165036 h 178857"/>
                  <a:gd name="connsiteX14" fmla="*/ 106551 w 148082"/>
                  <a:gd name="connsiteY14" fmla="*/ 175713 h 178857"/>
                  <a:gd name="connsiteX15" fmla="*/ 90383 w 148082"/>
                  <a:gd name="connsiteY15" fmla="*/ 178389 h 17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082" h="178857">
                    <a:moveTo>
                      <a:pt x="90383" y="178389"/>
                    </a:moveTo>
                    <a:cubicBezTo>
                      <a:pt x="58269" y="178389"/>
                      <a:pt x="25151" y="147781"/>
                      <a:pt x="9708" y="113604"/>
                    </a:cubicBezTo>
                    <a:cubicBezTo>
                      <a:pt x="-2335" y="86954"/>
                      <a:pt x="-4119" y="60805"/>
                      <a:pt x="4801" y="40009"/>
                    </a:cubicBezTo>
                    <a:cubicBezTo>
                      <a:pt x="22308" y="4455"/>
                      <a:pt x="65127" y="-10442"/>
                      <a:pt x="100920" y="6557"/>
                    </a:cubicBezTo>
                    <a:cubicBezTo>
                      <a:pt x="120880" y="17262"/>
                      <a:pt x="135822" y="38783"/>
                      <a:pt x="143014" y="67161"/>
                    </a:cubicBezTo>
                    <a:cubicBezTo>
                      <a:pt x="146694" y="81155"/>
                      <a:pt x="147976" y="95662"/>
                      <a:pt x="146917" y="110091"/>
                    </a:cubicBezTo>
                    <a:cubicBezTo>
                      <a:pt x="146527" y="114708"/>
                      <a:pt x="142457" y="118142"/>
                      <a:pt x="137829" y="117757"/>
                    </a:cubicBezTo>
                    <a:cubicBezTo>
                      <a:pt x="133257" y="117373"/>
                      <a:pt x="129801" y="113314"/>
                      <a:pt x="130191" y="108697"/>
                    </a:cubicBezTo>
                    <a:cubicBezTo>
                      <a:pt x="131083" y="96119"/>
                      <a:pt x="129968" y="83480"/>
                      <a:pt x="126734" y="71287"/>
                    </a:cubicBezTo>
                    <a:cubicBezTo>
                      <a:pt x="120713" y="47480"/>
                      <a:pt x="108726" y="29751"/>
                      <a:pt x="93282" y="21109"/>
                    </a:cubicBezTo>
                    <a:cubicBezTo>
                      <a:pt x="66074" y="8659"/>
                      <a:pt x="33905" y="19905"/>
                      <a:pt x="20357" y="46588"/>
                    </a:cubicBezTo>
                    <a:cubicBezTo>
                      <a:pt x="13387" y="63035"/>
                      <a:pt x="15060" y="84389"/>
                      <a:pt x="25207" y="106746"/>
                    </a:cubicBezTo>
                    <a:cubicBezTo>
                      <a:pt x="45501" y="151628"/>
                      <a:pt x="82299" y="166514"/>
                      <a:pt x="100976" y="159935"/>
                    </a:cubicBezTo>
                    <a:cubicBezTo>
                      <a:pt x="105325" y="158396"/>
                      <a:pt x="110119" y="160682"/>
                      <a:pt x="111625" y="165036"/>
                    </a:cubicBezTo>
                    <a:cubicBezTo>
                      <a:pt x="113186" y="169396"/>
                      <a:pt x="110900" y="174174"/>
                      <a:pt x="106551" y="175713"/>
                    </a:cubicBezTo>
                    <a:cubicBezTo>
                      <a:pt x="101366" y="177525"/>
                      <a:pt x="95903" y="178434"/>
                      <a:pt x="90383" y="178389"/>
                    </a:cubicBezTo>
                    <a:close/>
                  </a:path>
                </a:pathLst>
              </a:custGeom>
              <a:solidFill>
                <a:srgbClr val="30373B"/>
              </a:solidFill>
              <a:ln w="5573" cap="flat">
                <a:noFill/>
                <a:prstDash val="solid"/>
                <a:miter/>
              </a:ln>
            </p:spPr>
            <p:txBody>
              <a:bodyPr rtlCol="0" anchor="ctr"/>
              <a:lstStyle/>
              <a:p>
                <a:endParaRPr lang="en-GB"/>
              </a:p>
            </p:txBody>
          </p:sp>
          <p:sp>
            <p:nvSpPr>
              <p:cNvPr id="120" name="Graphic 6">
                <a:extLst>
                  <a:ext uri="{FF2B5EF4-FFF2-40B4-BE49-F238E27FC236}">
                    <a16:creationId xmlns:a16="http://schemas.microsoft.com/office/drawing/2014/main" id="{2D30F67A-F440-AE2A-92CC-93555AD84E15}"/>
                  </a:ext>
                </a:extLst>
              </p:cNvPr>
              <p:cNvSpPr/>
              <p:nvPr/>
            </p:nvSpPr>
            <p:spPr>
              <a:xfrm>
                <a:off x="6885929" y="2591630"/>
                <a:ext cx="46799" cy="517483"/>
              </a:xfrm>
              <a:custGeom>
                <a:avLst/>
                <a:gdLst>
                  <a:gd name="connsiteX0" fmla="*/ 37496 w 46799"/>
                  <a:gd name="connsiteY0" fmla="*/ 517016 h 517483"/>
                  <a:gd name="connsiteX1" fmla="*/ 29133 w 46799"/>
                  <a:gd name="connsiteY1" fmla="*/ 509211 h 517483"/>
                  <a:gd name="connsiteX2" fmla="*/ -807 w 46799"/>
                  <a:gd name="connsiteY2" fmla="*/ 74836 h 517483"/>
                  <a:gd name="connsiteX3" fmla="*/ -807 w 46799"/>
                  <a:gd name="connsiteY3" fmla="*/ 73889 h 517483"/>
                  <a:gd name="connsiteX4" fmla="*/ 2148 w 46799"/>
                  <a:gd name="connsiteY4" fmla="*/ 7542 h 517483"/>
                  <a:gd name="connsiteX5" fmla="*/ 10846 w 46799"/>
                  <a:gd name="connsiteY5" fmla="*/ -459 h 517483"/>
                  <a:gd name="connsiteX6" fmla="*/ 18874 w 46799"/>
                  <a:gd name="connsiteY6" fmla="*/ 8267 h 517483"/>
                  <a:gd name="connsiteX7" fmla="*/ 15975 w 46799"/>
                  <a:gd name="connsiteY7" fmla="*/ 74167 h 517483"/>
                  <a:gd name="connsiteX8" fmla="*/ 45971 w 46799"/>
                  <a:gd name="connsiteY8" fmla="*/ 508040 h 517483"/>
                  <a:gd name="connsiteX9" fmla="*/ 38221 w 46799"/>
                  <a:gd name="connsiteY9" fmla="*/ 516961 h 517483"/>
                  <a:gd name="connsiteX10" fmla="*/ 38165 w 46799"/>
                  <a:gd name="connsiteY10" fmla="*/ 516961 h 51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9" h="517483">
                    <a:moveTo>
                      <a:pt x="37496" y="517016"/>
                    </a:moveTo>
                    <a:cubicBezTo>
                      <a:pt x="33091" y="517000"/>
                      <a:pt x="29468" y="513599"/>
                      <a:pt x="29133" y="509211"/>
                    </a:cubicBezTo>
                    <a:lnTo>
                      <a:pt x="-807" y="74836"/>
                    </a:lnTo>
                    <a:cubicBezTo>
                      <a:pt x="-807" y="74518"/>
                      <a:pt x="-807" y="74206"/>
                      <a:pt x="-807" y="73889"/>
                    </a:cubicBezTo>
                    <a:lnTo>
                      <a:pt x="2148" y="7542"/>
                    </a:lnTo>
                    <a:cubicBezTo>
                      <a:pt x="2371" y="2925"/>
                      <a:pt x="6274" y="-660"/>
                      <a:pt x="10846" y="-459"/>
                    </a:cubicBezTo>
                    <a:cubicBezTo>
                      <a:pt x="15474" y="-258"/>
                      <a:pt x="19097" y="3650"/>
                      <a:pt x="18874" y="8267"/>
                    </a:cubicBezTo>
                    <a:lnTo>
                      <a:pt x="15975" y="74167"/>
                    </a:lnTo>
                    <a:lnTo>
                      <a:pt x="45971" y="508040"/>
                    </a:lnTo>
                    <a:cubicBezTo>
                      <a:pt x="46305" y="512645"/>
                      <a:pt x="42792" y="516643"/>
                      <a:pt x="38221" y="516961"/>
                    </a:cubicBezTo>
                    <a:cubicBezTo>
                      <a:pt x="38165" y="516961"/>
                      <a:pt x="38165" y="516961"/>
                      <a:pt x="38165" y="516961"/>
                    </a:cubicBezTo>
                    <a:close/>
                  </a:path>
                </a:pathLst>
              </a:custGeom>
              <a:solidFill>
                <a:srgbClr val="30373B"/>
              </a:solidFill>
              <a:ln w="5573" cap="flat">
                <a:noFill/>
                <a:prstDash val="solid"/>
                <a:miter/>
              </a:ln>
            </p:spPr>
            <p:txBody>
              <a:bodyPr rtlCol="0" anchor="ctr"/>
              <a:lstStyle/>
              <a:p>
                <a:endParaRPr lang="en-GB"/>
              </a:p>
            </p:txBody>
          </p:sp>
          <p:sp>
            <p:nvSpPr>
              <p:cNvPr id="121" name="Graphic 6">
                <a:extLst>
                  <a:ext uri="{FF2B5EF4-FFF2-40B4-BE49-F238E27FC236}">
                    <a16:creationId xmlns:a16="http://schemas.microsoft.com/office/drawing/2014/main" id="{6B0615C6-1DD8-1E01-36D4-7753BE4FE07C}"/>
                  </a:ext>
                </a:extLst>
              </p:cNvPr>
              <p:cNvSpPr/>
              <p:nvPr/>
            </p:nvSpPr>
            <p:spPr>
              <a:xfrm>
                <a:off x="6853176" y="2399739"/>
                <a:ext cx="234981" cy="190421"/>
              </a:xfrm>
              <a:custGeom>
                <a:avLst/>
                <a:gdLst>
                  <a:gd name="connsiteX0" fmla="*/ 125501 w 234981"/>
                  <a:gd name="connsiteY0" fmla="*/ 189955 h 190421"/>
                  <a:gd name="connsiteX1" fmla="*/ 101638 w 234981"/>
                  <a:gd name="connsiteY1" fmla="*/ 185774 h 190421"/>
                  <a:gd name="connsiteX2" fmla="*/ -669 w 234981"/>
                  <a:gd name="connsiteY2" fmla="*/ 9537 h 190421"/>
                  <a:gd name="connsiteX3" fmla="*/ 6188 w 234981"/>
                  <a:gd name="connsiteY3" fmla="*/ -331 h 190421"/>
                  <a:gd name="connsiteX4" fmla="*/ 16057 w 234981"/>
                  <a:gd name="connsiteY4" fmla="*/ 6526 h 190421"/>
                  <a:gd name="connsiteX5" fmla="*/ 107548 w 234981"/>
                  <a:gd name="connsiteY5" fmla="*/ 170051 h 190421"/>
                  <a:gd name="connsiteX6" fmla="*/ 184878 w 234981"/>
                  <a:gd name="connsiteY6" fmla="*/ 146356 h 190421"/>
                  <a:gd name="connsiteX7" fmla="*/ 214204 w 234981"/>
                  <a:gd name="connsiteY7" fmla="*/ 70085 h 190421"/>
                  <a:gd name="connsiteX8" fmla="*/ 158451 w 234981"/>
                  <a:gd name="connsiteY8" fmla="*/ 31337 h 190421"/>
                  <a:gd name="connsiteX9" fmla="*/ 150088 w 234981"/>
                  <a:gd name="connsiteY9" fmla="*/ 22974 h 190421"/>
                  <a:gd name="connsiteX10" fmla="*/ 158451 w 234981"/>
                  <a:gd name="connsiteY10" fmla="*/ 14611 h 190421"/>
                  <a:gd name="connsiteX11" fmla="*/ 229871 w 234981"/>
                  <a:gd name="connsiteY11" fmla="*/ 64343 h 190421"/>
                  <a:gd name="connsiteX12" fmla="*/ 195694 w 234981"/>
                  <a:gd name="connsiteY12" fmla="*/ 159124 h 190421"/>
                  <a:gd name="connsiteX13" fmla="*/ 125501 w 234981"/>
                  <a:gd name="connsiteY13" fmla="*/ 189955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981" h="190421">
                    <a:moveTo>
                      <a:pt x="125501" y="189955"/>
                    </a:moveTo>
                    <a:cubicBezTo>
                      <a:pt x="117360" y="189950"/>
                      <a:pt x="109276" y="188539"/>
                      <a:pt x="101638" y="185774"/>
                    </a:cubicBezTo>
                    <a:cubicBezTo>
                      <a:pt x="27932" y="159458"/>
                      <a:pt x="501" y="15670"/>
                      <a:pt x="-669" y="9537"/>
                    </a:cubicBezTo>
                    <a:cubicBezTo>
                      <a:pt x="-1506" y="4921"/>
                      <a:pt x="1561" y="499"/>
                      <a:pt x="6188" y="-331"/>
                    </a:cubicBezTo>
                    <a:cubicBezTo>
                      <a:pt x="10816" y="-1162"/>
                      <a:pt x="15220" y="1910"/>
                      <a:pt x="16057" y="6526"/>
                    </a:cubicBezTo>
                    <a:cubicBezTo>
                      <a:pt x="16057" y="7920"/>
                      <a:pt x="42874" y="146969"/>
                      <a:pt x="107548" y="170051"/>
                    </a:cubicBezTo>
                    <a:cubicBezTo>
                      <a:pt x="130519" y="178247"/>
                      <a:pt x="156555" y="170051"/>
                      <a:pt x="184878" y="146356"/>
                    </a:cubicBezTo>
                    <a:cubicBezTo>
                      <a:pt x="213201" y="122661"/>
                      <a:pt x="223348" y="95119"/>
                      <a:pt x="214204" y="70085"/>
                    </a:cubicBezTo>
                    <a:cubicBezTo>
                      <a:pt x="205339" y="46937"/>
                      <a:pt x="183261" y="31560"/>
                      <a:pt x="158451" y="31337"/>
                    </a:cubicBezTo>
                    <a:cubicBezTo>
                      <a:pt x="153823" y="31337"/>
                      <a:pt x="150088" y="27590"/>
                      <a:pt x="150088" y="22974"/>
                    </a:cubicBezTo>
                    <a:cubicBezTo>
                      <a:pt x="150088" y="18357"/>
                      <a:pt x="153823" y="14611"/>
                      <a:pt x="158451" y="14611"/>
                    </a:cubicBezTo>
                    <a:cubicBezTo>
                      <a:pt x="190230" y="14917"/>
                      <a:pt x="218553" y="34648"/>
                      <a:pt x="229871" y="64343"/>
                    </a:cubicBezTo>
                    <a:cubicBezTo>
                      <a:pt x="241579" y="96345"/>
                      <a:pt x="229146" y="130912"/>
                      <a:pt x="195694" y="159124"/>
                    </a:cubicBezTo>
                    <a:cubicBezTo>
                      <a:pt x="171163" y="179641"/>
                      <a:pt x="147746" y="189916"/>
                      <a:pt x="125501" y="189955"/>
                    </a:cubicBezTo>
                    <a:close/>
                  </a:path>
                </a:pathLst>
              </a:custGeom>
              <a:solidFill>
                <a:srgbClr val="30373B"/>
              </a:solidFill>
              <a:ln w="5573" cap="flat">
                <a:noFill/>
                <a:prstDash val="solid"/>
                <a:miter/>
              </a:ln>
            </p:spPr>
            <p:txBody>
              <a:bodyPr rtlCol="0" anchor="ctr"/>
              <a:lstStyle/>
              <a:p>
                <a:endParaRPr lang="en-GB"/>
              </a:p>
            </p:txBody>
          </p:sp>
          <p:sp>
            <p:nvSpPr>
              <p:cNvPr id="122" name="Graphic 6">
                <a:extLst>
                  <a:ext uri="{FF2B5EF4-FFF2-40B4-BE49-F238E27FC236}">
                    <a16:creationId xmlns:a16="http://schemas.microsoft.com/office/drawing/2014/main" id="{19952567-3B83-D4AF-A6C9-B0095D1558FB}"/>
                  </a:ext>
                </a:extLst>
              </p:cNvPr>
              <p:cNvSpPr/>
              <p:nvPr/>
            </p:nvSpPr>
            <p:spPr>
              <a:xfrm>
                <a:off x="6623478" y="2339574"/>
                <a:ext cx="200197" cy="43295"/>
              </a:xfrm>
              <a:custGeom>
                <a:avLst/>
                <a:gdLst>
                  <a:gd name="connsiteX0" fmla="*/ 190392 w 200197"/>
                  <a:gd name="connsiteY0" fmla="*/ 42829 h 43295"/>
                  <a:gd name="connsiteX1" fmla="*/ 189221 w 200197"/>
                  <a:gd name="connsiteY1" fmla="*/ 42829 h 43295"/>
                  <a:gd name="connsiteX2" fmla="*/ 6461 w 200197"/>
                  <a:gd name="connsiteY2" fmla="*/ 16346 h 43295"/>
                  <a:gd name="connsiteX3" fmla="*/ -731 w 200197"/>
                  <a:gd name="connsiteY3" fmla="*/ 6784 h 43295"/>
                  <a:gd name="connsiteX4" fmla="*/ 8859 w 200197"/>
                  <a:gd name="connsiteY4" fmla="*/ -380 h 43295"/>
                  <a:gd name="connsiteX5" fmla="*/ 191618 w 200197"/>
                  <a:gd name="connsiteY5" fmla="*/ 26047 h 43295"/>
                  <a:gd name="connsiteX6" fmla="*/ 199368 w 200197"/>
                  <a:gd name="connsiteY6" fmla="*/ 35023 h 43295"/>
                  <a:gd name="connsiteX7" fmla="*/ 190392 w 200197"/>
                  <a:gd name="connsiteY7" fmla="*/ 42773 h 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197" h="43295">
                    <a:moveTo>
                      <a:pt x="190392" y="42829"/>
                    </a:moveTo>
                    <a:lnTo>
                      <a:pt x="189221" y="42829"/>
                    </a:lnTo>
                    <a:lnTo>
                      <a:pt x="6461" y="16346"/>
                    </a:lnTo>
                    <a:cubicBezTo>
                      <a:pt x="1834" y="15683"/>
                      <a:pt x="-1344" y="11401"/>
                      <a:pt x="-731" y="6784"/>
                    </a:cubicBezTo>
                    <a:cubicBezTo>
                      <a:pt x="-62" y="2168"/>
                      <a:pt x="4231" y="-1043"/>
                      <a:pt x="8859" y="-380"/>
                    </a:cubicBezTo>
                    <a:lnTo>
                      <a:pt x="191618" y="26047"/>
                    </a:lnTo>
                    <a:cubicBezTo>
                      <a:pt x="196246" y="26387"/>
                      <a:pt x="199703" y="30407"/>
                      <a:pt x="199368" y="35023"/>
                    </a:cubicBezTo>
                    <a:cubicBezTo>
                      <a:pt x="199034" y="39640"/>
                      <a:pt x="195020" y="43113"/>
                      <a:pt x="190392" y="42773"/>
                    </a:cubicBezTo>
                    <a:close/>
                  </a:path>
                </a:pathLst>
              </a:custGeom>
              <a:solidFill>
                <a:srgbClr val="30373B"/>
              </a:solidFill>
              <a:ln w="5573" cap="flat">
                <a:noFill/>
                <a:prstDash val="solid"/>
                <a:miter/>
              </a:ln>
            </p:spPr>
            <p:txBody>
              <a:bodyPr rtlCol="0" anchor="ctr"/>
              <a:lstStyle/>
              <a:p>
                <a:endParaRPr lang="en-GB"/>
              </a:p>
            </p:txBody>
          </p:sp>
          <p:sp>
            <p:nvSpPr>
              <p:cNvPr id="123" name="Graphic 6">
                <a:extLst>
                  <a:ext uri="{FF2B5EF4-FFF2-40B4-BE49-F238E27FC236}">
                    <a16:creationId xmlns:a16="http://schemas.microsoft.com/office/drawing/2014/main" id="{6E34AF7F-0C88-1009-1455-927DCB21F83F}"/>
                  </a:ext>
                </a:extLst>
              </p:cNvPr>
              <p:cNvSpPr/>
              <p:nvPr/>
            </p:nvSpPr>
            <p:spPr>
              <a:xfrm>
                <a:off x="6557182" y="2409840"/>
                <a:ext cx="247848" cy="150659"/>
              </a:xfrm>
              <a:custGeom>
                <a:avLst/>
                <a:gdLst>
                  <a:gd name="connsiteX0" fmla="*/ 7582 w 247848"/>
                  <a:gd name="connsiteY0" fmla="*/ 150193 h 150659"/>
                  <a:gd name="connsiteX1" fmla="*/ 333 w 247848"/>
                  <a:gd name="connsiteY1" fmla="*/ 146067 h 150659"/>
                  <a:gd name="connsiteX2" fmla="*/ 3344 w 247848"/>
                  <a:gd name="connsiteY2" fmla="*/ 134638 h 150659"/>
                  <a:gd name="connsiteX3" fmla="*/ 234219 w 247848"/>
                  <a:gd name="connsiteY3" fmla="*/ 829 h 150659"/>
                  <a:gd name="connsiteX4" fmla="*/ 245760 w 247848"/>
                  <a:gd name="connsiteY4" fmla="*/ 3428 h 150659"/>
                  <a:gd name="connsiteX5" fmla="*/ 243140 w 247848"/>
                  <a:gd name="connsiteY5" fmla="*/ 14963 h 150659"/>
                  <a:gd name="connsiteX6" fmla="*/ 242638 w 247848"/>
                  <a:gd name="connsiteY6" fmla="*/ 15270 h 150659"/>
                  <a:gd name="connsiteX7" fmla="*/ 11763 w 247848"/>
                  <a:gd name="connsiteY7" fmla="*/ 149078 h 150659"/>
                  <a:gd name="connsiteX8" fmla="*/ 7582 w 247848"/>
                  <a:gd name="connsiteY8" fmla="*/ 150193 h 15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848" h="150659">
                    <a:moveTo>
                      <a:pt x="7582" y="150193"/>
                    </a:moveTo>
                    <a:cubicBezTo>
                      <a:pt x="4627" y="150193"/>
                      <a:pt x="1839" y="148626"/>
                      <a:pt x="333" y="146067"/>
                    </a:cubicBezTo>
                    <a:cubicBezTo>
                      <a:pt x="-2008" y="142081"/>
                      <a:pt x="-615" y="136962"/>
                      <a:pt x="3344" y="134638"/>
                    </a:cubicBezTo>
                    <a:lnTo>
                      <a:pt x="234219" y="829"/>
                    </a:lnTo>
                    <a:cubicBezTo>
                      <a:pt x="238122" y="-1640"/>
                      <a:pt x="243307" y="-475"/>
                      <a:pt x="245760" y="3428"/>
                    </a:cubicBezTo>
                    <a:cubicBezTo>
                      <a:pt x="248213" y="7330"/>
                      <a:pt x="247042" y="12493"/>
                      <a:pt x="243140" y="14963"/>
                    </a:cubicBezTo>
                    <a:cubicBezTo>
                      <a:pt x="242972" y="15074"/>
                      <a:pt x="242805" y="15175"/>
                      <a:pt x="242638" y="15270"/>
                    </a:cubicBezTo>
                    <a:lnTo>
                      <a:pt x="11763" y="149078"/>
                    </a:lnTo>
                    <a:cubicBezTo>
                      <a:pt x="10480" y="149814"/>
                      <a:pt x="9031" y="150198"/>
                      <a:pt x="7582" y="150193"/>
                    </a:cubicBezTo>
                    <a:close/>
                  </a:path>
                </a:pathLst>
              </a:custGeom>
              <a:solidFill>
                <a:srgbClr val="30373B"/>
              </a:solidFill>
              <a:ln w="5573" cap="flat">
                <a:noFill/>
                <a:prstDash val="solid"/>
                <a:miter/>
              </a:ln>
            </p:spPr>
            <p:txBody>
              <a:bodyPr rtlCol="0" anchor="ctr"/>
              <a:lstStyle/>
              <a:p>
                <a:endParaRPr lang="en-GB"/>
              </a:p>
            </p:txBody>
          </p:sp>
          <p:sp>
            <p:nvSpPr>
              <p:cNvPr id="124" name="Graphic 6">
                <a:extLst>
                  <a:ext uri="{FF2B5EF4-FFF2-40B4-BE49-F238E27FC236}">
                    <a16:creationId xmlns:a16="http://schemas.microsoft.com/office/drawing/2014/main" id="{D13488E9-81DA-20E4-AE14-D6A80071DE60}"/>
                  </a:ext>
                </a:extLst>
              </p:cNvPr>
              <p:cNvSpPr/>
              <p:nvPr/>
            </p:nvSpPr>
            <p:spPr>
              <a:xfrm>
                <a:off x="6684900" y="2446293"/>
                <a:ext cx="157626" cy="250969"/>
              </a:xfrm>
              <a:custGeom>
                <a:avLst/>
                <a:gdLst>
                  <a:gd name="connsiteX0" fmla="*/ 7538 w 157626"/>
                  <a:gd name="connsiteY0" fmla="*/ 250503 h 250969"/>
                  <a:gd name="connsiteX1" fmla="*/ 3246 w 157626"/>
                  <a:gd name="connsiteY1" fmla="*/ 249276 h 250969"/>
                  <a:gd name="connsiteX2" fmla="*/ 402 w 157626"/>
                  <a:gd name="connsiteY2" fmla="*/ 237797 h 250969"/>
                  <a:gd name="connsiteX3" fmla="*/ 402 w 157626"/>
                  <a:gd name="connsiteY3" fmla="*/ 237791 h 250969"/>
                  <a:gd name="connsiteX4" fmla="*/ 141514 w 157626"/>
                  <a:gd name="connsiteY4" fmla="*/ 3237 h 250969"/>
                  <a:gd name="connsiteX5" fmla="*/ 153111 w 157626"/>
                  <a:gd name="connsiteY5" fmla="*/ 951 h 250969"/>
                  <a:gd name="connsiteX6" fmla="*/ 155843 w 157626"/>
                  <a:gd name="connsiteY6" fmla="*/ 11823 h 250969"/>
                  <a:gd name="connsiteX7" fmla="*/ 14731 w 157626"/>
                  <a:gd name="connsiteY7" fmla="*/ 246433 h 250969"/>
                  <a:gd name="connsiteX8" fmla="*/ 7538 w 157626"/>
                  <a:gd name="connsiteY8" fmla="*/ 250503 h 25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26" h="250969">
                    <a:moveTo>
                      <a:pt x="7538" y="250503"/>
                    </a:moveTo>
                    <a:cubicBezTo>
                      <a:pt x="6033" y="250503"/>
                      <a:pt x="4528" y="250079"/>
                      <a:pt x="3246" y="249276"/>
                    </a:cubicBezTo>
                    <a:cubicBezTo>
                      <a:pt x="-713" y="246890"/>
                      <a:pt x="-1995" y="241755"/>
                      <a:pt x="402" y="237797"/>
                    </a:cubicBezTo>
                    <a:cubicBezTo>
                      <a:pt x="402" y="237797"/>
                      <a:pt x="402" y="237791"/>
                      <a:pt x="402" y="237791"/>
                    </a:cubicBezTo>
                    <a:lnTo>
                      <a:pt x="141514" y="3237"/>
                    </a:lnTo>
                    <a:cubicBezTo>
                      <a:pt x="144079" y="-599"/>
                      <a:pt x="149264" y="-1619"/>
                      <a:pt x="153111" y="951"/>
                    </a:cubicBezTo>
                    <a:cubicBezTo>
                      <a:pt x="156679" y="3343"/>
                      <a:pt x="157850" y="8037"/>
                      <a:pt x="155843" y="11823"/>
                    </a:cubicBezTo>
                    <a:lnTo>
                      <a:pt x="14731" y="246433"/>
                    </a:lnTo>
                    <a:cubicBezTo>
                      <a:pt x="13225" y="248964"/>
                      <a:pt x="10493" y="250509"/>
                      <a:pt x="7538" y="250503"/>
                    </a:cubicBezTo>
                    <a:close/>
                  </a:path>
                </a:pathLst>
              </a:custGeom>
              <a:solidFill>
                <a:srgbClr val="30373B"/>
              </a:solidFill>
              <a:ln w="5573" cap="flat">
                <a:noFill/>
                <a:prstDash val="solid"/>
                <a:miter/>
              </a:ln>
            </p:spPr>
            <p:txBody>
              <a:bodyPr rtlCol="0" anchor="ctr"/>
              <a:lstStyle/>
              <a:p>
                <a:endParaRPr lang="en-GB"/>
              </a:p>
            </p:txBody>
          </p:sp>
          <p:sp>
            <p:nvSpPr>
              <p:cNvPr id="125" name="Graphic 6">
                <a:extLst>
                  <a:ext uri="{FF2B5EF4-FFF2-40B4-BE49-F238E27FC236}">
                    <a16:creationId xmlns:a16="http://schemas.microsoft.com/office/drawing/2014/main" id="{4B89330D-1F66-95B2-1504-7C222CB44CDC}"/>
                  </a:ext>
                </a:extLst>
              </p:cNvPr>
              <p:cNvSpPr/>
              <p:nvPr/>
            </p:nvSpPr>
            <p:spPr>
              <a:xfrm>
                <a:off x="6975859" y="2697040"/>
                <a:ext cx="16726" cy="407947"/>
              </a:xfrm>
              <a:custGeom>
                <a:avLst/>
                <a:gdLst>
                  <a:gd name="connsiteX0" fmla="*/ 7556 w 16726"/>
                  <a:gd name="connsiteY0" fmla="*/ 407481 h 407947"/>
                  <a:gd name="connsiteX1" fmla="*/ -807 w 16726"/>
                  <a:gd name="connsiteY1" fmla="*/ 399118 h 407947"/>
                  <a:gd name="connsiteX2" fmla="*/ -807 w 16726"/>
                  <a:gd name="connsiteY2" fmla="*/ 7896 h 407947"/>
                  <a:gd name="connsiteX3" fmla="*/ 7556 w 16726"/>
                  <a:gd name="connsiteY3" fmla="*/ -467 h 407947"/>
                  <a:gd name="connsiteX4" fmla="*/ 15919 w 16726"/>
                  <a:gd name="connsiteY4" fmla="*/ 7896 h 407947"/>
                  <a:gd name="connsiteX5" fmla="*/ 15919 w 16726"/>
                  <a:gd name="connsiteY5" fmla="*/ 399118 h 407947"/>
                  <a:gd name="connsiteX6" fmla="*/ 7556 w 16726"/>
                  <a:gd name="connsiteY6" fmla="*/ 407481 h 40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407947">
                    <a:moveTo>
                      <a:pt x="7556" y="407481"/>
                    </a:moveTo>
                    <a:cubicBezTo>
                      <a:pt x="2929" y="407481"/>
                      <a:pt x="-807" y="403734"/>
                      <a:pt x="-807" y="399118"/>
                    </a:cubicBezTo>
                    <a:lnTo>
                      <a:pt x="-807" y="7896"/>
                    </a:lnTo>
                    <a:cubicBezTo>
                      <a:pt x="-807" y="3280"/>
                      <a:pt x="2929" y="-467"/>
                      <a:pt x="7556" y="-467"/>
                    </a:cubicBezTo>
                    <a:cubicBezTo>
                      <a:pt x="12184" y="-467"/>
                      <a:pt x="15919" y="3280"/>
                      <a:pt x="15919" y="7896"/>
                    </a:cubicBezTo>
                    <a:lnTo>
                      <a:pt x="15919" y="399118"/>
                    </a:lnTo>
                    <a:cubicBezTo>
                      <a:pt x="15919" y="403734"/>
                      <a:pt x="12184" y="407481"/>
                      <a:pt x="7556" y="407481"/>
                    </a:cubicBezTo>
                    <a:close/>
                  </a:path>
                </a:pathLst>
              </a:custGeom>
              <a:solidFill>
                <a:srgbClr val="30373B"/>
              </a:solidFill>
              <a:ln w="5573" cap="flat">
                <a:noFill/>
                <a:prstDash val="solid"/>
                <a:miter/>
              </a:ln>
            </p:spPr>
            <p:txBody>
              <a:bodyPr rtlCol="0" anchor="ctr"/>
              <a:lstStyle/>
              <a:p>
                <a:endParaRPr lang="en-GB"/>
              </a:p>
            </p:txBody>
          </p:sp>
          <p:sp>
            <p:nvSpPr>
              <p:cNvPr id="126" name="Graphic 6">
                <a:extLst>
                  <a:ext uri="{FF2B5EF4-FFF2-40B4-BE49-F238E27FC236}">
                    <a16:creationId xmlns:a16="http://schemas.microsoft.com/office/drawing/2014/main" id="{4855A34A-43D3-37B5-AE77-69E47DBEE3F3}"/>
                  </a:ext>
                </a:extLst>
              </p:cNvPr>
              <p:cNvSpPr/>
              <p:nvPr/>
            </p:nvSpPr>
            <p:spPr>
              <a:xfrm>
                <a:off x="8938435" y="4877612"/>
                <a:ext cx="16726" cy="657332"/>
              </a:xfrm>
              <a:custGeom>
                <a:avLst/>
                <a:gdLst>
                  <a:gd name="connsiteX0" fmla="*/ 7556 w 16726"/>
                  <a:gd name="connsiteY0" fmla="*/ 656866 h 657332"/>
                  <a:gd name="connsiteX1" fmla="*/ -807 w 16726"/>
                  <a:gd name="connsiteY1" fmla="*/ 648503 h 657332"/>
                  <a:gd name="connsiteX2" fmla="*/ -807 w 16726"/>
                  <a:gd name="connsiteY2" fmla="*/ 7896 h 657332"/>
                  <a:gd name="connsiteX3" fmla="*/ 7556 w 16726"/>
                  <a:gd name="connsiteY3" fmla="*/ -467 h 657332"/>
                  <a:gd name="connsiteX4" fmla="*/ 15919 w 16726"/>
                  <a:gd name="connsiteY4" fmla="*/ 7896 h 657332"/>
                  <a:gd name="connsiteX5" fmla="*/ 15919 w 16726"/>
                  <a:gd name="connsiteY5" fmla="*/ 648503 h 657332"/>
                  <a:gd name="connsiteX6" fmla="*/ 7556 w 16726"/>
                  <a:gd name="connsiteY6" fmla="*/ 656866 h 6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657332">
                    <a:moveTo>
                      <a:pt x="7556" y="656866"/>
                    </a:moveTo>
                    <a:cubicBezTo>
                      <a:pt x="2928" y="656866"/>
                      <a:pt x="-807" y="653131"/>
                      <a:pt x="-807" y="648503"/>
                    </a:cubicBezTo>
                    <a:lnTo>
                      <a:pt x="-807" y="7896"/>
                    </a:lnTo>
                    <a:cubicBezTo>
                      <a:pt x="-807" y="3280"/>
                      <a:pt x="2928" y="-467"/>
                      <a:pt x="7556" y="-467"/>
                    </a:cubicBezTo>
                    <a:cubicBezTo>
                      <a:pt x="12184" y="-467"/>
                      <a:pt x="15919" y="3280"/>
                      <a:pt x="15919" y="7896"/>
                    </a:cubicBezTo>
                    <a:lnTo>
                      <a:pt x="15919" y="648503"/>
                    </a:lnTo>
                    <a:cubicBezTo>
                      <a:pt x="15919" y="653131"/>
                      <a:pt x="12184" y="656866"/>
                      <a:pt x="7556" y="656866"/>
                    </a:cubicBezTo>
                    <a:close/>
                  </a:path>
                </a:pathLst>
              </a:custGeom>
              <a:solidFill>
                <a:srgbClr val="30373B"/>
              </a:solidFill>
              <a:ln w="5573" cap="flat">
                <a:noFill/>
                <a:prstDash val="solid"/>
                <a:miter/>
              </a:ln>
            </p:spPr>
            <p:txBody>
              <a:bodyPr rtlCol="0" anchor="ctr"/>
              <a:lstStyle/>
              <a:p>
                <a:endParaRPr lang="en-GB"/>
              </a:p>
            </p:txBody>
          </p:sp>
          <p:sp>
            <p:nvSpPr>
              <p:cNvPr id="127" name="Graphic 6">
                <a:extLst>
                  <a:ext uri="{FF2B5EF4-FFF2-40B4-BE49-F238E27FC236}">
                    <a16:creationId xmlns:a16="http://schemas.microsoft.com/office/drawing/2014/main" id="{17F2EC53-A7E5-F083-4E89-F0CCCE844347}"/>
                  </a:ext>
                </a:extLst>
              </p:cNvPr>
              <p:cNvSpPr/>
              <p:nvPr/>
            </p:nvSpPr>
            <p:spPr>
              <a:xfrm>
                <a:off x="7928963" y="5690496"/>
                <a:ext cx="1026197" cy="174564"/>
              </a:xfrm>
              <a:custGeom>
                <a:avLst/>
                <a:gdLst>
                  <a:gd name="connsiteX0" fmla="*/ 911152 w 1026197"/>
                  <a:gd name="connsiteY0" fmla="*/ 174097 h 174564"/>
                  <a:gd name="connsiteX1" fmla="*/ 7556 w 1026197"/>
                  <a:gd name="connsiteY1" fmla="*/ 174097 h 174564"/>
                  <a:gd name="connsiteX2" fmla="*/ -807 w 1026197"/>
                  <a:gd name="connsiteY2" fmla="*/ 165734 h 174564"/>
                  <a:gd name="connsiteX3" fmla="*/ 7556 w 1026197"/>
                  <a:gd name="connsiteY3" fmla="*/ 157371 h 174564"/>
                  <a:gd name="connsiteX4" fmla="*/ 911152 w 1026197"/>
                  <a:gd name="connsiteY4" fmla="*/ 157371 h 174564"/>
                  <a:gd name="connsiteX5" fmla="*/ 1008665 w 1026197"/>
                  <a:gd name="connsiteY5" fmla="*/ 59858 h 174564"/>
                  <a:gd name="connsiteX6" fmla="*/ 1008665 w 1026197"/>
                  <a:gd name="connsiteY6" fmla="*/ 7896 h 174564"/>
                  <a:gd name="connsiteX7" fmla="*/ 1017028 w 1026197"/>
                  <a:gd name="connsiteY7" fmla="*/ -467 h 174564"/>
                  <a:gd name="connsiteX8" fmla="*/ 1025391 w 1026197"/>
                  <a:gd name="connsiteY8" fmla="*/ 7896 h 174564"/>
                  <a:gd name="connsiteX9" fmla="*/ 1025391 w 1026197"/>
                  <a:gd name="connsiteY9" fmla="*/ 60025 h 174564"/>
                  <a:gd name="connsiteX10" fmla="*/ 911152 w 1026197"/>
                  <a:gd name="connsiteY10" fmla="*/ 174097 h 17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6197" h="174564">
                    <a:moveTo>
                      <a:pt x="911152" y="174097"/>
                    </a:moveTo>
                    <a:lnTo>
                      <a:pt x="7556" y="174097"/>
                    </a:lnTo>
                    <a:cubicBezTo>
                      <a:pt x="2929" y="174097"/>
                      <a:pt x="-807" y="170362"/>
                      <a:pt x="-807" y="165734"/>
                    </a:cubicBezTo>
                    <a:cubicBezTo>
                      <a:pt x="-807" y="161106"/>
                      <a:pt x="2929" y="157371"/>
                      <a:pt x="7556" y="157371"/>
                    </a:cubicBezTo>
                    <a:lnTo>
                      <a:pt x="911152" y="157371"/>
                    </a:lnTo>
                    <a:cubicBezTo>
                      <a:pt x="964954" y="157316"/>
                      <a:pt x="1008609" y="113660"/>
                      <a:pt x="1008665" y="59858"/>
                    </a:cubicBezTo>
                    <a:lnTo>
                      <a:pt x="1008665" y="7896"/>
                    </a:lnTo>
                    <a:cubicBezTo>
                      <a:pt x="1008665" y="3269"/>
                      <a:pt x="1012400" y="-467"/>
                      <a:pt x="1017028" y="-467"/>
                    </a:cubicBezTo>
                    <a:cubicBezTo>
                      <a:pt x="1021655" y="-467"/>
                      <a:pt x="1025391" y="3269"/>
                      <a:pt x="1025391" y="7896"/>
                    </a:cubicBezTo>
                    <a:lnTo>
                      <a:pt x="1025391" y="60025"/>
                    </a:lnTo>
                    <a:cubicBezTo>
                      <a:pt x="1025223" y="123027"/>
                      <a:pt x="974153" y="174042"/>
                      <a:pt x="911152" y="174097"/>
                    </a:cubicBezTo>
                    <a:close/>
                  </a:path>
                </a:pathLst>
              </a:custGeom>
              <a:solidFill>
                <a:srgbClr val="30373B"/>
              </a:solidFill>
              <a:ln w="5573" cap="flat">
                <a:noFill/>
                <a:prstDash val="solid"/>
                <a:miter/>
              </a:ln>
            </p:spPr>
            <p:txBody>
              <a:bodyPr rtlCol="0" anchor="ctr"/>
              <a:lstStyle/>
              <a:p>
                <a:endParaRPr lang="en-GB"/>
              </a:p>
            </p:txBody>
          </p:sp>
          <p:sp>
            <p:nvSpPr>
              <p:cNvPr id="128" name="Graphic 6">
                <a:extLst>
                  <a:ext uri="{FF2B5EF4-FFF2-40B4-BE49-F238E27FC236}">
                    <a16:creationId xmlns:a16="http://schemas.microsoft.com/office/drawing/2014/main" id="{5C9CCC71-9426-10BA-D9BF-9F3E9EEB8E51}"/>
                  </a:ext>
                </a:extLst>
              </p:cNvPr>
              <p:cNvSpPr/>
              <p:nvPr/>
            </p:nvSpPr>
            <p:spPr>
              <a:xfrm>
                <a:off x="7431755" y="5848334"/>
                <a:ext cx="330840" cy="16726"/>
              </a:xfrm>
              <a:custGeom>
                <a:avLst/>
                <a:gdLst>
                  <a:gd name="connsiteX0" fmla="*/ 321671 w 330840"/>
                  <a:gd name="connsiteY0" fmla="*/ 16259 h 16726"/>
                  <a:gd name="connsiteX1" fmla="*/ 7556 w 330840"/>
                  <a:gd name="connsiteY1" fmla="*/ 16259 h 16726"/>
                  <a:gd name="connsiteX2" fmla="*/ -807 w 330840"/>
                  <a:gd name="connsiteY2" fmla="*/ 7896 h 16726"/>
                  <a:gd name="connsiteX3" fmla="*/ 7556 w 330840"/>
                  <a:gd name="connsiteY3" fmla="*/ -467 h 16726"/>
                  <a:gd name="connsiteX4" fmla="*/ 321671 w 330840"/>
                  <a:gd name="connsiteY4" fmla="*/ -467 h 16726"/>
                  <a:gd name="connsiteX5" fmla="*/ 330034 w 330840"/>
                  <a:gd name="connsiteY5" fmla="*/ 7896 h 16726"/>
                  <a:gd name="connsiteX6" fmla="*/ 321671 w 33084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840" h="16726">
                    <a:moveTo>
                      <a:pt x="321671" y="16259"/>
                    </a:moveTo>
                    <a:lnTo>
                      <a:pt x="7556" y="16259"/>
                    </a:lnTo>
                    <a:cubicBezTo>
                      <a:pt x="2928" y="16259"/>
                      <a:pt x="-807" y="12523"/>
                      <a:pt x="-807" y="7896"/>
                    </a:cubicBezTo>
                    <a:cubicBezTo>
                      <a:pt x="-807" y="3268"/>
                      <a:pt x="2928" y="-467"/>
                      <a:pt x="7556" y="-467"/>
                    </a:cubicBezTo>
                    <a:lnTo>
                      <a:pt x="321671" y="-467"/>
                    </a:lnTo>
                    <a:cubicBezTo>
                      <a:pt x="326298" y="-467"/>
                      <a:pt x="330034" y="3268"/>
                      <a:pt x="330034" y="7896"/>
                    </a:cubicBezTo>
                    <a:cubicBezTo>
                      <a:pt x="330034" y="12523"/>
                      <a:pt x="326298" y="16259"/>
                      <a:pt x="321671" y="16259"/>
                    </a:cubicBezTo>
                    <a:close/>
                  </a:path>
                </a:pathLst>
              </a:custGeom>
              <a:solidFill>
                <a:srgbClr val="30373B"/>
              </a:solidFill>
              <a:ln w="5573" cap="flat">
                <a:noFill/>
                <a:prstDash val="solid"/>
                <a:miter/>
              </a:ln>
            </p:spPr>
            <p:txBody>
              <a:bodyPr rtlCol="0" anchor="ctr"/>
              <a:lstStyle/>
              <a:p>
                <a:endParaRPr lang="en-GB"/>
              </a:p>
            </p:txBody>
          </p:sp>
          <p:sp>
            <p:nvSpPr>
              <p:cNvPr id="129" name="Graphic 6">
                <a:extLst>
                  <a:ext uri="{FF2B5EF4-FFF2-40B4-BE49-F238E27FC236}">
                    <a16:creationId xmlns:a16="http://schemas.microsoft.com/office/drawing/2014/main" id="{850CDA10-5619-79AB-F602-086A6E0975AD}"/>
                  </a:ext>
                </a:extLst>
              </p:cNvPr>
              <p:cNvSpPr/>
              <p:nvPr/>
            </p:nvSpPr>
            <p:spPr>
              <a:xfrm>
                <a:off x="6403885" y="5848334"/>
                <a:ext cx="880290" cy="16726"/>
              </a:xfrm>
              <a:custGeom>
                <a:avLst/>
                <a:gdLst>
                  <a:gd name="connsiteX0" fmla="*/ 871121 w 880290"/>
                  <a:gd name="connsiteY0" fmla="*/ 16259 h 16726"/>
                  <a:gd name="connsiteX1" fmla="*/ 7556 w 880290"/>
                  <a:gd name="connsiteY1" fmla="*/ 16259 h 16726"/>
                  <a:gd name="connsiteX2" fmla="*/ -807 w 880290"/>
                  <a:gd name="connsiteY2" fmla="*/ 7896 h 16726"/>
                  <a:gd name="connsiteX3" fmla="*/ 7556 w 880290"/>
                  <a:gd name="connsiteY3" fmla="*/ -467 h 16726"/>
                  <a:gd name="connsiteX4" fmla="*/ 871121 w 880290"/>
                  <a:gd name="connsiteY4" fmla="*/ -467 h 16726"/>
                  <a:gd name="connsiteX5" fmla="*/ 879484 w 880290"/>
                  <a:gd name="connsiteY5" fmla="*/ 7896 h 16726"/>
                  <a:gd name="connsiteX6" fmla="*/ 871121 w 88029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290" h="16726">
                    <a:moveTo>
                      <a:pt x="871121" y="16259"/>
                    </a:moveTo>
                    <a:lnTo>
                      <a:pt x="7556" y="16259"/>
                    </a:lnTo>
                    <a:cubicBezTo>
                      <a:pt x="2928" y="16259"/>
                      <a:pt x="-807" y="12523"/>
                      <a:pt x="-807" y="7896"/>
                    </a:cubicBezTo>
                    <a:cubicBezTo>
                      <a:pt x="-807" y="3268"/>
                      <a:pt x="2928" y="-467"/>
                      <a:pt x="7556" y="-467"/>
                    </a:cubicBezTo>
                    <a:lnTo>
                      <a:pt x="871121" y="-467"/>
                    </a:lnTo>
                    <a:cubicBezTo>
                      <a:pt x="875748" y="-467"/>
                      <a:pt x="879484" y="3268"/>
                      <a:pt x="879484" y="7896"/>
                    </a:cubicBezTo>
                    <a:cubicBezTo>
                      <a:pt x="879484" y="12523"/>
                      <a:pt x="875748" y="16259"/>
                      <a:pt x="871121" y="16259"/>
                    </a:cubicBezTo>
                    <a:close/>
                  </a:path>
                </a:pathLst>
              </a:custGeom>
              <a:solidFill>
                <a:srgbClr val="30373B"/>
              </a:solidFill>
              <a:ln w="5573" cap="flat">
                <a:noFill/>
                <a:prstDash val="solid"/>
                <a:miter/>
              </a:ln>
            </p:spPr>
            <p:txBody>
              <a:bodyPr rtlCol="0" anchor="ctr"/>
              <a:lstStyle/>
              <a:p>
                <a:endParaRPr lang="en-GB"/>
              </a:p>
            </p:txBody>
          </p:sp>
          <p:sp>
            <p:nvSpPr>
              <p:cNvPr id="130" name="Graphic 6">
                <a:extLst>
                  <a:ext uri="{FF2B5EF4-FFF2-40B4-BE49-F238E27FC236}">
                    <a16:creationId xmlns:a16="http://schemas.microsoft.com/office/drawing/2014/main" id="{71F4FB02-6C27-0ED6-8DA8-4271F7E8E229}"/>
                  </a:ext>
                </a:extLst>
              </p:cNvPr>
              <p:cNvSpPr/>
              <p:nvPr/>
            </p:nvSpPr>
            <p:spPr>
              <a:xfrm>
                <a:off x="5729158" y="4877612"/>
                <a:ext cx="509809" cy="987448"/>
              </a:xfrm>
              <a:custGeom>
                <a:avLst/>
                <a:gdLst>
                  <a:gd name="connsiteX0" fmla="*/ 500639 w 509809"/>
                  <a:gd name="connsiteY0" fmla="*/ 986982 h 987448"/>
                  <a:gd name="connsiteX1" fmla="*/ 113432 w 509809"/>
                  <a:gd name="connsiteY1" fmla="*/ 986982 h 987448"/>
                  <a:gd name="connsiteX2" fmla="*/ -807 w 509809"/>
                  <a:gd name="connsiteY2" fmla="*/ 872743 h 987448"/>
                  <a:gd name="connsiteX3" fmla="*/ -807 w 509809"/>
                  <a:gd name="connsiteY3" fmla="*/ 7896 h 987448"/>
                  <a:gd name="connsiteX4" fmla="*/ 7556 w 509809"/>
                  <a:gd name="connsiteY4" fmla="*/ -467 h 987448"/>
                  <a:gd name="connsiteX5" fmla="*/ 15919 w 509809"/>
                  <a:gd name="connsiteY5" fmla="*/ 7896 h 987448"/>
                  <a:gd name="connsiteX6" fmla="*/ 15919 w 509809"/>
                  <a:gd name="connsiteY6" fmla="*/ 872743 h 987448"/>
                  <a:gd name="connsiteX7" fmla="*/ 113432 w 509809"/>
                  <a:gd name="connsiteY7" fmla="*/ 970256 h 987448"/>
                  <a:gd name="connsiteX8" fmla="*/ 500639 w 509809"/>
                  <a:gd name="connsiteY8" fmla="*/ 970256 h 987448"/>
                  <a:gd name="connsiteX9" fmla="*/ 509003 w 509809"/>
                  <a:gd name="connsiteY9" fmla="*/ 978619 h 987448"/>
                  <a:gd name="connsiteX10" fmla="*/ 500639 w 509809"/>
                  <a:gd name="connsiteY10" fmla="*/ 986982 h 98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809" h="987448">
                    <a:moveTo>
                      <a:pt x="500639" y="986982"/>
                    </a:moveTo>
                    <a:lnTo>
                      <a:pt x="113432" y="986982"/>
                    </a:lnTo>
                    <a:cubicBezTo>
                      <a:pt x="50364" y="986926"/>
                      <a:pt x="-745" y="935800"/>
                      <a:pt x="-807" y="872743"/>
                    </a:cubicBezTo>
                    <a:lnTo>
                      <a:pt x="-807" y="7896"/>
                    </a:lnTo>
                    <a:cubicBezTo>
                      <a:pt x="-807" y="3280"/>
                      <a:pt x="2940" y="-467"/>
                      <a:pt x="7556" y="-467"/>
                    </a:cubicBezTo>
                    <a:cubicBezTo>
                      <a:pt x="12173" y="-467"/>
                      <a:pt x="15919" y="3280"/>
                      <a:pt x="15919" y="7896"/>
                    </a:cubicBezTo>
                    <a:lnTo>
                      <a:pt x="15919" y="872743"/>
                    </a:lnTo>
                    <a:cubicBezTo>
                      <a:pt x="15981" y="926545"/>
                      <a:pt x="59602" y="970200"/>
                      <a:pt x="113432" y="970256"/>
                    </a:cubicBezTo>
                    <a:lnTo>
                      <a:pt x="500639" y="970256"/>
                    </a:lnTo>
                    <a:cubicBezTo>
                      <a:pt x="505267" y="970256"/>
                      <a:pt x="509003" y="973991"/>
                      <a:pt x="509003" y="978619"/>
                    </a:cubicBezTo>
                    <a:cubicBezTo>
                      <a:pt x="509003" y="983246"/>
                      <a:pt x="505267" y="986982"/>
                      <a:pt x="500639" y="986982"/>
                    </a:cubicBezTo>
                    <a:close/>
                  </a:path>
                </a:pathLst>
              </a:custGeom>
              <a:solidFill>
                <a:srgbClr val="30373B"/>
              </a:solidFill>
              <a:ln w="5573" cap="flat">
                <a:noFill/>
                <a:prstDash val="solid"/>
                <a:miter/>
              </a:ln>
            </p:spPr>
            <p:txBody>
              <a:bodyPr rtlCol="0" anchor="ctr"/>
              <a:lstStyle/>
              <a:p>
                <a:endParaRPr lang="en-GB"/>
              </a:p>
            </p:txBody>
          </p:sp>
          <p:sp>
            <p:nvSpPr>
              <p:cNvPr id="131" name="Graphic 6">
                <a:extLst>
                  <a:ext uri="{FF2B5EF4-FFF2-40B4-BE49-F238E27FC236}">
                    <a16:creationId xmlns:a16="http://schemas.microsoft.com/office/drawing/2014/main" id="{53FC2B8F-212D-171A-E592-A2CCBED2B2C1}"/>
                  </a:ext>
                </a:extLst>
              </p:cNvPr>
              <p:cNvSpPr/>
              <p:nvPr/>
            </p:nvSpPr>
            <p:spPr>
              <a:xfrm>
                <a:off x="5729158" y="2810833"/>
                <a:ext cx="1178961" cy="1849451"/>
              </a:xfrm>
              <a:custGeom>
                <a:avLst/>
                <a:gdLst>
                  <a:gd name="connsiteX0" fmla="*/ 7556 w 1178961"/>
                  <a:gd name="connsiteY0" fmla="*/ 1848985 h 1849451"/>
                  <a:gd name="connsiteX1" fmla="*/ -807 w 1178961"/>
                  <a:gd name="connsiteY1" fmla="*/ 1840622 h 1849451"/>
                  <a:gd name="connsiteX2" fmla="*/ -807 w 1178961"/>
                  <a:gd name="connsiteY2" fmla="*/ 168912 h 1849451"/>
                  <a:gd name="connsiteX3" fmla="*/ 168405 w 1178961"/>
                  <a:gd name="connsiteY3" fmla="*/ -467 h 1849451"/>
                  <a:gd name="connsiteX4" fmla="*/ 1169792 w 1178961"/>
                  <a:gd name="connsiteY4" fmla="*/ -467 h 1849451"/>
                  <a:gd name="connsiteX5" fmla="*/ 1178155 w 1178961"/>
                  <a:gd name="connsiteY5" fmla="*/ 7896 h 1849451"/>
                  <a:gd name="connsiteX6" fmla="*/ 1169792 w 1178961"/>
                  <a:gd name="connsiteY6" fmla="*/ 16259 h 1849451"/>
                  <a:gd name="connsiteX7" fmla="*/ 168405 w 1178961"/>
                  <a:gd name="connsiteY7" fmla="*/ 16259 h 1849451"/>
                  <a:gd name="connsiteX8" fmla="*/ 15752 w 1178961"/>
                  <a:gd name="connsiteY8" fmla="*/ 168856 h 1849451"/>
                  <a:gd name="connsiteX9" fmla="*/ 15752 w 1178961"/>
                  <a:gd name="connsiteY9" fmla="*/ 1840622 h 1849451"/>
                  <a:gd name="connsiteX10" fmla="*/ 7556 w 1178961"/>
                  <a:gd name="connsiteY10" fmla="*/ 1848985 h 184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8961" h="1849451">
                    <a:moveTo>
                      <a:pt x="7556" y="1848985"/>
                    </a:moveTo>
                    <a:cubicBezTo>
                      <a:pt x="2940" y="1848985"/>
                      <a:pt x="-807" y="1845238"/>
                      <a:pt x="-807" y="1840622"/>
                    </a:cubicBezTo>
                    <a:lnTo>
                      <a:pt x="-807" y="168912"/>
                    </a:lnTo>
                    <a:cubicBezTo>
                      <a:pt x="-712" y="75469"/>
                      <a:pt x="74962" y="-283"/>
                      <a:pt x="168405" y="-467"/>
                    </a:cubicBezTo>
                    <a:lnTo>
                      <a:pt x="1169792" y="-467"/>
                    </a:lnTo>
                    <a:cubicBezTo>
                      <a:pt x="1174419" y="-467"/>
                      <a:pt x="1178155" y="3280"/>
                      <a:pt x="1178155" y="7896"/>
                    </a:cubicBezTo>
                    <a:cubicBezTo>
                      <a:pt x="1178155" y="12513"/>
                      <a:pt x="1174419" y="16259"/>
                      <a:pt x="1169792" y="16259"/>
                    </a:cubicBezTo>
                    <a:lnTo>
                      <a:pt x="168405" y="16259"/>
                    </a:lnTo>
                    <a:cubicBezTo>
                      <a:pt x="84156" y="16354"/>
                      <a:pt x="15875" y="84607"/>
                      <a:pt x="15752" y="168856"/>
                    </a:cubicBezTo>
                    <a:lnTo>
                      <a:pt x="15752" y="1840622"/>
                    </a:lnTo>
                    <a:cubicBezTo>
                      <a:pt x="15752" y="1845177"/>
                      <a:pt x="12111" y="1848896"/>
                      <a:pt x="7556" y="1848985"/>
                    </a:cubicBezTo>
                    <a:close/>
                  </a:path>
                </a:pathLst>
              </a:custGeom>
              <a:solidFill>
                <a:srgbClr val="30373B"/>
              </a:solidFill>
              <a:ln w="5573" cap="flat">
                <a:noFill/>
                <a:prstDash val="solid"/>
                <a:miter/>
              </a:ln>
            </p:spPr>
            <p:txBody>
              <a:bodyPr rtlCol="0" anchor="ctr"/>
              <a:lstStyle/>
              <a:p>
                <a:endParaRPr lang="en-GB"/>
              </a:p>
            </p:txBody>
          </p:sp>
          <p:sp>
            <p:nvSpPr>
              <p:cNvPr id="132" name="Graphic 6">
                <a:extLst>
                  <a:ext uri="{FF2B5EF4-FFF2-40B4-BE49-F238E27FC236}">
                    <a16:creationId xmlns:a16="http://schemas.microsoft.com/office/drawing/2014/main" id="{4B43CDB7-D61F-36C8-5DAF-064BB718372B}"/>
                  </a:ext>
                </a:extLst>
              </p:cNvPr>
              <p:cNvSpPr/>
              <p:nvPr/>
            </p:nvSpPr>
            <p:spPr>
              <a:xfrm>
                <a:off x="7060214" y="2810833"/>
                <a:ext cx="237397" cy="16726"/>
              </a:xfrm>
              <a:custGeom>
                <a:avLst/>
                <a:gdLst>
                  <a:gd name="connsiteX0" fmla="*/ 228228 w 237397"/>
                  <a:gd name="connsiteY0" fmla="*/ 16259 h 16726"/>
                  <a:gd name="connsiteX1" fmla="*/ 7556 w 237397"/>
                  <a:gd name="connsiteY1" fmla="*/ 16259 h 16726"/>
                  <a:gd name="connsiteX2" fmla="*/ -807 w 237397"/>
                  <a:gd name="connsiteY2" fmla="*/ 7896 h 16726"/>
                  <a:gd name="connsiteX3" fmla="*/ 7556 w 237397"/>
                  <a:gd name="connsiteY3" fmla="*/ -467 h 16726"/>
                  <a:gd name="connsiteX4" fmla="*/ 228228 w 237397"/>
                  <a:gd name="connsiteY4" fmla="*/ -467 h 16726"/>
                  <a:gd name="connsiteX5" fmla="*/ 236591 w 237397"/>
                  <a:gd name="connsiteY5" fmla="*/ 7896 h 16726"/>
                  <a:gd name="connsiteX6" fmla="*/ 228228 w 237397"/>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397" h="16726">
                    <a:moveTo>
                      <a:pt x="228228" y="16259"/>
                    </a:moveTo>
                    <a:lnTo>
                      <a:pt x="7556" y="16259"/>
                    </a:lnTo>
                    <a:cubicBezTo>
                      <a:pt x="2929" y="16259"/>
                      <a:pt x="-807" y="12513"/>
                      <a:pt x="-807" y="7896"/>
                    </a:cubicBezTo>
                    <a:cubicBezTo>
                      <a:pt x="-807" y="3280"/>
                      <a:pt x="2929" y="-467"/>
                      <a:pt x="7556" y="-467"/>
                    </a:cubicBezTo>
                    <a:lnTo>
                      <a:pt x="228228" y="-467"/>
                    </a:lnTo>
                    <a:cubicBezTo>
                      <a:pt x="232856" y="-467"/>
                      <a:pt x="236591" y="3280"/>
                      <a:pt x="236591" y="7896"/>
                    </a:cubicBezTo>
                    <a:cubicBezTo>
                      <a:pt x="236591" y="12513"/>
                      <a:pt x="232856" y="16259"/>
                      <a:pt x="228228" y="16259"/>
                    </a:cubicBezTo>
                    <a:close/>
                  </a:path>
                </a:pathLst>
              </a:custGeom>
              <a:solidFill>
                <a:srgbClr val="30373B"/>
              </a:solidFill>
              <a:ln w="5573" cap="flat">
                <a:noFill/>
                <a:prstDash val="solid"/>
                <a:miter/>
              </a:ln>
            </p:spPr>
            <p:txBody>
              <a:bodyPr rtlCol="0" anchor="ctr"/>
              <a:lstStyle/>
              <a:p>
                <a:endParaRPr lang="en-GB"/>
              </a:p>
            </p:txBody>
          </p:sp>
          <p:sp>
            <p:nvSpPr>
              <p:cNvPr id="133" name="Graphic 6">
                <a:extLst>
                  <a:ext uri="{FF2B5EF4-FFF2-40B4-BE49-F238E27FC236}">
                    <a16:creationId xmlns:a16="http://schemas.microsoft.com/office/drawing/2014/main" id="{24A65A9D-16F7-CC3A-9DE5-0F3717A3189D}"/>
                  </a:ext>
                </a:extLst>
              </p:cNvPr>
              <p:cNvSpPr/>
              <p:nvPr/>
            </p:nvSpPr>
            <p:spPr>
              <a:xfrm>
                <a:off x="7431755" y="2810833"/>
                <a:ext cx="1523405" cy="1847054"/>
              </a:xfrm>
              <a:custGeom>
                <a:avLst/>
                <a:gdLst>
                  <a:gd name="connsiteX0" fmla="*/ 1514236 w 1523405"/>
                  <a:gd name="connsiteY0" fmla="*/ 1846588 h 1847054"/>
                  <a:gd name="connsiteX1" fmla="*/ 1505873 w 1523405"/>
                  <a:gd name="connsiteY1" fmla="*/ 1838225 h 1847054"/>
                  <a:gd name="connsiteX2" fmla="*/ 1505873 w 1523405"/>
                  <a:gd name="connsiteY2" fmla="*/ 168912 h 1847054"/>
                  <a:gd name="connsiteX3" fmla="*/ 1353220 w 1523405"/>
                  <a:gd name="connsiteY3" fmla="*/ 16259 h 1847054"/>
                  <a:gd name="connsiteX4" fmla="*/ 7556 w 1523405"/>
                  <a:gd name="connsiteY4" fmla="*/ 16259 h 1847054"/>
                  <a:gd name="connsiteX5" fmla="*/ -807 w 1523405"/>
                  <a:gd name="connsiteY5" fmla="*/ 7896 h 1847054"/>
                  <a:gd name="connsiteX6" fmla="*/ 7556 w 1523405"/>
                  <a:gd name="connsiteY6" fmla="*/ -467 h 1847054"/>
                  <a:gd name="connsiteX7" fmla="*/ 1353220 w 1523405"/>
                  <a:gd name="connsiteY7" fmla="*/ -467 h 1847054"/>
                  <a:gd name="connsiteX8" fmla="*/ 1522599 w 1523405"/>
                  <a:gd name="connsiteY8" fmla="*/ 168856 h 1847054"/>
                  <a:gd name="connsiteX9" fmla="*/ 1522599 w 1523405"/>
                  <a:gd name="connsiteY9" fmla="*/ 1838225 h 1847054"/>
                  <a:gd name="connsiteX10" fmla="*/ 1514236 w 1523405"/>
                  <a:gd name="connsiteY10" fmla="*/ 1846588 h 184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3405" h="1847054">
                    <a:moveTo>
                      <a:pt x="1514236" y="1846588"/>
                    </a:moveTo>
                    <a:cubicBezTo>
                      <a:pt x="1509608" y="1846588"/>
                      <a:pt x="1505873" y="1842841"/>
                      <a:pt x="1505873" y="1838225"/>
                    </a:cubicBezTo>
                    <a:lnTo>
                      <a:pt x="1505873" y="168912"/>
                    </a:lnTo>
                    <a:cubicBezTo>
                      <a:pt x="1505762" y="84641"/>
                      <a:pt x="1437464" y="16354"/>
                      <a:pt x="1353220" y="16259"/>
                    </a:cubicBezTo>
                    <a:lnTo>
                      <a:pt x="7556" y="16259"/>
                    </a:lnTo>
                    <a:cubicBezTo>
                      <a:pt x="2928" y="16259"/>
                      <a:pt x="-807" y="12513"/>
                      <a:pt x="-807" y="7896"/>
                    </a:cubicBezTo>
                    <a:cubicBezTo>
                      <a:pt x="-807" y="3280"/>
                      <a:pt x="2928" y="-467"/>
                      <a:pt x="7556" y="-467"/>
                    </a:cubicBezTo>
                    <a:lnTo>
                      <a:pt x="1353220" y="-467"/>
                    </a:lnTo>
                    <a:cubicBezTo>
                      <a:pt x="1446719" y="-372"/>
                      <a:pt x="1522488" y="75369"/>
                      <a:pt x="1522599" y="168856"/>
                    </a:cubicBezTo>
                    <a:lnTo>
                      <a:pt x="1522599" y="1838225"/>
                    </a:lnTo>
                    <a:cubicBezTo>
                      <a:pt x="1522599" y="1842841"/>
                      <a:pt x="1518864" y="1846588"/>
                      <a:pt x="1514236" y="1846588"/>
                    </a:cubicBezTo>
                    <a:close/>
                  </a:path>
                </a:pathLst>
              </a:custGeom>
              <a:solidFill>
                <a:srgbClr val="30373B"/>
              </a:solidFill>
              <a:ln w="5573" cap="flat">
                <a:noFill/>
                <a:prstDash val="solid"/>
                <a:miter/>
              </a:ln>
            </p:spPr>
            <p:txBody>
              <a:bodyPr rtlCol="0" anchor="ctr"/>
              <a:lstStyle/>
              <a:p>
                <a:endParaRPr lang="en-GB"/>
              </a:p>
            </p:txBody>
          </p:sp>
          <p:sp>
            <p:nvSpPr>
              <p:cNvPr id="134" name="Graphic 6">
                <a:extLst>
                  <a:ext uri="{FF2B5EF4-FFF2-40B4-BE49-F238E27FC236}">
                    <a16:creationId xmlns:a16="http://schemas.microsoft.com/office/drawing/2014/main" id="{50ACB1D3-7A71-A8CC-A19A-6DEE811E1A97}"/>
                  </a:ext>
                </a:extLst>
              </p:cNvPr>
              <p:cNvSpPr/>
              <p:nvPr/>
            </p:nvSpPr>
            <p:spPr>
              <a:xfrm>
                <a:off x="8730738" y="4140125"/>
                <a:ext cx="47182" cy="573515"/>
              </a:xfrm>
              <a:custGeom>
                <a:avLst/>
                <a:gdLst>
                  <a:gd name="connsiteX0" fmla="*/ 7572 w 47182"/>
                  <a:gd name="connsiteY0" fmla="*/ 573049 h 573515"/>
                  <a:gd name="connsiteX1" fmla="*/ 6959 w 47182"/>
                  <a:gd name="connsiteY1" fmla="*/ 573049 h 573515"/>
                  <a:gd name="connsiteX2" fmla="*/ -791 w 47182"/>
                  <a:gd name="connsiteY2" fmla="*/ 564128 h 573515"/>
                  <a:gd name="connsiteX3" fmla="*/ 29650 w 47182"/>
                  <a:gd name="connsiteY3" fmla="*/ 123119 h 573515"/>
                  <a:gd name="connsiteX4" fmla="*/ 24577 w 47182"/>
                  <a:gd name="connsiteY4" fmla="*/ 8267 h 573515"/>
                  <a:gd name="connsiteX5" fmla="*/ 32605 w 47182"/>
                  <a:gd name="connsiteY5" fmla="*/ -459 h 573515"/>
                  <a:gd name="connsiteX6" fmla="*/ 41303 w 47182"/>
                  <a:gd name="connsiteY6" fmla="*/ 7542 h 573515"/>
                  <a:gd name="connsiteX7" fmla="*/ 46376 w 47182"/>
                  <a:gd name="connsiteY7" fmla="*/ 122840 h 573515"/>
                  <a:gd name="connsiteX8" fmla="*/ 46376 w 47182"/>
                  <a:gd name="connsiteY8" fmla="*/ 123788 h 573515"/>
                  <a:gd name="connsiteX9" fmla="*/ 15824 w 47182"/>
                  <a:gd name="connsiteY9" fmla="*/ 565243 h 573515"/>
                  <a:gd name="connsiteX10" fmla="*/ 7572 w 47182"/>
                  <a:gd name="connsiteY10" fmla="*/ 573049 h 573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2" h="573515">
                    <a:moveTo>
                      <a:pt x="7572" y="573049"/>
                    </a:moveTo>
                    <a:lnTo>
                      <a:pt x="6959" y="573049"/>
                    </a:lnTo>
                    <a:cubicBezTo>
                      <a:pt x="2387" y="572692"/>
                      <a:pt x="-1070" y="568717"/>
                      <a:pt x="-791" y="564128"/>
                    </a:cubicBezTo>
                    <a:lnTo>
                      <a:pt x="29650" y="123119"/>
                    </a:lnTo>
                    <a:lnTo>
                      <a:pt x="24577" y="8267"/>
                    </a:lnTo>
                    <a:cubicBezTo>
                      <a:pt x="24354" y="3650"/>
                      <a:pt x="27978" y="-258"/>
                      <a:pt x="32605" y="-459"/>
                    </a:cubicBezTo>
                    <a:cubicBezTo>
                      <a:pt x="37177" y="-660"/>
                      <a:pt x="41080" y="2925"/>
                      <a:pt x="41303" y="7542"/>
                    </a:cubicBezTo>
                    <a:lnTo>
                      <a:pt x="46376" y="122840"/>
                    </a:lnTo>
                    <a:lnTo>
                      <a:pt x="46376" y="123788"/>
                    </a:lnTo>
                    <a:lnTo>
                      <a:pt x="15824" y="565243"/>
                    </a:lnTo>
                    <a:cubicBezTo>
                      <a:pt x="15544" y="569603"/>
                      <a:pt x="11921" y="572999"/>
                      <a:pt x="7572" y="573049"/>
                    </a:cubicBezTo>
                    <a:close/>
                  </a:path>
                </a:pathLst>
              </a:custGeom>
              <a:solidFill>
                <a:srgbClr val="30373B"/>
              </a:solidFill>
              <a:ln w="5573" cap="flat">
                <a:noFill/>
                <a:prstDash val="solid"/>
                <a:miter/>
              </a:ln>
            </p:spPr>
            <p:txBody>
              <a:bodyPr rtlCol="0" anchor="ctr"/>
              <a:lstStyle/>
              <a:p>
                <a:endParaRPr lang="en-GB"/>
              </a:p>
            </p:txBody>
          </p:sp>
          <p:sp>
            <p:nvSpPr>
              <p:cNvPr id="135" name="Graphic 6">
                <a:extLst>
                  <a:ext uri="{FF2B5EF4-FFF2-40B4-BE49-F238E27FC236}">
                    <a16:creationId xmlns:a16="http://schemas.microsoft.com/office/drawing/2014/main" id="{70490746-F00E-9B9D-81E5-CF638E30FE9F}"/>
                  </a:ext>
                </a:extLst>
              </p:cNvPr>
              <p:cNvSpPr/>
              <p:nvPr/>
            </p:nvSpPr>
            <p:spPr>
              <a:xfrm>
                <a:off x="8498660" y="4140014"/>
                <a:ext cx="102810" cy="575021"/>
              </a:xfrm>
              <a:custGeom>
                <a:avLst/>
                <a:gdLst>
                  <a:gd name="connsiteX0" fmla="*/ 7548 w 102810"/>
                  <a:gd name="connsiteY0" fmla="*/ 574554 h 575021"/>
                  <a:gd name="connsiteX1" fmla="*/ 5931 w 102810"/>
                  <a:gd name="connsiteY1" fmla="*/ 574554 h 575021"/>
                  <a:gd name="connsiteX2" fmla="*/ -648 w 102810"/>
                  <a:gd name="connsiteY2" fmla="*/ 564741 h 575021"/>
                  <a:gd name="connsiteX3" fmla="*/ 78410 w 102810"/>
                  <a:gd name="connsiteY3" fmla="*/ 163317 h 575021"/>
                  <a:gd name="connsiteX4" fmla="*/ 85268 w 102810"/>
                  <a:gd name="connsiteY4" fmla="*/ 7542 h 575021"/>
                  <a:gd name="connsiteX5" fmla="*/ 93966 w 102810"/>
                  <a:gd name="connsiteY5" fmla="*/ -459 h 575021"/>
                  <a:gd name="connsiteX6" fmla="*/ 101994 w 102810"/>
                  <a:gd name="connsiteY6" fmla="*/ 8266 h 575021"/>
                  <a:gd name="connsiteX7" fmla="*/ 95136 w 102810"/>
                  <a:gd name="connsiteY7" fmla="*/ 164376 h 575021"/>
                  <a:gd name="connsiteX8" fmla="*/ 95136 w 102810"/>
                  <a:gd name="connsiteY8" fmla="*/ 165658 h 575021"/>
                  <a:gd name="connsiteX9" fmla="*/ 15967 w 102810"/>
                  <a:gd name="connsiteY9" fmla="*/ 567417 h 575021"/>
                  <a:gd name="connsiteX10" fmla="*/ 7548 w 102810"/>
                  <a:gd name="connsiteY10" fmla="*/ 574554 h 57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810" h="575021">
                    <a:moveTo>
                      <a:pt x="7548" y="574554"/>
                    </a:moveTo>
                    <a:lnTo>
                      <a:pt x="5931" y="574554"/>
                    </a:lnTo>
                    <a:cubicBezTo>
                      <a:pt x="1415" y="573656"/>
                      <a:pt x="-1540" y="569268"/>
                      <a:pt x="-648" y="564741"/>
                    </a:cubicBezTo>
                    <a:lnTo>
                      <a:pt x="78410" y="163317"/>
                    </a:lnTo>
                    <a:lnTo>
                      <a:pt x="85268" y="7542"/>
                    </a:lnTo>
                    <a:cubicBezTo>
                      <a:pt x="85491" y="2925"/>
                      <a:pt x="89394" y="-660"/>
                      <a:pt x="93966" y="-459"/>
                    </a:cubicBezTo>
                    <a:cubicBezTo>
                      <a:pt x="98593" y="-258"/>
                      <a:pt x="102217" y="3650"/>
                      <a:pt x="101994" y="8266"/>
                    </a:cubicBezTo>
                    <a:lnTo>
                      <a:pt x="95136" y="164376"/>
                    </a:lnTo>
                    <a:cubicBezTo>
                      <a:pt x="95192" y="164800"/>
                      <a:pt x="95192" y="165235"/>
                      <a:pt x="95136" y="165658"/>
                    </a:cubicBezTo>
                    <a:lnTo>
                      <a:pt x="15967" y="567417"/>
                    </a:lnTo>
                    <a:cubicBezTo>
                      <a:pt x="15354" y="571560"/>
                      <a:pt x="11729" y="574604"/>
                      <a:pt x="7548" y="574554"/>
                    </a:cubicBezTo>
                    <a:close/>
                  </a:path>
                </a:pathLst>
              </a:custGeom>
              <a:solidFill>
                <a:srgbClr val="30373B"/>
              </a:solidFill>
              <a:ln w="5573" cap="flat">
                <a:noFill/>
                <a:prstDash val="solid"/>
                <a:miter/>
              </a:ln>
            </p:spPr>
            <p:txBody>
              <a:bodyPr rtlCol="0" anchor="ctr"/>
              <a:lstStyle/>
              <a:p>
                <a:endParaRPr lang="en-GB"/>
              </a:p>
            </p:txBody>
          </p:sp>
          <p:sp>
            <p:nvSpPr>
              <p:cNvPr id="136" name="Graphic 6">
                <a:extLst>
                  <a:ext uri="{FF2B5EF4-FFF2-40B4-BE49-F238E27FC236}">
                    <a16:creationId xmlns:a16="http://schemas.microsoft.com/office/drawing/2014/main" id="{A0D34FDE-724C-8B6C-2DDD-3B4D10BCAABB}"/>
                  </a:ext>
                </a:extLst>
              </p:cNvPr>
              <p:cNvSpPr/>
              <p:nvPr/>
            </p:nvSpPr>
            <p:spPr>
              <a:xfrm>
                <a:off x="8553234" y="4337429"/>
                <a:ext cx="126801" cy="377605"/>
              </a:xfrm>
              <a:custGeom>
                <a:avLst/>
                <a:gdLst>
                  <a:gd name="connsiteX0" fmla="*/ 7612 w 126801"/>
                  <a:gd name="connsiteY0" fmla="*/ 377139 h 377605"/>
                  <a:gd name="connsiteX1" fmla="*/ 5160 w 126801"/>
                  <a:gd name="connsiteY1" fmla="*/ 376748 h 377605"/>
                  <a:gd name="connsiteX2" fmla="*/ -472 w 126801"/>
                  <a:gd name="connsiteY2" fmla="*/ 366423 h 377605"/>
                  <a:gd name="connsiteX3" fmla="*/ -416 w 126801"/>
                  <a:gd name="connsiteY3" fmla="*/ 366322 h 377605"/>
                  <a:gd name="connsiteX4" fmla="*/ 109697 w 126801"/>
                  <a:gd name="connsiteY4" fmla="*/ 5264 h 377605"/>
                  <a:gd name="connsiteX5" fmla="*/ 120290 w 126801"/>
                  <a:gd name="connsiteY5" fmla="*/ -39 h 377605"/>
                  <a:gd name="connsiteX6" fmla="*/ 125698 w 126801"/>
                  <a:gd name="connsiteY6" fmla="*/ 10114 h 377605"/>
                  <a:gd name="connsiteX7" fmla="*/ 15474 w 126801"/>
                  <a:gd name="connsiteY7" fmla="*/ 371229 h 377605"/>
                  <a:gd name="connsiteX8" fmla="*/ 7612 w 126801"/>
                  <a:gd name="connsiteY8" fmla="*/ 377139 h 37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801" h="377605">
                    <a:moveTo>
                      <a:pt x="7612" y="377139"/>
                    </a:moveTo>
                    <a:cubicBezTo>
                      <a:pt x="6777" y="377139"/>
                      <a:pt x="5940" y="377011"/>
                      <a:pt x="5160" y="376748"/>
                    </a:cubicBezTo>
                    <a:cubicBezTo>
                      <a:pt x="755" y="375444"/>
                      <a:pt x="-1754" y="370822"/>
                      <a:pt x="-472" y="366423"/>
                    </a:cubicBezTo>
                    <a:cubicBezTo>
                      <a:pt x="-416" y="366389"/>
                      <a:pt x="-416" y="366356"/>
                      <a:pt x="-416" y="366322"/>
                    </a:cubicBezTo>
                    <a:lnTo>
                      <a:pt x="109697" y="5264"/>
                    </a:lnTo>
                    <a:cubicBezTo>
                      <a:pt x="111147" y="881"/>
                      <a:pt x="115886" y="-1494"/>
                      <a:pt x="120290" y="-39"/>
                    </a:cubicBezTo>
                    <a:cubicBezTo>
                      <a:pt x="124472" y="1366"/>
                      <a:pt x="126869" y="5826"/>
                      <a:pt x="125698" y="10114"/>
                    </a:cubicBezTo>
                    <a:lnTo>
                      <a:pt x="15474" y="371229"/>
                    </a:lnTo>
                    <a:cubicBezTo>
                      <a:pt x="14415" y="374697"/>
                      <a:pt x="11237" y="377083"/>
                      <a:pt x="7612" y="377139"/>
                    </a:cubicBezTo>
                    <a:close/>
                  </a:path>
                </a:pathLst>
              </a:custGeom>
              <a:solidFill>
                <a:srgbClr val="30373B"/>
              </a:solidFill>
              <a:ln w="5573" cap="flat">
                <a:noFill/>
                <a:prstDash val="solid"/>
                <a:miter/>
              </a:ln>
            </p:spPr>
            <p:txBody>
              <a:bodyPr rtlCol="0" anchor="ctr"/>
              <a:lstStyle/>
              <a:p>
                <a:endParaRPr lang="en-GB"/>
              </a:p>
            </p:txBody>
          </p:sp>
          <p:sp>
            <p:nvSpPr>
              <p:cNvPr id="137" name="Graphic 6">
                <a:extLst>
                  <a:ext uri="{FF2B5EF4-FFF2-40B4-BE49-F238E27FC236}">
                    <a16:creationId xmlns:a16="http://schemas.microsoft.com/office/drawing/2014/main" id="{1B525BE5-DD1E-7937-ABF5-57DA7A123578}"/>
                  </a:ext>
                </a:extLst>
              </p:cNvPr>
              <p:cNvSpPr/>
              <p:nvPr/>
            </p:nvSpPr>
            <p:spPr>
              <a:xfrm>
                <a:off x="8663735" y="4337249"/>
                <a:ext cx="23700" cy="376391"/>
              </a:xfrm>
              <a:custGeom>
                <a:avLst/>
                <a:gdLst>
                  <a:gd name="connsiteX0" fmla="*/ 14249 w 23700"/>
                  <a:gd name="connsiteY0" fmla="*/ 375924 h 376391"/>
                  <a:gd name="connsiteX1" fmla="*/ 5886 w 23700"/>
                  <a:gd name="connsiteY1" fmla="*/ 367729 h 376391"/>
                  <a:gd name="connsiteX2" fmla="*/ -804 w 23700"/>
                  <a:gd name="connsiteY2" fmla="*/ 8064 h 376391"/>
                  <a:gd name="connsiteX3" fmla="*/ 7391 w 23700"/>
                  <a:gd name="connsiteY3" fmla="*/ -467 h 376391"/>
                  <a:gd name="connsiteX4" fmla="*/ 7391 w 23700"/>
                  <a:gd name="connsiteY4" fmla="*/ -467 h 376391"/>
                  <a:gd name="connsiteX5" fmla="*/ 15922 w 23700"/>
                  <a:gd name="connsiteY5" fmla="*/ 7729 h 376391"/>
                  <a:gd name="connsiteX6" fmla="*/ 22891 w 23700"/>
                  <a:gd name="connsiteY6" fmla="*/ 367394 h 376391"/>
                  <a:gd name="connsiteX7" fmla="*/ 14695 w 23700"/>
                  <a:gd name="connsiteY7" fmla="*/ 375924 h 376391"/>
                  <a:gd name="connsiteX8" fmla="*/ 14695 w 23700"/>
                  <a:gd name="connsiteY8" fmla="*/ 375924 h 37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00" h="376391">
                    <a:moveTo>
                      <a:pt x="14249" y="375924"/>
                    </a:moveTo>
                    <a:cubicBezTo>
                      <a:pt x="9678" y="375924"/>
                      <a:pt x="5998" y="372284"/>
                      <a:pt x="5886" y="367729"/>
                    </a:cubicBezTo>
                    <a:lnTo>
                      <a:pt x="-804" y="8064"/>
                    </a:lnTo>
                    <a:cubicBezTo>
                      <a:pt x="-916" y="3447"/>
                      <a:pt x="2764" y="-372"/>
                      <a:pt x="7391" y="-467"/>
                    </a:cubicBezTo>
                    <a:cubicBezTo>
                      <a:pt x="7391" y="-467"/>
                      <a:pt x="7391" y="-467"/>
                      <a:pt x="7391" y="-467"/>
                    </a:cubicBezTo>
                    <a:cubicBezTo>
                      <a:pt x="11964" y="-500"/>
                      <a:pt x="15754" y="3135"/>
                      <a:pt x="15922" y="7729"/>
                    </a:cubicBezTo>
                    <a:lnTo>
                      <a:pt x="22891" y="367394"/>
                    </a:lnTo>
                    <a:cubicBezTo>
                      <a:pt x="23003" y="372011"/>
                      <a:pt x="19323" y="375830"/>
                      <a:pt x="14695" y="375924"/>
                    </a:cubicBezTo>
                    <a:cubicBezTo>
                      <a:pt x="14695" y="375924"/>
                      <a:pt x="14695" y="375924"/>
                      <a:pt x="14695" y="375924"/>
                    </a:cubicBezTo>
                    <a:close/>
                  </a:path>
                </a:pathLst>
              </a:custGeom>
              <a:solidFill>
                <a:srgbClr val="30373B"/>
              </a:solidFill>
              <a:ln w="5573" cap="flat">
                <a:noFill/>
                <a:prstDash val="solid"/>
                <a:miter/>
              </a:ln>
            </p:spPr>
            <p:txBody>
              <a:bodyPr rtlCol="0" anchor="ctr"/>
              <a:lstStyle/>
              <a:p>
                <a:endParaRPr lang="en-GB"/>
              </a:p>
            </p:txBody>
          </p:sp>
          <p:sp>
            <p:nvSpPr>
              <p:cNvPr id="138" name="Graphic 6">
                <a:extLst>
                  <a:ext uri="{FF2B5EF4-FFF2-40B4-BE49-F238E27FC236}">
                    <a16:creationId xmlns:a16="http://schemas.microsoft.com/office/drawing/2014/main" id="{8E4B648A-5460-A8C7-BC4B-C6D897E0834C}"/>
                  </a:ext>
                </a:extLst>
              </p:cNvPr>
              <p:cNvSpPr/>
              <p:nvPr/>
            </p:nvSpPr>
            <p:spPr>
              <a:xfrm>
                <a:off x="8366659" y="4005517"/>
                <a:ext cx="468743" cy="380853"/>
              </a:xfrm>
              <a:custGeom>
                <a:avLst/>
                <a:gdLst>
                  <a:gd name="connsiteX0" fmla="*/ 458793 w 468743"/>
                  <a:gd name="connsiteY0" fmla="*/ 380385 h 380853"/>
                  <a:gd name="connsiteX1" fmla="*/ 458793 w 468743"/>
                  <a:gd name="connsiteY1" fmla="*/ 380385 h 380853"/>
                  <a:gd name="connsiteX2" fmla="*/ 450486 w 468743"/>
                  <a:gd name="connsiteY2" fmla="*/ 371966 h 380853"/>
                  <a:gd name="connsiteX3" fmla="*/ 450486 w 468743"/>
                  <a:gd name="connsiteY3" fmla="*/ 371966 h 380853"/>
                  <a:gd name="connsiteX4" fmla="*/ 450486 w 468743"/>
                  <a:gd name="connsiteY4" fmla="*/ 109646 h 380853"/>
                  <a:gd name="connsiteX5" fmla="*/ 357545 w 468743"/>
                  <a:gd name="connsiteY5" fmla="*/ 16482 h 380853"/>
                  <a:gd name="connsiteX6" fmla="*/ 271629 w 468743"/>
                  <a:gd name="connsiteY6" fmla="*/ 16482 h 380853"/>
                  <a:gd name="connsiteX7" fmla="*/ 192627 w 468743"/>
                  <a:gd name="connsiteY7" fmla="*/ 111263 h 380853"/>
                  <a:gd name="connsiteX8" fmla="*/ 123882 w 468743"/>
                  <a:gd name="connsiteY8" fmla="*/ 198238 h 380853"/>
                  <a:gd name="connsiteX9" fmla="*/ 611 w 468743"/>
                  <a:gd name="connsiteY9" fmla="*/ 115444 h 380853"/>
                  <a:gd name="connsiteX10" fmla="*/ 2898 w 468743"/>
                  <a:gd name="connsiteY10" fmla="*/ 103836 h 380853"/>
                  <a:gd name="connsiteX11" fmla="*/ 14494 w 468743"/>
                  <a:gd name="connsiteY11" fmla="*/ 106111 h 380853"/>
                  <a:gd name="connsiteX12" fmla="*/ 15107 w 468743"/>
                  <a:gd name="connsiteY12" fmla="*/ 107193 h 380853"/>
                  <a:gd name="connsiteX13" fmla="*/ 123882 w 468743"/>
                  <a:gd name="connsiteY13" fmla="*/ 181512 h 380853"/>
                  <a:gd name="connsiteX14" fmla="*/ 176570 w 468743"/>
                  <a:gd name="connsiteY14" fmla="*/ 106524 h 380853"/>
                  <a:gd name="connsiteX15" fmla="*/ 271350 w 468743"/>
                  <a:gd name="connsiteY15" fmla="*/ -467 h 380853"/>
                  <a:gd name="connsiteX16" fmla="*/ 357601 w 468743"/>
                  <a:gd name="connsiteY16" fmla="*/ -467 h 380853"/>
                  <a:gd name="connsiteX17" fmla="*/ 467268 w 468743"/>
                  <a:gd name="connsiteY17" fmla="*/ 108921 h 380853"/>
                  <a:gd name="connsiteX18" fmla="*/ 467268 w 468743"/>
                  <a:gd name="connsiteY18" fmla="*/ 371854 h 380853"/>
                  <a:gd name="connsiteX19" fmla="*/ 459183 w 468743"/>
                  <a:gd name="connsiteY19" fmla="*/ 380385 h 380853"/>
                  <a:gd name="connsiteX20" fmla="*/ 458793 w 468743"/>
                  <a:gd name="connsiteY20" fmla="*/ 380385 h 38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8743" h="380853">
                    <a:moveTo>
                      <a:pt x="458793" y="380385"/>
                    </a:moveTo>
                    <a:lnTo>
                      <a:pt x="458793" y="380385"/>
                    </a:lnTo>
                    <a:cubicBezTo>
                      <a:pt x="454165" y="380357"/>
                      <a:pt x="450430" y="376588"/>
                      <a:pt x="450486" y="371966"/>
                    </a:cubicBezTo>
                    <a:cubicBezTo>
                      <a:pt x="450486" y="371966"/>
                      <a:pt x="450486" y="371966"/>
                      <a:pt x="450486" y="371966"/>
                    </a:cubicBezTo>
                    <a:cubicBezTo>
                      <a:pt x="450486" y="369847"/>
                      <a:pt x="451936" y="161329"/>
                      <a:pt x="450486" y="109646"/>
                    </a:cubicBezTo>
                    <a:cubicBezTo>
                      <a:pt x="449036" y="59133"/>
                      <a:pt x="406496" y="16482"/>
                      <a:pt x="357545" y="16482"/>
                    </a:cubicBezTo>
                    <a:lnTo>
                      <a:pt x="271629" y="16482"/>
                    </a:lnTo>
                    <a:cubicBezTo>
                      <a:pt x="220559" y="16482"/>
                      <a:pt x="206955" y="62646"/>
                      <a:pt x="192627" y="111263"/>
                    </a:cubicBezTo>
                    <a:cubicBezTo>
                      <a:pt x="180026" y="154026"/>
                      <a:pt x="167035" y="198238"/>
                      <a:pt x="123882" y="198238"/>
                    </a:cubicBezTo>
                    <a:cubicBezTo>
                      <a:pt x="48448" y="198238"/>
                      <a:pt x="2508" y="118845"/>
                      <a:pt x="611" y="115444"/>
                    </a:cubicBezTo>
                    <a:cubicBezTo>
                      <a:pt x="-1953" y="111609"/>
                      <a:pt x="-950" y="106412"/>
                      <a:pt x="2898" y="103836"/>
                    </a:cubicBezTo>
                    <a:cubicBezTo>
                      <a:pt x="6744" y="101261"/>
                      <a:pt x="11930" y="102281"/>
                      <a:pt x="14494" y="106111"/>
                    </a:cubicBezTo>
                    <a:cubicBezTo>
                      <a:pt x="14717" y="106457"/>
                      <a:pt x="14940" y="106819"/>
                      <a:pt x="15107" y="107193"/>
                    </a:cubicBezTo>
                    <a:cubicBezTo>
                      <a:pt x="15554" y="107917"/>
                      <a:pt x="58261" y="181512"/>
                      <a:pt x="123882" y="181512"/>
                    </a:cubicBezTo>
                    <a:cubicBezTo>
                      <a:pt x="152484" y="181512"/>
                      <a:pt x="162910" y="153190"/>
                      <a:pt x="176570" y="106524"/>
                    </a:cubicBezTo>
                    <a:cubicBezTo>
                      <a:pt x="191288" y="56346"/>
                      <a:pt x="208015" y="-467"/>
                      <a:pt x="271350" y="-467"/>
                    </a:cubicBezTo>
                    <a:lnTo>
                      <a:pt x="357601" y="-467"/>
                    </a:lnTo>
                    <a:cubicBezTo>
                      <a:pt x="415361" y="-467"/>
                      <a:pt x="465539" y="49711"/>
                      <a:pt x="467268" y="108921"/>
                    </a:cubicBezTo>
                    <a:cubicBezTo>
                      <a:pt x="468773" y="160883"/>
                      <a:pt x="467268" y="369736"/>
                      <a:pt x="467268" y="371854"/>
                    </a:cubicBezTo>
                    <a:cubicBezTo>
                      <a:pt x="467379" y="376443"/>
                      <a:pt x="463755" y="380262"/>
                      <a:pt x="459183" y="380385"/>
                    </a:cubicBezTo>
                    <a:cubicBezTo>
                      <a:pt x="459072" y="380385"/>
                      <a:pt x="458905" y="380390"/>
                      <a:pt x="458793" y="380385"/>
                    </a:cubicBezTo>
                    <a:close/>
                  </a:path>
                </a:pathLst>
              </a:custGeom>
              <a:solidFill>
                <a:srgbClr val="30373B"/>
              </a:solidFill>
              <a:ln w="5573" cap="flat">
                <a:noFill/>
                <a:prstDash val="solid"/>
                <a:miter/>
              </a:ln>
            </p:spPr>
            <p:txBody>
              <a:bodyPr rtlCol="0" anchor="ctr"/>
              <a:lstStyle/>
              <a:p>
                <a:endParaRPr lang="en-GB"/>
              </a:p>
            </p:txBody>
          </p:sp>
          <p:sp>
            <p:nvSpPr>
              <p:cNvPr id="139" name="Graphic 6">
                <a:extLst>
                  <a:ext uri="{FF2B5EF4-FFF2-40B4-BE49-F238E27FC236}">
                    <a16:creationId xmlns:a16="http://schemas.microsoft.com/office/drawing/2014/main" id="{FD1F8E36-A071-56BF-7EB2-545F8B342CA7}"/>
                  </a:ext>
                </a:extLst>
              </p:cNvPr>
              <p:cNvSpPr/>
              <p:nvPr/>
            </p:nvSpPr>
            <p:spPr>
              <a:xfrm>
                <a:off x="8605167" y="3835795"/>
                <a:ext cx="145574" cy="186615"/>
              </a:xfrm>
              <a:custGeom>
                <a:avLst/>
                <a:gdLst>
                  <a:gd name="connsiteX0" fmla="*/ 71814 w 145574"/>
                  <a:gd name="connsiteY0" fmla="*/ 186148 h 186615"/>
                  <a:gd name="connsiteX1" fmla="*/ 63451 w 145574"/>
                  <a:gd name="connsiteY1" fmla="*/ 177785 h 186615"/>
                  <a:gd name="connsiteX2" fmla="*/ 71814 w 145574"/>
                  <a:gd name="connsiteY2" fmla="*/ 169422 h 186615"/>
                  <a:gd name="connsiteX3" fmla="*/ 127567 w 145574"/>
                  <a:gd name="connsiteY3" fmla="*/ 91981 h 186615"/>
                  <a:gd name="connsiteX4" fmla="*/ 111733 w 145574"/>
                  <a:gd name="connsiteY4" fmla="*/ 31934 h 186615"/>
                  <a:gd name="connsiteX5" fmla="*/ 32173 w 145574"/>
                  <a:gd name="connsiteY5" fmla="*/ 31934 h 186615"/>
                  <a:gd name="connsiteX6" fmla="*/ 16394 w 145574"/>
                  <a:gd name="connsiteY6" fmla="*/ 91981 h 186615"/>
                  <a:gd name="connsiteX7" fmla="*/ 25761 w 145574"/>
                  <a:gd name="connsiteY7" fmla="*/ 129447 h 186615"/>
                  <a:gd name="connsiteX8" fmla="*/ 21580 w 145574"/>
                  <a:gd name="connsiteY8" fmla="*/ 140514 h 186615"/>
                  <a:gd name="connsiteX9" fmla="*/ 10485 w 145574"/>
                  <a:gd name="connsiteY9" fmla="*/ 136305 h 186615"/>
                  <a:gd name="connsiteX10" fmla="*/ -276 w 145574"/>
                  <a:gd name="connsiteY10" fmla="*/ 93430 h 186615"/>
                  <a:gd name="connsiteX11" fmla="*/ 19851 w 145574"/>
                  <a:gd name="connsiteY11" fmla="*/ 20951 h 186615"/>
                  <a:gd name="connsiteX12" fmla="*/ 124110 w 145574"/>
                  <a:gd name="connsiteY12" fmla="*/ 20951 h 186615"/>
                  <a:gd name="connsiteX13" fmla="*/ 144237 w 145574"/>
                  <a:gd name="connsiteY13" fmla="*/ 93430 h 186615"/>
                  <a:gd name="connsiteX14" fmla="*/ 71814 w 145574"/>
                  <a:gd name="connsiteY14" fmla="*/ 186148 h 18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74" h="186615">
                    <a:moveTo>
                      <a:pt x="71814" y="186148"/>
                    </a:moveTo>
                    <a:cubicBezTo>
                      <a:pt x="67186" y="186148"/>
                      <a:pt x="63451" y="182402"/>
                      <a:pt x="63451" y="177785"/>
                    </a:cubicBezTo>
                    <a:cubicBezTo>
                      <a:pt x="63451" y="173169"/>
                      <a:pt x="67186" y="169422"/>
                      <a:pt x="71814" y="169422"/>
                    </a:cubicBezTo>
                    <a:cubicBezTo>
                      <a:pt x="92220" y="169422"/>
                      <a:pt x="122939" y="142493"/>
                      <a:pt x="127567" y="91981"/>
                    </a:cubicBezTo>
                    <a:cubicBezTo>
                      <a:pt x="129797" y="66836"/>
                      <a:pt x="124166" y="45483"/>
                      <a:pt x="111733" y="31934"/>
                    </a:cubicBezTo>
                    <a:cubicBezTo>
                      <a:pt x="89487" y="10675"/>
                      <a:pt x="54419" y="10675"/>
                      <a:pt x="32173" y="31934"/>
                    </a:cubicBezTo>
                    <a:cubicBezTo>
                      <a:pt x="19795" y="45483"/>
                      <a:pt x="14165" y="66836"/>
                      <a:pt x="16394" y="91981"/>
                    </a:cubicBezTo>
                    <a:cubicBezTo>
                      <a:pt x="17398" y="104904"/>
                      <a:pt x="20576" y="117560"/>
                      <a:pt x="25761" y="129447"/>
                    </a:cubicBezTo>
                    <a:cubicBezTo>
                      <a:pt x="27657" y="133667"/>
                      <a:pt x="25761" y="138618"/>
                      <a:pt x="21580" y="140514"/>
                    </a:cubicBezTo>
                    <a:cubicBezTo>
                      <a:pt x="17343" y="142410"/>
                      <a:pt x="12380" y="140525"/>
                      <a:pt x="10485" y="136305"/>
                    </a:cubicBezTo>
                    <a:cubicBezTo>
                      <a:pt x="4519" y="122707"/>
                      <a:pt x="896" y="108222"/>
                      <a:pt x="-276" y="93430"/>
                    </a:cubicBezTo>
                    <a:cubicBezTo>
                      <a:pt x="-2896" y="63547"/>
                      <a:pt x="4241" y="37677"/>
                      <a:pt x="19851" y="20951"/>
                    </a:cubicBezTo>
                    <a:cubicBezTo>
                      <a:pt x="48732" y="-7606"/>
                      <a:pt x="95230" y="-7606"/>
                      <a:pt x="124110" y="20951"/>
                    </a:cubicBezTo>
                    <a:cubicBezTo>
                      <a:pt x="139721" y="37677"/>
                      <a:pt x="146858" y="63825"/>
                      <a:pt x="144237" y="93430"/>
                    </a:cubicBezTo>
                    <a:cubicBezTo>
                      <a:pt x="140112" y="138033"/>
                      <a:pt x="111399" y="186148"/>
                      <a:pt x="71814" y="186148"/>
                    </a:cubicBezTo>
                    <a:close/>
                  </a:path>
                </a:pathLst>
              </a:custGeom>
              <a:solidFill>
                <a:srgbClr val="30373B"/>
              </a:solidFill>
              <a:ln w="5573" cap="flat">
                <a:noFill/>
                <a:prstDash val="solid"/>
                <a:miter/>
              </a:ln>
            </p:spPr>
            <p:txBody>
              <a:bodyPr rtlCol="0" anchor="ctr"/>
              <a:lstStyle/>
              <a:p>
                <a:endParaRPr lang="en-GB"/>
              </a:p>
            </p:txBody>
          </p:sp>
          <p:sp>
            <p:nvSpPr>
              <p:cNvPr id="140" name="Graphic 6">
                <a:extLst>
                  <a:ext uri="{FF2B5EF4-FFF2-40B4-BE49-F238E27FC236}">
                    <a16:creationId xmlns:a16="http://schemas.microsoft.com/office/drawing/2014/main" id="{9DF74694-D977-6C32-ECBC-48DE77049F24}"/>
                  </a:ext>
                </a:extLst>
              </p:cNvPr>
              <p:cNvSpPr/>
              <p:nvPr/>
            </p:nvSpPr>
            <p:spPr>
              <a:xfrm>
                <a:off x="7898500" y="5644664"/>
                <a:ext cx="47189" cy="630128"/>
              </a:xfrm>
              <a:custGeom>
                <a:avLst/>
                <a:gdLst>
                  <a:gd name="connsiteX0" fmla="*/ 7523 w 47189"/>
                  <a:gd name="connsiteY0" fmla="*/ 629661 h 630128"/>
                  <a:gd name="connsiteX1" fmla="*/ 6966 w 47189"/>
                  <a:gd name="connsiteY1" fmla="*/ 629661 h 630128"/>
                  <a:gd name="connsiteX2" fmla="*/ -784 w 47189"/>
                  <a:gd name="connsiteY2" fmla="*/ 620740 h 630128"/>
                  <a:gd name="connsiteX3" fmla="*/ 29657 w 47189"/>
                  <a:gd name="connsiteY3" fmla="*/ 179675 h 630128"/>
                  <a:gd name="connsiteX4" fmla="*/ 24584 w 47189"/>
                  <a:gd name="connsiteY4" fmla="*/ 8177 h 630128"/>
                  <a:gd name="connsiteX5" fmla="*/ 32724 w 47189"/>
                  <a:gd name="connsiteY5" fmla="*/ -464 h 630128"/>
                  <a:gd name="connsiteX6" fmla="*/ 41310 w 47189"/>
                  <a:gd name="connsiteY6" fmla="*/ 7675 h 630128"/>
                  <a:gd name="connsiteX7" fmla="*/ 46383 w 47189"/>
                  <a:gd name="connsiteY7" fmla="*/ 179563 h 630128"/>
                  <a:gd name="connsiteX8" fmla="*/ 46383 w 47189"/>
                  <a:gd name="connsiteY8" fmla="*/ 180399 h 630128"/>
                  <a:gd name="connsiteX9" fmla="*/ 15886 w 47189"/>
                  <a:gd name="connsiteY9" fmla="*/ 621855 h 630128"/>
                  <a:gd name="connsiteX10" fmla="*/ 7523 w 47189"/>
                  <a:gd name="connsiteY10" fmla="*/ 629661 h 63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9" h="630128">
                    <a:moveTo>
                      <a:pt x="7523" y="629661"/>
                    </a:moveTo>
                    <a:lnTo>
                      <a:pt x="6966" y="629661"/>
                    </a:lnTo>
                    <a:cubicBezTo>
                      <a:pt x="2338" y="629326"/>
                      <a:pt x="-1119" y="625368"/>
                      <a:pt x="-784" y="620740"/>
                    </a:cubicBezTo>
                    <a:lnTo>
                      <a:pt x="29657" y="179675"/>
                    </a:lnTo>
                    <a:lnTo>
                      <a:pt x="24584" y="8177"/>
                    </a:lnTo>
                    <a:cubicBezTo>
                      <a:pt x="24472" y="3550"/>
                      <a:pt x="28096" y="-297"/>
                      <a:pt x="32724" y="-464"/>
                    </a:cubicBezTo>
                    <a:cubicBezTo>
                      <a:pt x="37295" y="-576"/>
                      <a:pt x="41198" y="3048"/>
                      <a:pt x="41310" y="7675"/>
                    </a:cubicBezTo>
                    <a:lnTo>
                      <a:pt x="46383" y="179563"/>
                    </a:lnTo>
                    <a:lnTo>
                      <a:pt x="46383" y="180399"/>
                    </a:lnTo>
                    <a:lnTo>
                      <a:pt x="15886" y="621855"/>
                    </a:lnTo>
                    <a:cubicBezTo>
                      <a:pt x="15607" y="626259"/>
                      <a:pt x="11928" y="629717"/>
                      <a:pt x="7523" y="629661"/>
                    </a:cubicBezTo>
                    <a:close/>
                  </a:path>
                </a:pathLst>
              </a:custGeom>
              <a:solidFill>
                <a:srgbClr val="30373B"/>
              </a:solidFill>
              <a:ln w="5573" cap="flat">
                <a:noFill/>
                <a:prstDash val="solid"/>
                <a:miter/>
              </a:ln>
            </p:spPr>
            <p:txBody>
              <a:bodyPr rtlCol="0" anchor="ctr"/>
              <a:lstStyle/>
              <a:p>
                <a:endParaRPr lang="en-GB"/>
              </a:p>
            </p:txBody>
          </p:sp>
          <p:sp>
            <p:nvSpPr>
              <p:cNvPr id="141" name="Graphic 6">
                <a:extLst>
                  <a:ext uri="{FF2B5EF4-FFF2-40B4-BE49-F238E27FC236}">
                    <a16:creationId xmlns:a16="http://schemas.microsoft.com/office/drawing/2014/main" id="{38981A45-28E8-16A8-68C2-9BEF1BCC945C}"/>
                  </a:ext>
                </a:extLst>
              </p:cNvPr>
              <p:cNvSpPr/>
              <p:nvPr/>
            </p:nvSpPr>
            <p:spPr>
              <a:xfrm>
                <a:off x="7666429" y="5644887"/>
                <a:ext cx="102747" cy="631340"/>
              </a:xfrm>
              <a:custGeom>
                <a:avLst/>
                <a:gdLst>
                  <a:gd name="connsiteX0" fmla="*/ 7548 w 102747"/>
                  <a:gd name="connsiteY0" fmla="*/ 630832 h 631340"/>
                  <a:gd name="connsiteX1" fmla="*/ 5931 w 102747"/>
                  <a:gd name="connsiteY1" fmla="*/ 630832 h 631340"/>
                  <a:gd name="connsiteX2" fmla="*/ -648 w 102747"/>
                  <a:gd name="connsiteY2" fmla="*/ 621019 h 631340"/>
                  <a:gd name="connsiteX3" fmla="*/ 78354 w 102747"/>
                  <a:gd name="connsiteY3" fmla="*/ 219929 h 631340"/>
                  <a:gd name="connsiteX4" fmla="*/ 85213 w 102747"/>
                  <a:gd name="connsiteY4" fmla="*/ 7620 h 631340"/>
                  <a:gd name="connsiteX5" fmla="*/ 93854 w 102747"/>
                  <a:gd name="connsiteY5" fmla="*/ -464 h 631340"/>
                  <a:gd name="connsiteX6" fmla="*/ 101939 w 102747"/>
                  <a:gd name="connsiteY6" fmla="*/ 8066 h 631340"/>
                  <a:gd name="connsiteX7" fmla="*/ 101939 w 102747"/>
                  <a:gd name="connsiteY7" fmla="*/ 8122 h 631340"/>
                  <a:gd name="connsiteX8" fmla="*/ 95080 w 102747"/>
                  <a:gd name="connsiteY8" fmla="*/ 221155 h 631340"/>
                  <a:gd name="connsiteX9" fmla="*/ 95080 w 102747"/>
                  <a:gd name="connsiteY9" fmla="*/ 222494 h 631340"/>
                  <a:gd name="connsiteX10" fmla="*/ 15911 w 102747"/>
                  <a:gd name="connsiteY10" fmla="*/ 624253 h 631340"/>
                  <a:gd name="connsiteX11" fmla="*/ 7548 w 102747"/>
                  <a:gd name="connsiteY11" fmla="*/ 630832 h 63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747" h="631340">
                    <a:moveTo>
                      <a:pt x="7548" y="630832"/>
                    </a:moveTo>
                    <a:cubicBezTo>
                      <a:pt x="6991" y="630888"/>
                      <a:pt x="6489" y="630888"/>
                      <a:pt x="5931" y="630832"/>
                    </a:cubicBezTo>
                    <a:cubicBezTo>
                      <a:pt x="1415" y="629940"/>
                      <a:pt x="-1540" y="625535"/>
                      <a:pt x="-648" y="621019"/>
                    </a:cubicBezTo>
                    <a:lnTo>
                      <a:pt x="78354" y="219929"/>
                    </a:lnTo>
                    <a:lnTo>
                      <a:pt x="85213" y="7620"/>
                    </a:lnTo>
                    <a:cubicBezTo>
                      <a:pt x="85379" y="2992"/>
                      <a:pt x="89227" y="-575"/>
                      <a:pt x="93854" y="-464"/>
                    </a:cubicBezTo>
                    <a:cubicBezTo>
                      <a:pt x="98426" y="-353"/>
                      <a:pt x="102050" y="3495"/>
                      <a:pt x="101939" y="8066"/>
                    </a:cubicBezTo>
                    <a:cubicBezTo>
                      <a:pt x="101939" y="8066"/>
                      <a:pt x="101939" y="8122"/>
                      <a:pt x="101939" y="8122"/>
                    </a:cubicBezTo>
                    <a:lnTo>
                      <a:pt x="95080" y="221155"/>
                    </a:lnTo>
                    <a:lnTo>
                      <a:pt x="95080" y="222494"/>
                    </a:lnTo>
                    <a:lnTo>
                      <a:pt x="15911" y="624253"/>
                    </a:lnTo>
                    <a:cubicBezTo>
                      <a:pt x="15074" y="628155"/>
                      <a:pt x="11562" y="630943"/>
                      <a:pt x="7548" y="630832"/>
                    </a:cubicBezTo>
                    <a:close/>
                  </a:path>
                </a:pathLst>
              </a:custGeom>
              <a:solidFill>
                <a:srgbClr val="30373B"/>
              </a:solidFill>
              <a:ln w="5573" cap="flat">
                <a:noFill/>
                <a:prstDash val="solid"/>
                <a:miter/>
              </a:ln>
            </p:spPr>
            <p:txBody>
              <a:bodyPr rtlCol="0" anchor="ctr"/>
              <a:lstStyle/>
              <a:p>
                <a:endParaRPr lang="en-GB"/>
              </a:p>
            </p:txBody>
          </p:sp>
          <p:sp>
            <p:nvSpPr>
              <p:cNvPr id="142" name="Graphic 6">
                <a:extLst>
                  <a:ext uri="{FF2B5EF4-FFF2-40B4-BE49-F238E27FC236}">
                    <a16:creationId xmlns:a16="http://schemas.microsoft.com/office/drawing/2014/main" id="{153E743C-FCFC-2A8A-C41A-C42669C50627}"/>
                  </a:ext>
                </a:extLst>
              </p:cNvPr>
              <p:cNvSpPr/>
              <p:nvPr/>
            </p:nvSpPr>
            <p:spPr>
              <a:xfrm>
                <a:off x="7721034" y="5898375"/>
                <a:ext cx="126894" cy="377810"/>
              </a:xfrm>
              <a:custGeom>
                <a:avLst/>
                <a:gdLst>
                  <a:gd name="connsiteX0" fmla="*/ 7582 w 126894"/>
                  <a:gd name="connsiteY0" fmla="*/ 377344 h 377810"/>
                  <a:gd name="connsiteX1" fmla="*/ 5129 w 126894"/>
                  <a:gd name="connsiteY1" fmla="*/ 377009 h 377810"/>
                  <a:gd name="connsiteX2" fmla="*/ -447 w 126894"/>
                  <a:gd name="connsiteY2" fmla="*/ 366528 h 377810"/>
                  <a:gd name="connsiteX3" fmla="*/ 109722 w 126894"/>
                  <a:gd name="connsiteY3" fmla="*/ 5469 h 377810"/>
                  <a:gd name="connsiteX4" fmla="*/ 120148 w 126894"/>
                  <a:gd name="connsiteY4" fmla="*/ -107 h 377810"/>
                  <a:gd name="connsiteX5" fmla="*/ 125723 w 126894"/>
                  <a:gd name="connsiteY5" fmla="*/ 10375 h 377810"/>
                  <a:gd name="connsiteX6" fmla="*/ 15555 w 126894"/>
                  <a:gd name="connsiteY6" fmla="*/ 371434 h 377810"/>
                  <a:gd name="connsiteX7" fmla="*/ 7582 w 126894"/>
                  <a:gd name="connsiteY7" fmla="*/ 377344 h 37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94" h="377810">
                    <a:moveTo>
                      <a:pt x="7582" y="377344"/>
                    </a:moveTo>
                    <a:cubicBezTo>
                      <a:pt x="6746" y="377344"/>
                      <a:pt x="5909" y="377233"/>
                      <a:pt x="5129" y="377009"/>
                    </a:cubicBezTo>
                    <a:cubicBezTo>
                      <a:pt x="724" y="375615"/>
                      <a:pt x="-1785" y="370988"/>
                      <a:pt x="-447" y="366528"/>
                    </a:cubicBezTo>
                    <a:lnTo>
                      <a:pt x="109722" y="5469"/>
                    </a:lnTo>
                    <a:cubicBezTo>
                      <a:pt x="111060" y="1064"/>
                      <a:pt x="115743" y="-1445"/>
                      <a:pt x="120148" y="-107"/>
                    </a:cubicBezTo>
                    <a:cubicBezTo>
                      <a:pt x="124609" y="1287"/>
                      <a:pt x="127061" y="5970"/>
                      <a:pt x="125723" y="10375"/>
                    </a:cubicBezTo>
                    <a:lnTo>
                      <a:pt x="15555" y="371434"/>
                    </a:lnTo>
                    <a:cubicBezTo>
                      <a:pt x="14496" y="374946"/>
                      <a:pt x="11262" y="377344"/>
                      <a:pt x="7582" y="377344"/>
                    </a:cubicBezTo>
                    <a:close/>
                  </a:path>
                </a:pathLst>
              </a:custGeom>
              <a:solidFill>
                <a:srgbClr val="30373B"/>
              </a:solidFill>
              <a:ln w="5573" cap="flat">
                <a:noFill/>
                <a:prstDash val="solid"/>
                <a:miter/>
              </a:ln>
            </p:spPr>
            <p:txBody>
              <a:bodyPr rtlCol="0" anchor="ctr"/>
              <a:lstStyle/>
              <a:p>
                <a:endParaRPr lang="en-GB"/>
              </a:p>
            </p:txBody>
          </p:sp>
          <p:sp>
            <p:nvSpPr>
              <p:cNvPr id="143" name="Graphic 6">
                <a:extLst>
                  <a:ext uri="{FF2B5EF4-FFF2-40B4-BE49-F238E27FC236}">
                    <a16:creationId xmlns:a16="http://schemas.microsoft.com/office/drawing/2014/main" id="{F5D58B6F-BE0C-22D4-D086-9FBBB397B808}"/>
                  </a:ext>
                </a:extLst>
              </p:cNvPr>
              <p:cNvSpPr/>
              <p:nvPr/>
            </p:nvSpPr>
            <p:spPr>
              <a:xfrm>
                <a:off x="7831226" y="5898400"/>
                <a:ext cx="23698" cy="376392"/>
              </a:xfrm>
              <a:custGeom>
                <a:avLst/>
                <a:gdLst>
                  <a:gd name="connsiteX0" fmla="*/ 14528 w 23698"/>
                  <a:gd name="connsiteY0" fmla="*/ 375925 h 376392"/>
                  <a:gd name="connsiteX1" fmla="*/ 6165 w 23698"/>
                  <a:gd name="connsiteY1" fmla="*/ 367729 h 376392"/>
                  <a:gd name="connsiteX2" fmla="*/ -804 w 23698"/>
                  <a:gd name="connsiteY2" fmla="*/ 8064 h 376392"/>
                  <a:gd name="connsiteX3" fmla="*/ 7391 w 23698"/>
                  <a:gd name="connsiteY3" fmla="*/ -466 h 376392"/>
                  <a:gd name="connsiteX4" fmla="*/ 7391 w 23698"/>
                  <a:gd name="connsiteY4" fmla="*/ -466 h 376392"/>
                  <a:gd name="connsiteX5" fmla="*/ 15922 w 23698"/>
                  <a:gd name="connsiteY5" fmla="*/ 7729 h 376392"/>
                  <a:gd name="connsiteX6" fmla="*/ 22891 w 23698"/>
                  <a:gd name="connsiteY6" fmla="*/ 367395 h 376392"/>
                  <a:gd name="connsiteX7" fmla="*/ 14639 w 23698"/>
                  <a:gd name="connsiteY7" fmla="*/ 375925 h 37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8" h="376392">
                    <a:moveTo>
                      <a:pt x="14528" y="375925"/>
                    </a:moveTo>
                    <a:cubicBezTo>
                      <a:pt x="9956" y="375981"/>
                      <a:pt x="6220" y="372301"/>
                      <a:pt x="6165" y="367729"/>
                    </a:cubicBezTo>
                    <a:lnTo>
                      <a:pt x="-804" y="8064"/>
                    </a:lnTo>
                    <a:cubicBezTo>
                      <a:pt x="-916" y="3436"/>
                      <a:pt x="2763" y="-355"/>
                      <a:pt x="7391" y="-466"/>
                    </a:cubicBezTo>
                    <a:cubicBezTo>
                      <a:pt x="7391" y="-466"/>
                      <a:pt x="7391" y="-466"/>
                      <a:pt x="7391" y="-466"/>
                    </a:cubicBezTo>
                    <a:cubicBezTo>
                      <a:pt x="11963" y="-522"/>
                      <a:pt x="15754" y="3157"/>
                      <a:pt x="15922" y="7729"/>
                    </a:cubicBezTo>
                    <a:lnTo>
                      <a:pt x="22891" y="367395"/>
                    </a:lnTo>
                    <a:cubicBezTo>
                      <a:pt x="22946" y="372022"/>
                      <a:pt x="19267" y="375813"/>
                      <a:pt x="14639" y="375925"/>
                    </a:cubicBezTo>
                    <a:close/>
                  </a:path>
                </a:pathLst>
              </a:custGeom>
              <a:solidFill>
                <a:srgbClr val="30373B"/>
              </a:solidFill>
              <a:ln w="5573" cap="flat">
                <a:noFill/>
                <a:prstDash val="solid"/>
                <a:miter/>
              </a:ln>
            </p:spPr>
            <p:txBody>
              <a:bodyPr rtlCol="0" anchor="ctr"/>
              <a:lstStyle/>
              <a:p>
                <a:endParaRPr lang="en-GB"/>
              </a:p>
            </p:txBody>
          </p:sp>
          <p:sp>
            <p:nvSpPr>
              <p:cNvPr id="144" name="Graphic 6">
                <a:extLst>
                  <a:ext uri="{FF2B5EF4-FFF2-40B4-BE49-F238E27FC236}">
                    <a16:creationId xmlns:a16="http://schemas.microsoft.com/office/drawing/2014/main" id="{416F12BD-2951-1CE6-DCFC-380B53097E9A}"/>
                  </a:ext>
                </a:extLst>
              </p:cNvPr>
              <p:cNvSpPr/>
              <p:nvPr/>
            </p:nvSpPr>
            <p:spPr>
              <a:xfrm>
                <a:off x="7566210" y="5240663"/>
                <a:ext cx="491907" cy="365674"/>
              </a:xfrm>
              <a:custGeom>
                <a:avLst/>
                <a:gdLst>
                  <a:gd name="connsiteX0" fmla="*/ 325094 w 491907"/>
                  <a:gd name="connsiteY0" fmla="*/ 365179 h 365674"/>
                  <a:gd name="connsiteX1" fmla="*/ 233101 w 491907"/>
                  <a:gd name="connsiteY1" fmla="*/ 365179 h 365674"/>
                  <a:gd name="connsiteX2" fmla="*/ -784 w 491907"/>
                  <a:gd name="connsiteY2" fmla="*/ 70243 h 365674"/>
                  <a:gd name="connsiteX3" fmla="*/ 6966 w 491907"/>
                  <a:gd name="connsiteY3" fmla="*/ 61267 h 365674"/>
                  <a:gd name="connsiteX4" fmla="*/ 15942 w 491907"/>
                  <a:gd name="connsiteY4" fmla="*/ 69017 h 365674"/>
                  <a:gd name="connsiteX5" fmla="*/ 233380 w 491907"/>
                  <a:gd name="connsiteY5" fmla="*/ 348453 h 365674"/>
                  <a:gd name="connsiteX6" fmla="*/ 325373 w 491907"/>
                  <a:gd name="connsiteY6" fmla="*/ 348453 h 365674"/>
                  <a:gd name="connsiteX7" fmla="*/ 443013 w 491907"/>
                  <a:gd name="connsiteY7" fmla="*/ 288685 h 365674"/>
                  <a:gd name="connsiteX8" fmla="*/ 439946 w 491907"/>
                  <a:gd name="connsiteY8" fmla="*/ 10921 h 365674"/>
                  <a:gd name="connsiteX9" fmla="*/ 444741 w 491907"/>
                  <a:gd name="connsiteY9" fmla="*/ 105 h 365674"/>
                  <a:gd name="connsiteX10" fmla="*/ 455557 w 491907"/>
                  <a:gd name="connsiteY10" fmla="*/ 4845 h 365674"/>
                  <a:gd name="connsiteX11" fmla="*/ 455613 w 491907"/>
                  <a:gd name="connsiteY11" fmla="*/ 5067 h 365674"/>
                  <a:gd name="connsiteX12" fmla="*/ 456728 w 491907"/>
                  <a:gd name="connsiteY12" fmla="*/ 298219 h 365674"/>
                  <a:gd name="connsiteX13" fmla="*/ 325094 w 491907"/>
                  <a:gd name="connsiteY13" fmla="*/ 365179 h 36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907" h="365674">
                    <a:moveTo>
                      <a:pt x="325094" y="365179"/>
                    </a:moveTo>
                    <a:lnTo>
                      <a:pt x="233101" y="365179"/>
                    </a:lnTo>
                    <a:cubicBezTo>
                      <a:pt x="90484" y="365179"/>
                      <a:pt x="13935" y="268725"/>
                      <a:pt x="-784" y="70243"/>
                    </a:cubicBezTo>
                    <a:cubicBezTo>
                      <a:pt x="-1119" y="65616"/>
                      <a:pt x="2338" y="61601"/>
                      <a:pt x="6966" y="61267"/>
                    </a:cubicBezTo>
                    <a:cubicBezTo>
                      <a:pt x="11593" y="60932"/>
                      <a:pt x="15607" y="64389"/>
                      <a:pt x="15942" y="69017"/>
                    </a:cubicBezTo>
                    <a:cubicBezTo>
                      <a:pt x="29936" y="257073"/>
                      <a:pt x="100966" y="348453"/>
                      <a:pt x="233380" y="348453"/>
                    </a:cubicBezTo>
                    <a:lnTo>
                      <a:pt x="325373" y="348453"/>
                    </a:lnTo>
                    <a:cubicBezTo>
                      <a:pt x="372095" y="349345"/>
                      <a:pt x="416195" y="326932"/>
                      <a:pt x="443013" y="288685"/>
                    </a:cubicBezTo>
                    <a:cubicBezTo>
                      <a:pt x="485274" y="227747"/>
                      <a:pt x="484159" y="129119"/>
                      <a:pt x="439946" y="10921"/>
                    </a:cubicBezTo>
                    <a:cubicBezTo>
                      <a:pt x="438274" y="6629"/>
                      <a:pt x="440392" y="1778"/>
                      <a:pt x="444741" y="105"/>
                    </a:cubicBezTo>
                    <a:cubicBezTo>
                      <a:pt x="449034" y="-1567"/>
                      <a:pt x="453884" y="551"/>
                      <a:pt x="455557" y="4845"/>
                    </a:cubicBezTo>
                    <a:cubicBezTo>
                      <a:pt x="455557" y="4956"/>
                      <a:pt x="455613" y="5012"/>
                      <a:pt x="455613" y="5067"/>
                    </a:cubicBezTo>
                    <a:cubicBezTo>
                      <a:pt x="514823" y="163295"/>
                      <a:pt x="489065" y="251832"/>
                      <a:pt x="456728" y="298219"/>
                    </a:cubicBezTo>
                    <a:cubicBezTo>
                      <a:pt x="426732" y="341093"/>
                      <a:pt x="377391" y="366182"/>
                      <a:pt x="325094" y="365179"/>
                    </a:cubicBezTo>
                    <a:close/>
                  </a:path>
                </a:pathLst>
              </a:custGeom>
              <a:solidFill>
                <a:srgbClr val="30373B"/>
              </a:solidFill>
              <a:ln w="5573" cap="flat">
                <a:noFill/>
                <a:prstDash val="solid"/>
                <a:miter/>
              </a:ln>
            </p:spPr>
            <p:txBody>
              <a:bodyPr rtlCol="0" anchor="ctr"/>
              <a:lstStyle/>
              <a:p>
                <a:endParaRPr lang="en-GB"/>
              </a:p>
            </p:txBody>
          </p:sp>
          <p:sp>
            <p:nvSpPr>
              <p:cNvPr id="145" name="Graphic 6">
                <a:extLst>
                  <a:ext uri="{FF2B5EF4-FFF2-40B4-BE49-F238E27FC236}">
                    <a16:creationId xmlns:a16="http://schemas.microsoft.com/office/drawing/2014/main" id="{0964D3E6-C939-4DAC-45BF-65928CCF393B}"/>
                  </a:ext>
                </a:extLst>
              </p:cNvPr>
              <p:cNvSpPr/>
              <p:nvPr/>
            </p:nvSpPr>
            <p:spPr>
              <a:xfrm>
                <a:off x="7772825" y="5419702"/>
                <a:ext cx="145591" cy="186606"/>
              </a:xfrm>
              <a:custGeom>
                <a:avLst/>
                <a:gdLst>
                  <a:gd name="connsiteX0" fmla="*/ 71869 w 145591"/>
                  <a:gd name="connsiteY0" fmla="*/ 186140 h 186606"/>
                  <a:gd name="connsiteX1" fmla="*/ 63506 w 145591"/>
                  <a:gd name="connsiteY1" fmla="*/ 177777 h 186606"/>
                  <a:gd name="connsiteX2" fmla="*/ 71869 w 145591"/>
                  <a:gd name="connsiteY2" fmla="*/ 169414 h 186606"/>
                  <a:gd name="connsiteX3" fmla="*/ 127622 w 145591"/>
                  <a:gd name="connsiteY3" fmla="*/ 91972 h 186606"/>
                  <a:gd name="connsiteX4" fmla="*/ 111789 w 145591"/>
                  <a:gd name="connsiteY4" fmla="*/ 31926 h 186606"/>
                  <a:gd name="connsiteX5" fmla="*/ 32228 w 145591"/>
                  <a:gd name="connsiteY5" fmla="*/ 31926 h 186606"/>
                  <a:gd name="connsiteX6" fmla="*/ 16395 w 145591"/>
                  <a:gd name="connsiteY6" fmla="*/ 91972 h 186606"/>
                  <a:gd name="connsiteX7" fmla="*/ 25817 w 145591"/>
                  <a:gd name="connsiteY7" fmla="*/ 129494 h 186606"/>
                  <a:gd name="connsiteX8" fmla="*/ 21357 w 145591"/>
                  <a:gd name="connsiteY8" fmla="*/ 140422 h 186606"/>
                  <a:gd name="connsiteX9" fmla="*/ 10540 w 145591"/>
                  <a:gd name="connsiteY9" fmla="*/ 136296 h 186606"/>
                  <a:gd name="connsiteX10" fmla="*/ -276 w 145591"/>
                  <a:gd name="connsiteY10" fmla="*/ 93422 h 186606"/>
                  <a:gd name="connsiteX11" fmla="*/ 19907 w 145591"/>
                  <a:gd name="connsiteY11" fmla="*/ 20942 h 186606"/>
                  <a:gd name="connsiteX12" fmla="*/ 124110 w 145591"/>
                  <a:gd name="connsiteY12" fmla="*/ 20942 h 186606"/>
                  <a:gd name="connsiteX13" fmla="*/ 144237 w 145591"/>
                  <a:gd name="connsiteY13" fmla="*/ 93422 h 186606"/>
                  <a:gd name="connsiteX14" fmla="*/ 71869 w 145591"/>
                  <a:gd name="connsiteY14" fmla="*/ 186140 h 18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91" h="186606">
                    <a:moveTo>
                      <a:pt x="71869" y="186140"/>
                    </a:moveTo>
                    <a:cubicBezTo>
                      <a:pt x="67242" y="186140"/>
                      <a:pt x="63506" y="182404"/>
                      <a:pt x="63506" y="177777"/>
                    </a:cubicBezTo>
                    <a:cubicBezTo>
                      <a:pt x="63506" y="173149"/>
                      <a:pt x="67242" y="169414"/>
                      <a:pt x="71869" y="169414"/>
                    </a:cubicBezTo>
                    <a:cubicBezTo>
                      <a:pt x="92331" y="169414"/>
                      <a:pt x="123051" y="142484"/>
                      <a:pt x="127622" y="91972"/>
                    </a:cubicBezTo>
                    <a:cubicBezTo>
                      <a:pt x="129797" y="66827"/>
                      <a:pt x="124221" y="45474"/>
                      <a:pt x="111789" y="31926"/>
                    </a:cubicBezTo>
                    <a:cubicBezTo>
                      <a:pt x="89543" y="10684"/>
                      <a:pt x="54474" y="10684"/>
                      <a:pt x="32228" y="31926"/>
                    </a:cubicBezTo>
                    <a:cubicBezTo>
                      <a:pt x="19795" y="45474"/>
                      <a:pt x="14220" y="66827"/>
                      <a:pt x="16395" y="91972"/>
                    </a:cubicBezTo>
                    <a:cubicBezTo>
                      <a:pt x="17454" y="104907"/>
                      <a:pt x="20632" y="117563"/>
                      <a:pt x="25817" y="129494"/>
                    </a:cubicBezTo>
                    <a:cubicBezTo>
                      <a:pt x="27601" y="133732"/>
                      <a:pt x="25593" y="138638"/>
                      <a:pt x="21357" y="140422"/>
                    </a:cubicBezTo>
                    <a:cubicBezTo>
                      <a:pt x="17230" y="142206"/>
                      <a:pt x="12436" y="140366"/>
                      <a:pt x="10540" y="136296"/>
                    </a:cubicBezTo>
                    <a:cubicBezTo>
                      <a:pt x="4631" y="122692"/>
                      <a:pt x="951" y="108197"/>
                      <a:pt x="-276" y="93422"/>
                    </a:cubicBezTo>
                    <a:cubicBezTo>
                      <a:pt x="-2897" y="63538"/>
                      <a:pt x="4240" y="37668"/>
                      <a:pt x="19907" y="20942"/>
                    </a:cubicBezTo>
                    <a:cubicBezTo>
                      <a:pt x="48787" y="-7603"/>
                      <a:pt x="95230" y="-7603"/>
                      <a:pt x="124110" y="20942"/>
                    </a:cubicBezTo>
                    <a:cubicBezTo>
                      <a:pt x="139721" y="38003"/>
                      <a:pt x="146913" y="63817"/>
                      <a:pt x="144237" y="93422"/>
                    </a:cubicBezTo>
                    <a:cubicBezTo>
                      <a:pt x="140223" y="138025"/>
                      <a:pt x="111454" y="186140"/>
                      <a:pt x="71869" y="186140"/>
                    </a:cubicBezTo>
                    <a:close/>
                  </a:path>
                </a:pathLst>
              </a:custGeom>
              <a:solidFill>
                <a:srgbClr val="30373B"/>
              </a:solidFill>
              <a:ln w="5573" cap="flat">
                <a:noFill/>
                <a:prstDash val="solid"/>
                <a:miter/>
              </a:ln>
            </p:spPr>
            <p:txBody>
              <a:bodyPr rtlCol="0" anchor="ctr"/>
              <a:lstStyle/>
              <a:p>
                <a:endParaRPr lang="en-GB"/>
              </a:p>
            </p:txBody>
          </p:sp>
          <p:sp>
            <p:nvSpPr>
              <p:cNvPr id="146" name="Graphic 6">
                <a:extLst>
                  <a:ext uri="{FF2B5EF4-FFF2-40B4-BE49-F238E27FC236}">
                    <a16:creationId xmlns:a16="http://schemas.microsoft.com/office/drawing/2014/main" id="{AFC62D7A-80DF-C129-7E1A-8968FB8E0F6B}"/>
                  </a:ext>
                </a:extLst>
              </p:cNvPr>
              <p:cNvSpPr/>
              <p:nvPr/>
            </p:nvSpPr>
            <p:spPr>
              <a:xfrm>
                <a:off x="5239414" y="5623084"/>
                <a:ext cx="64012" cy="416150"/>
              </a:xfrm>
              <a:custGeom>
                <a:avLst/>
                <a:gdLst>
                  <a:gd name="connsiteX0" fmla="*/ 7561 w 64012"/>
                  <a:gd name="connsiteY0" fmla="*/ 415683 h 416150"/>
                  <a:gd name="connsiteX1" fmla="*/ 6558 w 64012"/>
                  <a:gd name="connsiteY1" fmla="*/ 415683 h 416150"/>
                  <a:gd name="connsiteX2" fmla="*/ -752 w 64012"/>
                  <a:gd name="connsiteY2" fmla="*/ 406483 h 416150"/>
                  <a:gd name="connsiteX3" fmla="*/ -746 w 64012"/>
                  <a:gd name="connsiteY3" fmla="*/ 406427 h 416150"/>
                  <a:gd name="connsiteX4" fmla="*/ 46422 w 64012"/>
                  <a:gd name="connsiteY4" fmla="*/ 6954 h 416150"/>
                  <a:gd name="connsiteX5" fmla="*/ 55760 w 64012"/>
                  <a:gd name="connsiteY5" fmla="*/ -405 h 416150"/>
                  <a:gd name="connsiteX6" fmla="*/ 63148 w 64012"/>
                  <a:gd name="connsiteY6" fmla="*/ 8905 h 416150"/>
                  <a:gd name="connsiteX7" fmla="*/ 15980 w 64012"/>
                  <a:gd name="connsiteY7" fmla="*/ 408379 h 416150"/>
                  <a:gd name="connsiteX8" fmla="*/ 7561 w 64012"/>
                  <a:gd name="connsiteY8" fmla="*/ 415683 h 4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12" h="416150">
                    <a:moveTo>
                      <a:pt x="7561" y="415683"/>
                    </a:moveTo>
                    <a:lnTo>
                      <a:pt x="6558" y="415683"/>
                    </a:lnTo>
                    <a:cubicBezTo>
                      <a:pt x="1997" y="415180"/>
                      <a:pt x="-1276" y="411055"/>
                      <a:pt x="-752" y="406483"/>
                    </a:cubicBezTo>
                    <a:cubicBezTo>
                      <a:pt x="-752" y="406483"/>
                      <a:pt x="-746" y="406427"/>
                      <a:pt x="-746" y="406427"/>
                    </a:cubicBezTo>
                    <a:lnTo>
                      <a:pt x="46422" y="6954"/>
                    </a:lnTo>
                    <a:cubicBezTo>
                      <a:pt x="46962" y="2327"/>
                      <a:pt x="51144" y="-963"/>
                      <a:pt x="55760" y="-405"/>
                    </a:cubicBezTo>
                    <a:cubicBezTo>
                      <a:pt x="60377" y="96"/>
                      <a:pt x="63688" y="4278"/>
                      <a:pt x="63148" y="8905"/>
                    </a:cubicBezTo>
                    <a:lnTo>
                      <a:pt x="15980" y="408379"/>
                    </a:lnTo>
                    <a:cubicBezTo>
                      <a:pt x="15440" y="412616"/>
                      <a:pt x="11815" y="415738"/>
                      <a:pt x="7561" y="415683"/>
                    </a:cubicBezTo>
                    <a:close/>
                  </a:path>
                </a:pathLst>
              </a:custGeom>
              <a:solidFill>
                <a:srgbClr val="30373B"/>
              </a:solidFill>
              <a:ln w="5573" cap="flat">
                <a:noFill/>
                <a:prstDash val="solid"/>
                <a:miter/>
              </a:ln>
            </p:spPr>
            <p:txBody>
              <a:bodyPr rtlCol="0" anchor="ctr"/>
              <a:lstStyle/>
              <a:p>
                <a:endParaRPr lang="en-GB"/>
              </a:p>
            </p:txBody>
          </p:sp>
          <p:sp>
            <p:nvSpPr>
              <p:cNvPr id="147" name="Graphic 6">
                <a:extLst>
                  <a:ext uri="{FF2B5EF4-FFF2-40B4-BE49-F238E27FC236}">
                    <a16:creationId xmlns:a16="http://schemas.microsoft.com/office/drawing/2014/main" id="{A152EACF-9EAB-FAE0-D5E5-9B760435190C}"/>
                  </a:ext>
                </a:extLst>
              </p:cNvPr>
              <p:cNvSpPr/>
              <p:nvPr/>
            </p:nvSpPr>
            <p:spPr>
              <a:xfrm>
                <a:off x="5438052" y="5485927"/>
                <a:ext cx="46961" cy="551856"/>
              </a:xfrm>
              <a:custGeom>
                <a:avLst/>
                <a:gdLst>
                  <a:gd name="connsiteX0" fmla="*/ 7573 w 46961"/>
                  <a:gd name="connsiteY0" fmla="*/ 551390 h 551856"/>
                  <a:gd name="connsiteX1" fmla="*/ 6960 w 46961"/>
                  <a:gd name="connsiteY1" fmla="*/ 551390 h 551856"/>
                  <a:gd name="connsiteX2" fmla="*/ -790 w 46961"/>
                  <a:gd name="connsiteY2" fmla="*/ 542414 h 551856"/>
                  <a:gd name="connsiteX3" fmla="*/ 29429 w 46961"/>
                  <a:gd name="connsiteY3" fmla="*/ 122089 h 551856"/>
                  <a:gd name="connsiteX4" fmla="*/ 24411 w 46961"/>
                  <a:gd name="connsiteY4" fmla="*/ 8296 h 551856"/>
                  <a:gd name="connsiteX5" fmla="*/ 32384 w 46961"/>
                  <a:gd name="connsiteY5" fmla="*/ -457 h 551856"/>
                  <a:gd name="connsiteX6" fmla="*/ 41137 w 46961"/>
                  <a:gd name="connsiteY6" fmla="*/ 7515 h 551856"/>
                  <a:gd name="connsiteX7" fmla="*/ 46155 w 46961"/>
                  <a:gd name="connsiteY7" fmla="*/ 121810 h 551856"/>
                  <a:gd name="connsiteX8" fmla="*/ 46155 w 46961"/>
                  <a:gd name="connsiteY8" fmla="*/ 122758 h 551856"/>
                  <a:gd name="connsiteX9" fmla="*/ 15936 w 46961"/>
                  <a:gd name="connsiteY9" fmla="*/ 543640 h 551856"/>
                  <a:gd name="connsiteX10" fmla="*/ 7573 w 46961"/>
                  <a:gd name="connsiteY10" fmla="*/ 551390 h 55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961" h="551856">
                    <a:moveTo>
                      <a:pt x="7573" y="551390"/>
                    </a:moveTo>
                    <a:lnTo>
                      <a:pt x="6960" y="551390"/>
                    </a:lnTo>
                    <a:cubicBezTo>
                      <a:pt x="2366" y="551000"/>
                      <a:pt x="-1080" y="547041"/>
                      <a:pt x="-790" y="542414"/>
                    </a:cubicBezTo>
                    <a:lnTo>
                      <a:pt x="29429" y="122089"/>
                    </a:lnTo>
                    <a:lnTo>
                      <a:pt x="24411" y="8296"/>
                    </a:lnTo>
                    <a:cubicBezTo>
                      <a:pt x="24194" y="3669"/>
                      <a:pt x="27767" y="-234"/>
                      <a:pt x="32384" y="-457"/>
                    </a:cubicBezTo>
                    <a:cubicBezTo>
                      <a:pt x="37000" y="-680"/>
                      <a:pt x="40920" y="2888"/>
                      <a:pt x="41137" y="7515"/>
                    </a:cubicBezTo>
                    <a:lnTo>
                      <a:pt x="46155" y="121810"/>
                    </a:lnTo>
                    <a:lnTo>
                      <a:pt x="46155" y="122758"/>
                    </a:lnTo>
                    <a:lnTo>
                      <a:pt x="15936" y="543640"/>
                    </a:lnTo>
                    <a:cubicBezTo>
                      <a:pt x="15613" y="548044"/>
                      <a:pt x="11961" y="551390"/>
                      <a:pt x="7573" y="551390"/>
                    </a:cubicBezTo>
                    <a:close/>
                  </a:path>
                </a:pathLst>
              </a:custGeom>
              <a:solidFill>
                <a:srgbClr val="30373B"/>
              </a:solidFill>
              <a:ln w="5573" cap="flat">
                <a:noFill/>
                <a:prstDash val="solid"/>
                <a:miter/>
              </a:ln>
            </p:spPr>
            <p:txBody>
              <a:bodyPr rtlCol="0" anchor="ctr"/>
              <a:lstStyle/>
              <a:p>
                <a:endParaRPr lang="en-GB"/>
              </a:p>
            </p:txBody>
          </p:sp>
          <p:sp>
            <p:nvSpPr>
              <p:cNvPr id="148" name="Graphic 6">
                <a:extLst>
                  <a:ext uri="{FF2B5EF4-FFF2-40B4-BE49-F238E27FC236}">
                    <a16:creationId xmlns:a16="http://schemas.microsoft.com/office/drawing/2014/main" id="{ACEA9D10-A952-4615-9E48-43E3C94883C8}"/>
                  </a:ext>
                </a:extLst>
              </p:cNvPr>
              <p:cNvSpPr/>
              <p:nvPr/>
            </p:nvSpPr>
            <p:spPr>
              <a:xfrm>
                <a:off x="5292744" y="5682686"/>
                <a:ext cx="102283" cy="356589"/>
              </a:xfrm>
              <a:custGeom>
                <a:avLst/>
                <a:gdLst>
                  <a:gd name="connsiteX0" fmla="*/ 7532 w 102283"/>
                  <a:gd name="connsiteY0" fmla="*/ 356081 h 356589"/>
                  <a:gd name="connsiteX1" fmla="*/ 5525 w 102283"/>
                  <a:gd name="connsiteY1" fmla="*/ 356081 h 356589"/>
                  <a:gd name="connsiteX2" fmla="*/ -552 w 102283"/>
                  <a:gd name="connsiteY2" fmla="*/ 345934 h 356589"/>
                  <a:gd name="connsiteX3" fmla="*/ -552 w 102283"/>
                  <a:gd name="connsiteY3" fmla="*/ 345934 h 356589"/>
                  <a:gd name="connsiteX4" fmla="*/ 84973 w 102283"/>
                  <a:gd name="connsiteY4" fmla="*/ 5838 h 356589"/>
                  <a:gd name="connsiteX5" fmla="*/ 94117 w 102283"/>
                  <a:gd name="connsiteY5" fmla="*/ -407 h 356589"/>
                  <a:gd name="connsiteX6" fmla="*/ 101476 w 102283"/>
                  <a:gd name="connsiteY6" fmla="*/ 7901 h 356589"/>
                  <a:gd name="connsiteX7" fmla="*/ 101476 w 102283"/>
                  <a:gd name="connsiteY7" fmla="*/ 347662 h 356589"/>
                  <a:gd name="connsiteX8" fmla="*/ 93113 w 102283"/>
                  <a:gd name="connsiteY8" fmla="*/ 356025 h 356589"/>
                  <a:gd name="connsiteX9" fmla="*/ 84750 w 102283"/>
                  <a:gd name="connsiteY9" fmla="*/ 347662 h 356589"/>
                  <a:gd name="connsiteX10" fmla="*/ 84750 w 102283"/>
                  <a:gd name="connsiteY10" fmla="*/ 75362 h 356589"/>
                  <a:gd name="connsiteX11" fmla="*/ 15672 w 102283"/>
                  <a:gd name="connsiteY11" fmla="*/ 349725 h 356589"/>
                  <a:gd name="connsiteX12" fmla="*/ 7532 w 102283"/>
                  <a:gd name="connsiteY12" fmla="*/ 356081 h 35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83" h="356589">
                    <a:moveTo>
                      <a:pt x="7532" y="356081"/>
                    </a:moveTo>
                    <a:cubicBezTo>
                      <a:pt x="6863" y="356137"/>
                      <a:pt x="6194" y="356137"/>
                      <a:pt x="5525" y="356081"/>
                    </a:cubicBezTo>
                    <a:cubicBezTo>
                      <a:pt x="1042" y="354966"/>
                      <a:pt x="-1678" y="350394"/>
                      <a:pt x="-552" y="345934"/>
                    </a:cubicBezTo>
                    <a:cubicBezTo>
                      <a:pt x="-552" y="345934"/>
                      <a:pt x="-552" y="345934"/>
                      <a:pt x="-552" y="345934"/>
                    </a:cubicBezTo>
                    <a:lnTo>
                      <a:pt x="84973" y="5838"/>
                    </a:lnTo>
                    <a:cubicBezTo>
                      <a:pt x="86033" y="1768"/>
                      <a:pt x="89936" y="-908"/>
                      <a:pt x="94117" y="-407"/>
                    </a:cubicBezTo>
                    <a:cubicBezTo>
                      <a:pt x="98332" y="95"/>
                      <a:pt x="101504" y="3663"/>
                      <a:pt x="101476" y="7901"/>
                    </a:cubicBezTo>
                    <a:lnTo>
                      <a:pt x="101476" y="347662"/>
                    </a:lnTo>
                    <a:cubicBezTo>
                      <a:pt x="101476" y="352290"/>
                      <a:pt x="97730" y="356025"/>
                      <a:pt x="93113" y="356025"/>
                    </a:cubicBezTo>
                    <a:cubicBezTo>
                      <a:pt x="88497" y="356025"/>
                      <a:pt x="84750" y="352290"/>
                      <a:pt x="84750" y="347662"/>
                    </a:cubicBezTo>
                    <a:lnTo>
                      <a:pt x="84750" y="75362"/>
                    </a:lnTo>
                    <a:lnTo>
                      <a:pt x="15672" y="349725"/>
                    </a:lnTo>
                    <a:cubicBezTo>
                      <a:pt x="14746" y="353460"/>
                      <a:pt x="11384" y="356081"/>
                      <a:pt x="7532" y="356081"/>
                    </a:cubicBezTo>
                    <a:close/>
                  </a:path>
                </a:pathLst>
              </a:custGeom>
              <a:solidFill>
                <a:srgbClr val="30373B"/>
              </a:solidFill>
              <a:ln w="5573" cap="flat">
                <a:noFill/>
                <a:prstDash val="solid"/>
                <a:miter/>
              </a:ln>
            </p:spPr>
            <p:txBody>
              <a:bodyPr rtlCol="0" anchor="ctr"/>
              <a:lstStyle/>
              <a:p>
                <a:endParaRPr lang="en-GB"/>
              </a:p>
            </p:txBody>
          </p:sp>
          <p:sp>
            <p:nvSpPr>
              <p:cNvPr id="149" name="Graphic 6">
                <a:extLst>
                  <a:ext uri="{FF2B5EF4-FFF2-40B4-BE49-F238E27FC236}">
                    <a16:creationId xmlns:a16="http://schemas.microsoft.com/office/drawing/2014/main" id="{DD820316-7EB2-0F60-46A9-04D1C3160273}"/>
                  </a:ext>
                </a:extLst>
              </p:cNvPr>
              <p:cNvSpPr/>
              <p:nvPr/>
            </p:nvSpPr>
            <p:spPr>
              <a:xfrm>
                <a:off x="5342665" y="5197150"/>
                <a:ext cx="155283" cy="171258"/>
              </a:xfrm>
              <a:custGeom>
                <a:avLst/>
                <a:gdLst>
                  <a:gd name="connsiteX0" fmla="*/ 51110 w 155283"/>
                  <a:gd name="connsiteY0" fmla="*/ 170792 h 171258"/>
                  <a:gd name="connsiteX1" fmla="*/ 44754 w 155283"/>
                  <a:gd name="connsiteY1" fmla="*/ 170458 h 171258"/>
                  <a:gd name="connsiteX2" fmla="*/ 37255 w 155283"/>
                  <a:gd name="connsiteY2" fmla="*/ 161202 h 171258"/>
                  <a:gd name="connsiteX3" fmla="*/ 46482 w 155283"/>
                  <a:gd name="connsiteY3" fmla="*/ 153731 h 171258"/>
                  <a:gd name="connsiteX4" fmla="*/ 117791 w 155283"/>
                  <a:gd name="connsiteY4" fmla="*/ 116600 h 171258"/>
                  <a:gd name="connsiteX5" fmla="*/ 137528 w 155283"/>
                  <a:gd name="connsiteY5" fmla="*/ 59954 h 171258"/>
                  <a:gd name="connsiteX6" fmla="*/ 73857 w 155283"/>
                  <a:gd name="connsiteY6" fmla="*/ 17024 h 171258"/>
                  <a:gd name="connsiteX7" fmla="*/ 28809 w 155283"/>
                  <a:gd name="connsiteY7" fmla="*/ 56609 h 171258"/>
                  <a:gd name="connsiteX8" fmla="*/ 16041 w 155283"/>
                  <a:gd name="connsiteY8" fmla="*/ 91789 h 171258"/>
                  <a:gd name="connsiteX9" fmla="*/ 6256 w 155283"/>
                  <a:gd name="connsiteY9" fmla="*/ 98703 h 171258"/>
                  <a:gd name="connsiteX10" fmla="*/ -685 w 155283"/>
                  <a:gd name="connsiteY10" fmla="*/ 88946 h 171258"/>
                  <a:gd name="connsiteX11" fmla="*/ 13867 w 155283"/>
                  <a:gd name="connsiteY11" fmla="*/ 48525 h 171258"/>
                  <a:gd name="connsiteX12" fmla="*/ 69620 w 155283"/>
                  <a:gd name="connsiteY12" fmla="*/ 800 h 171258"/>
                  <a:gd name="connsiteX13" fmla="*/ 153752 w 155283"/>
                  <a:gd name="connsiteY13" fmla="*/ 57501 h 171258"/>
                  <a:gd name="connsiteX14" fmla="*/ 130447 w 155283"/>
                  <a:gd name="connsiteY14" fmla="*/ 127137 h 171258"/>
                  <a:gd name="connsiteX15" fmla="*/ 51110 w 155283"/>
                  <a:gd name="connsiteY15" fmla="*/ 170792 h 17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283" h="171258">
                    <a:moveTo>
                      <a:pt x="51110" y="170792"/>
                    </a:moveTo>
                    <a:cubicBezTo>
                      <a:pt x="48986" y="170792"/>
                      <a:pt x="46867" y="170680"/>
                      <a:pt x="44754" y="170458"/>
                    </a:cubicBezTo>
                    <a:cubicBezTo>
                      <a:pt x="40138" y="169955"/>
                      <a:pt x="36776" y="165830"/>
                      <a:pt x="37255" y="161202"/>
                    </a:cubicBezTo>
                    <a:cubicBezTo>
                      <a:pt x="37735" y="156631"/>
                      <a:pt x="41866" y="153230"/>
                      <a:pt x="46482" y="153731"/>
                    </a:cubicBezTo>
                    <a:cubicBezTo>
                      <a:pt x="64045" y="155515"/>
                      <a:pt x="93260" y="146874"/>
                      <a:pt x="117791" y="116600"/>
                    </a:cubicBezTo>
                    <a:cubicBezTo>
                      <a:pt x="133123" y="97643"/>
                      <a:pt x="140092" y="77572"/>
                      <a:pt x="137528" y="59954"/>
                    </a:cubicBezTo>
                    <a:cubicBezTo>
                      <a:pt x="131111" y="30963"/>
                      <a:pt x="103122" y="12107"/>
                      <a:pt x="73857" y="17024"/>
                    </a:cubicBezTo>
                    <a:cubicBezTo>
                      <a:pt x="56630" y="21206"/>
                      <a:pt x="40405" y="35255"/>
                      <a:pt x="28809" y="56609"/>
                    </a:cubicBezTo>
                    <a:cubicBezTo>
                      <a:pt x="22648" y="67537"/>
                      <a:pt x="18332" y="79468"/>
                      <a:pt x="16041" y="91789"/>
                    </a:cubicBezTo>
                    <a:cubicBezTo>
                      <a:pt x="15255" y="96417"/>
                      <a:pt x="10873" y="99539"/>
                      <a:pt x="6256" y="98703"/>
                    </a:cubicBezTo>
                    <a:cubicBezTo>
                      <a:pt x="1640" y="97922"/>
                      <a:pt x="-1471" y="93573"/>
                      <a:pt x="-685" y="88946"/>
                    </a:cubicBezTo>
                    <a:cubicBezTo>
                      <a:pt x="1908" y="74785"/>
                      <a:pt x="6819" y="61125"/>
                      <a:pt x="13867" y="48525"/>
                    </a:cubicBezTo>
                    <a:cubicBezTo>
                      <a:pt x="27972" y="22989"/>
                      <a:pt x="47765" y="6041"/>
                      <a:pt x="69620" y="800"/>
                    </a:cubicBezTo>
                    <a:cubicBezTo>
                      <a:pt x="108463" y="-6537"/>
                      <a:pt x="145980" y="18741"/>
                      <a:pt x="153752" y="57501"/>
                    </a:cubicBezTo>
                    <a:cubicBezTo>
                      <a:pt x="157097" y="79802"/>
                      <a:pt x="148790" y="104445"/>
                      <a:pt x="130447" y="127137"/>
                    </a:cubicBezTo>
                    <a:cubicBezTo>
                      <a:pt x="104633" y="159474"/>
                      <a:pt x="73634" y="170792"/>
                      <a:pt x="51110" y="170792"/>
                    </a:cubicBezTo>
                    <a:close/>
                  </a:path>
                </a:pathLst>
              </a:custGeom>
              <a:solidFill>
                <a:srgbClr val="30373B"/>
              </a:solidFill>
              <a:ln w="5573" cap="flat">
                <a:noFill/>
                <a:prstDash val="solid"/>
                <a:miter/>
              </a:ln>
            </p:spPr>
            <p:txBody>
              <a:bodyPr rtlCol="0" anchor="ctr"/>
              <a:lstStyle/>
              <a:p>
                <a:endParaRPr lang="en-GB"/>
              </a:p>
            </p:txBody>
          </p:sp>
          <p:sp>
            <p:nvSpPr>
              <p:cNvPr id="150" name="Graphic 6">
                <a:extLst>
                  <a:ext uri="{FF2B5EF4-FFF2-40B4-BE49-F238E27FC236}">
                    <a16:creationId xmlns:a16="http://schemas.microsoft.com/office/drawing/2014/main" id="{A98354E0-1BCA-1AA0-18A8-7D509B8A2B50}"/>
                  </a:ext>
                </a:extLst>
              </p:cNvPr>
              <p:cNvSpPr/>
              <p:nvPr/>
            </p:nvSpPr>
            <p:spPr>
              <a:xfrm>
                <a:off x="5254811" y="5227363"/>
                <a:ext cx="332633" cy="392326"/>
              </a:xfrm>
              <a:custGeom>
                <a:avLst/>
                <a:gdLst>
                  <a:gd name="connsiteX0" fmla="*/ 134670 w 332633"/>
                  <a:gd name="connsiteY0" fmla="*/ 391860 h 392326"/>
                  <a:gd name="connsiteX1" fmla="*/ 47806 w 332633"/>
                  <a:gd name="connsiteY1" fmla="*/ 365153 h 392326"/>
                  <a:gd name="connsiteX2" fmla="*/ -532 w 332633"/>
                  <a:gd name="connsiteY2" fmla="*/ 214619 h 392326"/>
                  <a:gd name="connsiteX3" fmla="*/ 19930 w 332633"/>
                  <a:gd name="connsiteY3" fmla="*/ 144760 h 392326"/>
                  <a:gd name="connsiteX4" fmla="*/ 100717 w 332633"/>
                  <a:gd name="connsiteY4" fmla="*/ 120954 h 392326"/>
                  <a:gd name="connsiteX5" fmla="*/ 179384 w 332633"/>
                  <a:gd name="connsiteY5" fmla="*/ 127532 h 392326"/>
                  <a:gd name="connsiteX6" fmla="*/ 239486 w 332633"/>
                  <a:gd name="connsiteY6" fmla="*/ 169347 h 392326"/>
                  <a:gd name="connsiteX7" fmla="*/ 297024 w 332633"/>
                  <a:gd name="connsiteY7" fmla="*/ 189530 h 392326"/>
                  <a:gd name="connsiteX8" fmla="*/ 315032 w 332633"/>
                  <a:gd name="connsiteY8" fmla="*/ 157081 h 392326"/>
                  <a:gd name="connsiteX9" fmla="*/ 262234 w 332633"/>
                  <a:gd name="connsiteY9" fmla="*/ 71166 h 392326"/>
                  <a:gd name="connsiteX10" fmla="*/ 218300 w 332633"/>
                  <a:gd name="connsiteY10" fmla="*/ 10673 h 392326"/>
                  <a:gd name="connsiteX11" fmla="*/ 223413 w 332633"/>
                  <a:gd name="connsiteY11" fmla="*/ 24 h 392326"/>
                  <a:gd name="connsiteX12" fmla="*/ 234079 w 332633"/>
                  <a:gd name="connsiteY12" fmla="*/ 5098 h 392326"/>
                  <a:gd name="connsiteX13" fmla="*/ 234357 w 332633"/>
                  <a:gd name="connsiteY13" fmla="*/ 6101 h 392326"/>
                  <a:gd name="connsiteX14" fmla="*/ 274500 w 332633"/>
                  <a:gd name="connsiteY14" fmla="*/ 59792 h 392326"/>
                  <a:gd name="connsiteX15" fmla="*/ 331758 w 332633"/>
                  <a:gd name="connsiteY15" fmla="*/ 157974 h 392326"/>
                  <a:gd name="connsiteX16" fmla="*/ 308063 w 332633"/>
                  <a:gd name="connsiteY16" fmla="*/ 202075 h 392326"/>
                  <a:gd name="connsiteX17" fmla="*/ 227054 w 332633"/>
                  <a:gd name="connsiteY17" fmla="*/ 180610 h 392326"/>
                  <a:gd name="connsiteX18" fmla="*/ 177489 w 332633"/>
                  <a:gd name="connsiteY18" fmla="*/ 144147 h 392326"/>
                  <a:gd name="connsiteX19" fmla="*/ 99713 w 332633"/>
                  <a:gd name="connsiteY19" fmla="*/ 137679 h 392326"/>
                  <a:gd name="connsiteX20" fmla="*/ 31917 w 332633"/>
                  <a:gd name="connsiteY20" fmla="*/ 156468 h 392326"/>
                  <a:gd name="connsiteX21" fmla="*/ 16194 w 332633"/>
                  <a:gd name="connsiteY21" fmla="*/ 213671 h 392326"/>
                  <a:gd name="connsiteX22" fmla="*/ 58846 w 332633"/>
                  <a:gd name="connsiteY22" fmla="*/ 352441 h 392326"/>
                  <a:gd name="connsiteX23" fmla="*/ 153626 w 332633"/>
                  <a:gd name="connsiteY23" fmla="*/ 374353 h 392326"/>
                  <a:gd name="connsiteX24" fmla="*/ 162575 w 332633"/>
                  <a:gd name="connsiteY24" fmla="*/ 382158 h 392326"/>
                  <a:gd name="connsiteX25" fmla="*/ 154797 w 332633"/>
                  <a:gd name="connsiteY25" fmla="*/ 391079 h 392326"/>
                  <a:gd name="connsiteX26" fmla="*/ 134670 w 332633"/>
                  <a:gd name="connsiteY26" fmla="*/ 391860 h 39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2633" h="392326">
                    <a:moveTo>
                      <a:pt x="134670" y="391860"/>
                    </a:moveTo>
                    <a:cubicBezTo>
                      <a:pt x="96200" y="391860"/>
                      <a:pt x="68323" y="383217"/>
                      <a:pt x="47806" y="365153"/>
                    </a:cubicBezTo>
                    <a:cubicBezTo>
                      <a:pt x="18647" y="339451"/>
                      <a:pt x="4152" y="294458"/>
                      <a:pt x="-532" y="214619"/>
                    </a:cubicBezTo>
                    <a:cubicBezTo>
                      <a:pt x="-2316" y="183955"/>
                      <a:pt x="4597" y="160427"/>
                      <a:pt x="19930" y="144760"/>
                    </a:cubicBezTo>
                    <a:cubicBezTo>
                      <a:pt x="36656" y="127588"/>
                      <a:pt x="63975" y="119560"/>
                      <a:pt x="100717" y="120954"/>
                    </a:cubicBezTo>
                    <a:lnTo>
                      <a:pt x="179384" y="127532"/>
                    </a:lnTo>
                    <a:cubicBezTo>
                      <a:pt x="204864" y="131212"/>
                      <a:pt x="223262" y="151451"/>
                      <a:pt x="239486" y="169347"/>
                    </a:cubicBezTo>
                    <a:cubicBezTo>
                      <a:pt x="265412" y="197949"/>
                      <a:pt x="277064" y="207093"/>
                      <a:pt x="297024" y="189530"/>
                    </a:cubicBezTo>
                    <a:cubicBezTo>
                      <a:pt x="308565" y="179328"/>
                      <a:pt x="314475" y="168734"/>
                      <a:pt x="315032" y="157081"/>
                    </a:cubicBezTo>
                    <a:cubicBezTo>
                      <a:pt x="316426" y="129651"/>
                      <a:pt x="287658" y="98596"/>
                      <a:pt x="262234" y="71166"/>
                    </a:cubicBezTo>
                    <a:cubicBezTo>
                      <a:pt x="242386" y="49701"/>
                      <a:pt x="223653" y="29462"/>
                      <a:pt x="218300" y="10673"/>
                    </a:cubicBezTo>
                    <a:cubicBezTo>
                      <a:pt x="216767" y="6325"/>
                      <a:pt x="219058" y="1530"/>
                      <a:pt x="223413" y="24"/>
                    </a:cubicBezTo>
                    <a:cubicBezTo>
                      <a:pt x="227773" y="-1537"/>
                      <a:pt x="232545" y="749"/>
                      <a:pt x="234079" y="5098"/>
                    </a:cubicBezTo>
                    <a:cubicBezTo>
                      <a:pt x="234190" y="5432"/>
                      <a:pt x="234285" y="5767"/>
                      <a:pt x="234357" y="6101"/>
                    </a:cubicBezTo>
                    <a:cubicBezTo>
                      <a:pt x="238650" y="21043"/>
                      <a:pt x="256045" y="39888"/>
                      <a:pt x="274500" y="59792"/>
                    </a:cubicBezTo>
                    <a:cubicBezTo>
                      <a:pt x="302377" y="89620"/>
                      <a:pt x="333487" y="123462"/>
                      <a:pt x="331758" y="157974"/>
                    </a:cubicBezTo>
                    <a:cubicBezTo>
                      <a:pt x="330922" y="174086"/>
                      <a:pt x="322950" y="188917"/>
                      <a:pt x="308063" y="202075"/>
                    </a:cubicBezTo>
                    <a:cubicBezTo>
                      <a:pt x="273887" y="232237"/>
                      <a:pt x="247905" y="203580"/>
                      <a:pt x="227054" y="180610"/>
                    </a:cubicBezTo>
                    <a:cubicBezTo>
                      <a:pt x="212056" y="163884"/>
                      <a:pt x="196501" y="147158"/>
                      <a:pt x="177489" y="144147"/>
                    </a:cubicBezTo>
                    <a:lnTo>
                      <a:pt x="99713" y="137679"/>
                    </a:lnTo>
                    <a:cubicBezTo>
                      <a:pt x="68156" y="136453"/>
                      <a:pt x="45298" y="142809"/>
                      <a:pt x="31917" y="156468"/>
                    </a:cubicBezTo>
                    <a:cubicBezTo>
                      <a:pt x="19762" y="168790"/>
                      <a:pt x="14633" y="187523"/>
                      <a:pt x="16194" y="213671"/>
                    </a:cubicBezTo>
                    <a:cubicBezTo>
                      <a:pt x="20599" y="288492"/>
                      <a:pt x="33366" y="330029"/>
                      <a:pt x="58846" y="352441"/>
                    </a:cubicBezTo>
                    <a:cubicBezTo>
                      <a:pt x="79251" y="370394"/>
                      <a:pt x="109414" y="377363"/>
                      <a:pt x="153626" y="374353"/>
                    </a:cubicBezTo>
                    <a:cubicBezTo>
                      <a:pt x="158243" y="374018"/>
                      <a:pt x="162251" y="377531"/>
                      <a:pt x="162575" y="382158"/>
                    </a:cubicBezTo>
                    <a:cubicBezTo>
                      <a:pt x="162898" y="386730"/>
                      <a:pt x="159413" y="390744"/>
                      <a:pt x="154797" y="391079"/>
                    </a:cubicBezTo>
                    <a:cubicBezTo>
                      <a:pt x="147884" y="391636"/>
                      <a:pt x="140970" y="391860"/>
                      <a:pt x="134670" y="391860"/>
                    </a:cubicBezTo>
                    <a:close/>
                  </a:path>
                </a:pathLst>
              </a:custGeom>
              <a:solidFill>
                <a:srgbClr val="30373B"/>
              </a:solidFill>
              <a:ln w="5573" cap="flat">
                <a:noFill/>
                <a:prstDash val="solid"/>
                <a:miter/>
              </a:ln>
            </p:spPr>
            <p:txBody>
              <a:bodyPr rtlCol="0" anchor="ctr"/>
              <a:lstStyle/>
              <a:p>
                <a:endParaRPr lang="en-GB"/>
              </a:p>
            </p:txBody>
          </p:sp>
          <p:sp>
            <p:nvSpPr>
              <p:cNvPr id="151" name="Graphic 6">
                <a:extLst>
                  <a:ext uri="{FF2B5EF4-FFF2-40B4-BE49-F238E27FC236}">
                    <a16:creationId xmlns:a16="http://schemas.microsoft.com/office/drawing/2014/main" id="{D42D43AE-3699-3F60-646C-91A9B4E39A6B}"/>
                  </a:ext>
                </a:extLst>
              </p:cNvPr>
              <p:cNvSpPr/>
              <p:nvPr/>
            </p:nvSpPr>
            <p:spPr>
              <a:xfrm>
                <a:off x="7553074" y="3241807"/>
                <a:ext cx="1224846" cy="352027"/>
              </a:xfrm>
              <a:custGeom>
                <a:avLst/>
                <a:gdLst>
                  <a:gd name="connsiteX0" fmla="*/ 1153066 w 1224846"/>
                  <a:gd name="connsiteY0" fmla="*/ 351560 h 352027"/>
                  <a:gd name="connsiteX1" fmla="*/ 7556 w 1224846"/>
                  <a:gd name="connsiteY1" fmla="*/ 351560 h 352027"/>
                  <a:gd name="connsiteX2" fmla="*/ -807 w 1224846"/>
                  <a:gd name="connsiteY2" fmla="*/ 343197 h 352027"/>
                  <a:gd name="connsiteX3" fmla="*/ 7556 w 1224846"/>
                  <a:gd name="connsiteY3" fmla="*/ 334834 h 352027"/>
                  <a:gd name="connsiteX4" fmla="*/ 1153066 w 1224846"/>
                  <a:gd name="connsiteY4" fmla="*/ 334834 h 352027"/>
                  <a:gd name="connsiteX5" fmla="*/ 1207314 w 1224846"/>
                  <a:gd name="connsiteY5" fmla="*/ 280586 h 352027"/>
                  <a:gd name="connsiteX6" fmla="*/ 1207314 w 1224846"/>
                  <a:gd name="connsiteY6" fmla="*/ 7896 h 352027"/>
                  <a:gd name="connsiteX7" fmla="*/ 1215677 w 1224846"/>
                  <a:gd name="connsiteY7" fmla="*/ -467 h 352027"/>
                  <a:gd name="connsiteX8" fmla="*/ 1224040 w 1224846"/>
                  <a:gd name="connsiteY8" fmla="*/ 7896 h 352027"/>
                  <a:gd name="connsiteX9" fmla="*/ 1224040 w 1224846"/>
                  <a:gd name="connsiteY9" fmla="*/ 280586 h 352027"/>
                  <a:gd name="connsiteX10" fmla="*/ 1153066 w 1224846"/>
                  <a:gd name="connsiteY10" fmla="*/ 351560 h 35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846" h="352027">
                    <a:moveTo>
                      <a:pt x="1153066" y="351560"/>
                    </a:moveTo>
                    <a:lnTo>
                      <a:pt x="7556" y="351560"/>
                    </a:lnTo>
                    <a:cubicBezTo>
                      <a:pt x="2928" y="351560"/>
                      <a:pt x="-807" y="347814"/>
                      <a:pt x="-807" y="343197"/>
                    </a:cubicBezTo>
                    <a:cubicBezTo>
                      <a:pt x="-807" y="338581"/>
                      <a:pt x="2928" y="334834"/>
                      <a:pt x="7556" y="334834"/>
                    </a:cubicBezTo>
                    <a:lnTo>
                      <a:pt x="1153066" y="334834"/>
                    </a:lnTo>
                    <a:cubicBezTo>
                      <a:pt x="1183005" y="334834"/>
                      <a:pt x="1207314" y="310548"/>
                      <a:pt x="1207314" y="280586"/>
                    </a:cubicBezTo>
                    <a:lnTo>
                      <a:pt x="1207314" y="7896"/>
                    </a:lnTo>
                    <a:cubicBezTo>
                      <a:pt x="1207314" y="3280"/>
                      <a:pt x="1211049" y="-467"/>
                      <a:pt x="1215677" y="-467"/>
                    </a:cubicBezTo>
                    <a:cubicBezTo>
                      <a:pt x="1220305" y="-467"/>
                      <a:pt x="1224040" y="3280"/>
                      <a:pt x="1224040" y="7896"/>
                    </a:cubicBezTo>
                    <a:lnTo>
                      <a:pt x="1224040" y="280586"/>
                    </a:lnTo>
                    <a:cubicBezTo>
                      <a:pt x="1223984" y="319770"/>
                      <a:pt x="1192260" y="351532"/>
                      <a:pt x="1153066" y="351560"/>
                    </a:cubicBezTo>
                    <a:close/>
                  </a:path>
                </a:pathLst>
              </a:custGeom>
              <a:solidFill>
                <a:srgbClr val="30373B"/>
              </a:solidFill>
              <a:ln w="5573" cap="flat">
                <a:noFill/>
                <a:prstDash val="solid"/>
                <a:miter/>
              </a:ln>
            </p:spPr>
            <p:txBody>
              <a:bodyPr rtlCol="0" anchor="ctr"/>
              <a:lstStyle/>
              <a:p>
                <a:endParaRPr lang="en-GB"/>
              </a:p>
            </p:txBody>
          </p:sp>
          <p:sp>
            <p:nvSpPr>
              <p:cNvPr id="152" name="Graphic 6">
                <a:extLst>
                  <a:ext uri="{FF2B5EF4-FFF2-40B4-BE49-F238E27FC236}">
                    <a16:creationId xmlns:a16="http://schemas.microsoft.com/office/drawing/2014/main" id="{4A892AE8-7CA1-758E-2ACB-783A93AE8B2B}"/>
                  </a:ext>
                </a:extLst>
              </p:cNvPr>
              <p:cNvSpPr/>
              <p:nvPr/>
            </p:nvSpPr>
            <p:spPr>
              <a:xfrm>
                <a:off x="7553074" y="3106326"/>
                <a:ext cx="1224567" cy="329614"/>
              </a:xfrm>
              <a:custGeom>
                <a:avLst/>
                <a:gdLst>
                  <a:gd name="connsiteX0" fmla="*/ 7556 w 1224567"/>
                  <a:gd name="connsiteY0" fmla="*/ 329147 h 329614"/>
                  <a:gd name="connsiteX1" fmla="*/ -807 w 1224567"/>
                  <a:gd name="connsiteY1" fmla="*/ 320784 h 329614"/>
                  <a:gd name="connsiteX2" fmla="*/ -807 w 1224567"/>
                  <a:gd name="connsiteY2" fmla="*/ 61419 h 329614"/>
                  <a:gd name="connsiteX3" fmla="*/ 61303 w 1224567"/>
                  <a:gd name="connsiteY3" fmla="*/ -467 h 329614"/>
                  <a:gd name="connsiteX4" fmla="*/ 1215398 w 1224567"/>
                  <a:gd name="connsiteY4" fmla="*/ -467 h 329614"/>
                  <a:gd name="connsiteX5" fmla="*/ 1223761 w 1224567"/>
                  <a:gd name="connsiteY5" fmla="*/ 7896 h 329614"/>
                  <a:gd name="connsiteX6" fmla="*/ 1215398 w 1224567"/>
                  <a:gd name="connsiteY6" fmla="*/ 16259 h 329614"/>
                  <a:gd name="connsiteX7" fmla="*/ 61303 w 1224567"/>
                  <a:gd name="connsiteY7" fmla="*/ 16259 h 329614"/>
                  <a:gd name="connsiteX8" fmla="*/ 15919 w 1224567"/>
                  <a:gd name="connsiteY8" fmla="*/ 61643 h 329614"/>
                  <a:gd name="connsiteX9" fmla="*/ 15919 w 1224567"/>
                  <a:gd name="connsiteY9" fmla="*/ 321007 h 329614"/>
                  <a:gd name="connsiteX10" fmla="*/ 7556 w 1224567"/>
                  <a:gd name="connsiteY10" fmla="*/ 329147 h 32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67" h="329614">
                    <a:moveTo>
                      <a:pt x="7556" y="329147"/>
                    </a:moveTo>
                    <a:cubicBezTo>
                      <a:pt x="2928" y="329147"/>
                      <a:pt x="-807" y="325401"/>
                      <a:pt x="-807" y="320784"/>
                    </a:cubicBezTo>
                    <a:lnTo>
                      <a:pt x="-807" y="61419"/>
                    </a:lnTo>
                    <a:cubicBezTo>
                      <a:pt x="-640" y="27232"/>
                      <a:pt x="27126" y="-406"/>
                      <a:pt x="61303" y="-467"/>
                    </a:cubicBezTo>
                    <a:lnTo>
                      <a:pt x="1215398" y="-467"/>
                    </a:lnTo>
                    <a:cubicBezTo>
                      <a:pt x="1220026" y="-467"/>
                      <a:pt x="1223761" y="3280"/>
                      <a:pt x="1223761" y="7896"/>
                    </a:cubicBezTo>
                    <a:cubicBezTo>
                      <a:pt x="1223761" y="12513"/>
                      <a:pt x="1220026" y="16259"/>
                      <a:pt x="1215398" y="16259"/>
                    </a:cubicBezTo>
                    <a:lnTo>
                      <a:pt x="61303" y="16259"/>
                    </a:lnTo>
                    <a:cubicBezTo>
                      <a:pt x="36269" y="16287"/>
                      <a:pt x="15975" y="36592"/>
                      <a:pt x="15919" y="61643"/>
                    </a:cubicBezTo>
                    <a:lnTo>
                      <a:pt x="15919" y="321007"/>
                    </a:lnTo>
                    <a:cubicBezTo>
                      <a:pt x="15808" y="325540"/>
                      <a:pt x="12072" y="329147"/>
                      <a:pt x="7556" y="329147"/>
                    </a:cubicBezTo>
                    <a:close/>
                  </a:path>
                </a:pathLst>
              </a:custGeom>
              <a:solidFill>
                <a:srgbClr val="30373B"/>
              </a:solidFill>
              <a:ln w="5573" cap="flat">
                <a:noFill/>
                <a:prstDash val="solid"/>
                <a:miter/>
              </a:ln>
            </p:spPr>
            <p:txBody>
              <a:bodyPr rtlCol="0" anchor="ctr"/>
              <a:lstStyle/>
              <a:p>
                <a:endParaRPr lang="en-GB"/>
              </a:p>
            </p:txBody>
          </p:sp>
          <p:sp>
            <p:nvSpPr>
              <p:cNvPr id="153" name="Graphic 6">
                <a:extLst>
                  <a:ext uri="{FF2B5EF4-FFF2-40B4-BE49-F238E27FC236}">
                    <a16:creationId xmlns:a16="http://schemas.microsoft.com/office/drawing/2014/main" id="{D38896DC-77E6-A640-6783-3D0940578809}"/>
                  </a:ext>
                </a:extLst>
              </p:cNvPr>
              <p:cNvSpPr/>
              <p:nvPr/>
            </p:nvSpPr>
            <p:spPr>
              <a:xfrm>
                <a:off x="5950275" y="3095175"/>
                <a:ext cx="1224846" cy="487730"/>
              </a:xfrm>
              <a:custGeom>
                <a:avLst/>
                <a:gdLst>
                  <a:gd name="connsiteX0" fmla="*/ 1138068 w 1224846"/>
                  <a:gd name="connsiteY0" fmla="*/ 487264 h 487730"/>
                  <a:gd name="connsiteX1" fmla="*/ 85221 w 1224846"/>
                  <a:gd name="connsiteY1" fmla="*/ 487264 h 487730"/>
                  <a:gd name="connsiteX2" fmla="*/ -807 w 1224846"/>
                  <a:gd name="connsiteY2" fmla="*/ 401236 h 487730"/>
                  <a:gd name="connsiteX3" fmla="*/ -807 w 1224846"/>
                  <a:gd name="connsiteY3" fmla="*/ 85505 h 487730"/>
                  <a:gd name="connsiteX4" fmla="*/ 85221 w 1224846"/>
                  <a:gd name="connsiteY4" fmla="*/ -467 h 487730"/>
                  <a:gd name="connsiteX5" fmla="*/ 1138068 w 1224846"/>
                  <a:gd name="connsiteY5" fmla="*/ -467 h 487730"/>
                  <a:gd name="connsiteX6" fmla="*/ 1224040 w 1224846"/>
                  <a:gd name="connsiteY6" fmla="*/ 85505 h 487730"/>
                  <a:gd name="connsiteX7" fmla="*/ 1224040 w 1224846"/>
                  <a:gd name="connsiteY7" fmla="*/ 401236 h 487730"/>
                  <a:gd name="connsiteX8" fmla="*/ 1138068 w 1224846"/>
                  <a:gd name="connsiteY8" fmla="*/ 487264 h 487730"/>
                  <a:gd name="connsiteX9" fmla="*/ 85221 w 1224846"/>
                  <a:gd name="connsiteY9" fmla="*/ 16259 h 487730"/>
                  <a:gd name="connsiteX10" fmla="*/ 15919 w 1224846"/>
                  <a:gd name="connsiteY10" fmla="*/ 85561 h 487730"/>
                  <a:gd name="connsiteX11" fmla="*/ 15919 w 1224846"/>
                  <a:gd name="connsiteY11" fmla="*/ 401292 h 487730"/>
                  <a:gd name="connsiteX12" fmla="*/ 85221 w 1224846"/>
                  <a:gd name="connsiteY12" fmla="*/ 470594 h 487730"/>
                  <a:gd name="connsiteX13" fmla="*/ 1138068 w 1224846"/>
                  <a:gd name="connsiteY13" fmla="*/ 470594 h 487730"/>
                  <a:gd name="connsiteX14" fmla="*/ 1207314 w 1224846"/>
                  <a:gd name="connsiteY14" fmla="*/ 401236 h 487730"/>
                  <a:gd name="connsiteX15" fmla="*/ 1207314 w 1224846"/>
                  <a:gd name="connsiteY15" fmla="*/ 85505 h 487730"/>
                  <a:gd name="connsiteX16" fmla="*/ 1138068 w 1224846"/>
                  <a:gd name="connsiteY16" fmla="*/ 16259 h 48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4846" h="487730">
                    <a:moveTo>
                      <a:pt x="1138068" y="487264"/>
                    </a:moveTo>
                    <a:lnTo>
                      <a:pt x="85221" y="487264"/>
                    </a:lnTo>
                    <a:cubicBezTo>
                      <a:pt x="37736" y="487203"/>
                      <a:pt x="-745" y="448722"/>
                      <a:pt x="-807" y="401236"/>
                    </a:cubicBezTo>
                    <a:lnTo>
                      <a:pt x="-807" y="85505"/>
                    </a:lnTo>
                    <a:cubicBezTo>
                      <a:pt x="-712" y="38042"/>
                      <a:pt x="37758" y="-406"/>
                      <a:pt x="85221" y="-467"/>
                    </a:cubicBezTo>
                    <a:lnTo>
                      <a:pt x="1138068" y="-467"/>
                    </a:lnTo>
                    <a:cubicBezTo>
                      <a:pt x="1185514" y="-378"/>
                      <a:pt x="1223928" y="38064"/>
                      <a:pt x="1224040" y="85505"/>
                    </a:cubicBezTo>
                    <a:lnTo>
                      <a:pt x="1224040" y="401236"/>
                    </a:lnTo>
                    <a:cubicBezTo>
                      <a:pt x="1223984" y="448699"/>
                      <a:pt x="1185514" y="487169"/>
                      <a:pt x="1138068" y="487264"/>
                    </a:cubicBezTo>
                    <a:close/>
                    <a:moveTo>
                      <a:pt x="85221" y="16259"/>
                    </a:moveTo>
                    <a:cubicBezTo>
                      <a:pt x="46957" y="16287"/>
                      <a:pt x="15947" y="47297"/>
                      <a:pt x="15919" y="85561"/>
                    </a:cubicBezTo>
                    <a:lnTo>
                      <a:pt x="15919" y="401292"/>
                    </a:lnTo>
                    <a:cubicBezTo>
                      <a:pt x="15947" y="439556"/>
                      <a:pt x="46957" y="470560"/>
                      <a:pt x="85221" y="470594"/>
                    </a:cubicBezTo>
                    <a:lnTo>
                      <a:pt x="1138068" y="470594"/>
                    </a:lnTo>
                    <a:cubicBezTo>
                      <a:pt x="1176315" y="470499"/>
                      <a:pt x="1207258" y="439483"/>
                      <a:pt x="1207314" y="401236"/>
                    </a:cubicBezTo>
                    <a:lnTo>
                      <a:pt x="1207314" y="85505"/>
                    </a:lnTo>
                    <a:cubicBezTo>
                      <a:pt x="1207202" y="47297"/>
                      <a:pt x="1176260" y="16348"/>
                      <a:pt x="1138068" y="16259"/>
                    </a:cubicBezTo>
                    <a:close/>
                  </a:path>
                </a:pathLst>
              </a:custGeom>
              <a:solidFill>
                <a:srgbClr val="30373B"/>
              </a:solidFill>
              <a:ln w="5573" cap="flat">
                <a:noFill/>
                <a:prstDash val="solid"/>
                <a:miter/>
              </a:ln>
            </p:spPr>
            <p:txBody>
              <a:bodyPr rtlCol="0" anchor="ctr"/>
              <a:lstStyle/>
              <a:p>
                <a:endParaRPr lang="en-GB"/>
              </a:p>
            </p:txBody>
          </p:sp>
          <p:sp>
            <p:nvSpPr>
              <p:cNvPr id="154" name="Graphic 6">
                <a:extLst>
                  <a:ext uri="{FF2B5EF4-FFF2-40B4-BE49-F238E27FC236}">
                    <a16:creationId xmlns:a16="http://schemas.microsoft.com/office/drawing/2014/main" id="{327604BF-299B-BC4A-12CD-25E5A0DF0996}"/>
                  </a:ext>
                </a:extLst>
              </p:cNvPr>
              <p:cNvSpPr/>
              <p:nvPr/>
            </p:nvSpPr>
            <p:spPr>
              <a:xfrm>
                <a:off x="5934887" y="4965479"/>
                <a:ext cx="397521" cy="397521"/>
              </a:xfrm>
              <a:custGeom>
                <a:avLst/>
                <a:gdLst>
                  <a:gd name="connsiteX0" fmla="*/ 197954 w 397521"/>
                  <a:gd name="connsiteY0" fmla="*/ 397055 h 397521"/>
                  <a:gd name="connsiteX1" fmla="*/ -807 w 397521"/>
                  <a:gd name="connsiteY1" fmla="*/ 198294 h 397521"/>
                  <a:gd name="connsiteX2" fmla="*/ 197954 w 397521"/>
                  <a:gd name="connsiteY2" fmla="*/ -467 h 397521"/>
                  <a:gd name="connsiteX3" fmla="*/ 396715 w 397521"/>
                  <a:gd name="connsiteY3" fmla="*/ 198294 h 397521"/>
                  <a:gd name="connsiteX4" fmla="*/ 197954 w 397521"/>
                  <a:gd name="connsiteY4" fmla="*/ 397055 h 397521"/>
                  <a:gd name="connsiteX5" fmla="*/ 197954 w 397521"/>
                  <a:gd name="connsiteY5" fmla="*/ 16259 h 397521"/>
                  <a:gd name="connsiteX6" fmla="*/ 15919 w 397521"/>
                  <a:gd name="connsiteY6" fmla="*/ 198294 h 397521"/>
                  <a:gd name="connsiteX7" fmla="*/ 197954 w 397521"/>
                  <a:gd name="connsiteY7" fmla="*/ 380329 h 397521"/>
                  <a:gd name="connsiteX8" fmla="*/ 379989 w 397521"/>
                  <a:gd name="connsiteY8" fmla="*/ 198294 h 397521"/>
                  <a:gd name="connsiteX9" fmla="*/ 197954 w 397521"/>
                  <a:gd name="connsiteY9" fmla="*/ 16259 h 397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521" h="397521">
                    <a:moveTo>
                      <a:pt x="197954" y="397055"/>
                    </a:moveTo>
                    <a:cubicBezTo>
                      <a:pt x="88181" y="397055"/>
                      <a:pt x="-807" y="308072"/>
                      <a:pt x="-807" y="198294"/>
                    </a:cubicBezTo>
                    <a:cubicBezTo>
                      <a:pt x="-807" y="88521"/>
                      <a:pt x="88181" y="-467"/>
                      <a:pt x="197954" y="-467"/>
                    </a:cubicBezTo>
                    <a:cubicBezTo>
                      <a:pt x="307733" y="-467"/>
                      <a:pt x="396715" y="88521"/>
                      <a:pt x="396715" y="198294"/>
                    </a:cubicBezTo>
                    <a:cubicBezTo>
                      <a:pt x="396603" y="308017"/>
                      <a:pt x="307677" y="396943"/>
                      <a:pt x="197954" y="397055"/>
                    </a:cubicBezTo>
                    <a:close/>
                    <a:moveTo>
                      <a:pt x="197954" y="16259"/>
                    </a:moveTo>
                    <a:cubicBezTo>
                      <a:pt x="97420" y="16259"/>
                      <a:pt x="15919" y="97759"/>
                      <a:pt x="15919" y="198294"/>
                    </a:cubicBezTo>
                    <a:cubicBezTo>
                      <a:pt x="15919" y="298817"/>
                      <a:pt x="97420" y="380329"/>
                      <a:pt x="197954" y="380329"/>
                    </a:cubicBezTo>
                    <a:cubicBezTo>
                      <a:pt x="298478" y="380329"/>
                      <a:pt x="379989" y="298817"/>
                      <a:pt x="379989" y="198294"/>
                    </a:cubicBezTo>
                    <a:cubicBezTo>
                      <a:pt x="379877" y="97799"/>
                      <a:pt x="298478" y="16354"/>
                      <a:pt x="197954" y="16259"/>
                    </a:cubicBezTo>
                    <a:close/>
                  </a:path>
                </a:pathLst>
              </a:custGeom>
              <a:solidFill>
                <a:srgbClr val="30373B"/>
              </a:solidFill>
              <a:ln w="5573" cap="flat">
                <a:noFill/>
                <a:prstDash val="solid"/>
                <a:miter/>
              </a:ln>
            </p:spPr>
            <p:txBody>
              <a:bodyPr rtlCol="0" anchor="ctr"/>
              <a:lstStyle/>
              <a:p>
                <a:endParaRPr lang="en-GB"/>
              </a:p>
            </p:txBody>
          </p:sp>
          <p:sp>
            <p:nvSpPr>
              <p:cNvPr id="155" name="Graphic 6">
                <a:extLst>
                  <a:ext uri="{FF2B5EF4-FFF2-40B4-BE49-F238E27FC236}">
                    <a16:creationId xmlns:a16="http://schemas.microsoft.com/office/drawing/2014/main" id="{38ED5D2D-96E6-E658-41A4-32C2A341EB69}"/>
                  </a:ext>
                </a:extLst>
              </p:cNvPr>
              <p:cNvSpPr/>
              <p:nvPr/>
            </p:nvSpPr>
            <p:spPr>
              <a:xfrm>
                <a:off x="6125285" y="4965702"/>
                <a:ext cx="16726" cy="222901"/>
              </a:xfrm>
              <a:custGeom>
                <a:avLst/>
                <a:gdLst>
                  <a:gd name="connsiteX0" fmla="*/ 7556 w 16726"/>
                  <a:gd name="connsiteY0" fmla="*/ 222435 h 222901"/>
                  <a:gd name="connsiteX1" fmla="*/ -807 w 16726"/>
                  <a:gd name="connsiteY1" fmla="*/ 214072 h 222901"/>
                  <a:gd name="connsiteX2" fmla="*/ -807 w 16726"/>
                  <a:gd name="connsiteY2" fmla="*/ 7896 h 222901"/>
                  <a:gd name="connsiteX3" fmla="*/ 7556 w 16726"/>
                  <a:gd name="connsiteY3" fmla="*/ -467 h 222901"/>
                  <a:gd name="connsiteX4" fmla="*/ 15919 w 16726"/>
                  <a:gd name="connsiteY4" fmla="*/ 7896 h 222901"/>
                  <a:gd name="connsiteX5" fmla="*/ 15919 w 16726"/>
                  <a:gd name="connsiteY5" fmla="*/ 214184 h 222901"/>
                  <a:gd name="connsiteX6" fmla="*/ 7556 w 16726"/>
                  <a:gd name="connsiteY6" fmla="*/ 222435 h 22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222901">
                    <a:moveTo>
                      <a:pt x="7556" y="222435"/>
                    </a:moveTo>
                    <a:cubicBezTo>
                      <a:pt x="2940" y="222435"/>
                      <a:pt x="-807" y="218689"/>
                      <a:pt x="-807" y="214072"/>
                    </a:cubicBezTo>
                    <a:lnTo>
                      <a:pt x="-807" y="7896"/>
                    </a:lnTo>
                    <a:cubicBezTo>
                      <a:pt x="-807" y="3280"/>
                      <a:pt x="2940" y="-467"/>
                      <a:pt x="7556" y="-467"/>
                    </a:cubicBezTo>
                    <a:cubicBezTo>
                      <a:pt x="12173" y="-467"/>
                      <a:pt x="15919" y="3280"/>
                      <a:pt x="15919" y="7896"/>
                    </a:cubicBezTo>
                    <a:lnTo>
                      <a:pt x="15919" y="214184"/>
                    </a:lnTo>
                    <a:cubicBezTo>
                      <a:pt x="15858" y="218761"/>
                      <a:pt x="12134" y="222435"/>
                      <a:pt x="7556" y="222435"/>
                    </a:cubicBezTo>
                    <a:close/>
                  </a:path>
                </a:pathLst>
              </a:custGeom>
              <a:solidFill>
                <a:srgbClr val="30373B"/>
              </a:solidFill>
              <a:ln w="5573" cap="flat">
                <a:noFill/>
                <a:prstDash val="solid"/>
                <a:miter/>
              </a:ln>
            </p:spPr>
            <p:txBody>
              <a:bodyPr rtlCol="0" anchor="ctr"/>
              <a:lstStyle/>
              <a:p>
                <a:endParaRPr lang="en-GB"/>
              </a:p>
            </p:txBody>
          </p:sp>
          <p:sp>
            <p:nvSpPr>
              <p:cNvPr id="156" name="Graphic 6">
                <a:extLst>
                  <a:ext uri="{FF2B5EF4-FFF2-40B4-BE49-F238E27FC236}">
                    <a16:creationId xmlns:a16="http://schemas.microsoft.com/office/drawing/2014/main" id="{96C732E8-263A-9048-05B4-B4901D9C3161}"/>
                  </a:ext>
                </a:extLst>
              </p:cNvPr>
              <p:cNvSpPr/>
              <p:nvPr/>
            </p:nvSpPr>
            <p:spPr>
              <a:xfrm>
                <a:off x="7561716" y="4965367"/>
                <a:ext cx="397633" cy="397633"/>
              </a:xfrm>
              <a:custGeom>
                <a:avLst/>
                <a:gdLst>
                  <a:gd name="connsiteX0" fmla="*/ 198010 w 397633"/>
                  <a:gd name="connsiteY0" fmla="*/ 397167 h 397633"/>
                  <a:gd name="connsiteX1" fmla="*/ -807 w 397633"/>
                  <a:gd name="connsiteY1" fmla="*/ 198350 h 397633"/>
                  <a:gd name="connsiteX2" fmla="*/ 198010 w 397633"/>
                  <a:gd name="connsiteY2" fmla="*/ -467 h 397633"/>
                  <a:gd name="connsiteX3" fmla="*/ 396827 w 397633"/>
                  <a:gd name="connsiteY3" fmla="*/ 198350 h 397633"/>
                  <a:gd name="connsiteX4" fmla="*/ 237762 w 397633"/>
                  <a:gd name="connsiteY4" fmla="*/ 393152 h 397633"/>
                  <a:gd name="connsiteX5" fmla="*/ 237762 w 397633"/>
                  <a:gd name="connsiteY5" fmla="*/ 393152 h 397633"/>
                  <a:gd name="connsiteX6" fmla="*/ 198010 w 397633"/>
                  <a:gd name="connsiteY6" fmla="*/ 397167 h 397633"/>
                  <a:gd name="connsiteX7" fmla="*/ 236090 w 397633"/>
                  <a:gd name="connsiteY7" fmla="*/ 384957 h 397633"/>
                  <a:gd name="connsiteX8" fmla="*/ 236090 w 397633"/>
                  <a:gd name="connsiteY8" fmla="*/ 384957 h 397633"/>
                  <a:gd name="connsiteX9" fmla="*/ 198456 w 397633"/>
                  <a:gd name="connsiteY9" fmla="*/ 16315 h 397633"/>
                  <a:gd name="connsiteX10" fmla="*/ 16254 w 397633"/>
                  <a:gd name="connsiteY10" fmla="*/ 198171 h 397633"/>
                  <a:gd name="connsiteX11" fmla="*/ 198122 w 397633"/>
                  <a:gd name="connsiteY11" fmla="*/ 380385 h 397633"/>
                  <a:gd name="connsiteX12" fmla="*/ 234417 w 397633"/>
                  <a:gd name="connsiteY12" fmla="*/ 376761 h 397633"/>
                  <a:gd name="connsiteX13" fmla="*/ 234417 w 397633"/>
                  <a:gd name="connsiteY13" fmla="*/ 376761 h 397633"/>
                  <a:gd name="connsiteX14" fmla="*/ 376086 w 397633"/>
                  <a:gd name="connsiteY14" fmla="*/ 161720 h 397633"/>
                  <a:gd name="connsiteX15" fmla="*/ 198456 w 397633"/>
                  <a:gd name="connsiteY15" fmla="*/ 16315 h 39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7633" h="397633">
                    <a:moveTo>
                      <a:pt x="198010" y="397167"/>
                    </a:moveTo>
                    <a:cubicBezTo>
                      <a:pt x="88232" y="397167"/>
                      <a:pt x="-807" y="308128"/>
                      <a:pt x="-807" y="198350"/>
                    </a:cubicBezTo>
                    <a:cubicBezTo>
                      <a:pt x="-807" y="88544"/>
                      <a:pt x="88232" y="-467"/>
                      <a:pt x="198010" y="-467"/>
                    </a:cubicBezTo>
                    <a:cubicBezTo>
                      <a:pt x="307844" y="-467"/>
                      <a:pt x="396827" y="88549"/>
                      <a:pt x="396827" y="198350"/>
                    </a:cubicBezTo>
                    <a:cubicBezTo>
                      <a:pt x="396827" y="292852"/>
                      <a:pt x="330313" y="374252"/>
                      <a:pt x="237762" y="393152"/>
                    </a:cubicBezTo>
                    <a:lnTo>
                      <a:pt x="237762" y="393152"/>
                    </a:lnTo>
                    <a:cubicBezTo>
                      <a:pt x="224660" y="395828"/>
                      <a:pt x="211335" y="397167"/>
                      <a:pt x="198010" y="397167"/>
                    </a:cubicBezTo>
                    <a:close/>
                    <a:moveTo>
                      <a:pt x="236090" y="384957"/>
                    </a:moveTo>
                    <a:lnTo>
                      <a:pt x="236090" y="384957"/>
                    </a:lnTo>
                    <a:close/>
                    <a:moveTo>
                      <a:pt x="198456" y="16315"/>
                    </a:moveTo>
                    <a:cubicBezTo>
                      <a:pt x="97933" y="16215"/>
                      <a:pt x="16366" y="97637"/>
                      <a:pt x="16254" y="198171"/>
                    </a:cubicBezTo>
                    <a:cubicBezTo>
                      <a:pt x="16143" y="298706"/>
                      <a:pt x="97542" y="380273"/>
                      <a:pt x="198122" y="380385"/>
                    </a:cubicBezTo>
                    <a:cubicBezTo>
                      <a:pt x="210276" y="380385"/>
                      <a:pt x="222486" y="379158"/>
                      <a:pt x="234417" y="376761"/>
                    </a:cubicBezTo>
                    <a:lnTo>
                      <a:pt x="234417" y="376761"/>
                    </a:lnTo>
                    <a:cubicBezTo>
                      <a:pt x="332933" y="356522"/>
                      <a:pt x="396325" y="260236"/>
                      <a:pt x="376086" y="161720"/>
                    </a:cubicBezTo>
                    <a:cubicBezTo>
                      <a:pt x="358747" y="77331"/>
                      <a:pt x="284595" y="16661"/>
                      <a:pt x="198456" y="16315"/>
                    </a:cubicBezTo>
                    <a:close/>
                  </a:path>
                </a:pathLst>
              </a:custGeom>
              <a:solidFill>
                <a:srgbClr val="30373B"/>
              </a:solidFill>
              <a:ln w="5573" cap="flat">
                <a:noFill/>
                <a:prstDash val="solid"/>
                <a:miter/>
              </a:ln>
            </p:spPr>
            <p:txBody>
              <a:bodyPr rtlCol="0" anchor="ctr"/>
              <a:lstStyle/>
              <a:p>
                <a:endParaRPr lang="en-GB"/>
              </a:p>
            </p:txBody>
          </p:sp>
          <p:sp>
            <p:nvSpPr>
              <p:cNvPr id="157" name="Graphic 6">
                <a:extLst>
                  <a:ext uri="{FF2B5EF4-FFF2-40B4-BE49-F238E27FC236}">
                    <a16:creationId xmlns:a16="http://schemas.microsoft.com/office/drawing/2014/main" id="{514BBECC-ECB9-22DA-1E25-C99C5F388BC3}"/>
                  </a:ext>
                </a:extLst>
              </p:cNvPr>
              <p:cNvSpPr/>
              <p:nvPr/>
            </p:nvSpPr>
            <p:spPr>
              <a:xfrm>
                <a:off x="7737233" y="5098055"/>
                <a:ext cx="213475" cy="79445"/>
              </a:xfrm>
              <a:custGeom>
                <a:avLst/>
                <a:gdLst>
                  <a:gd name="connsiteX0" fmla="*/ 7551 w 213475"/>
                  <a:gd name="connsiteY0" fmla="*/ 78931 h 79445"/>
                  <a:gd name="connsiteX1" fmla="*/ -421 w 213475"/>
                  <a:gd name="connsiteY1" fmla="*/ 73356 h 79445"/>
                  <a:gd name="connsiteX2" fmla="*/ 5154 w 213475"/>
                  <a:gd name="connsiteY2" fmla="*/ 62824 h 79445"/>
                  <a:gd name="connsiteX3" fmla="*/ 5154 w 213475"/>
                  <a:gd name="connsiteY3" fmla="*/ 62819 h 79445"/>
                  <a:gd name="connsiteX4" fmla="*/ 201741 w 213475"/>
                  <a:gd name="connsiteY4" fmla="*/ -71 h 79445"/>
                  <a:gd name="connsiteX5" fmla="*/ 212278 w 213475"/>
                  <a:gd name="connsiteY5" fmla="*/ 5365 h 79445"/>
                  <a:gd name="connsiteX6" fmla="*/ 206814 w 213475"/>
                  <a:gd name="connsiteY6" fmla="*/ 15874 h 79445"/>
                  <a:gd name="connsiteX7" fmla="*/ 10228 w 213475"/>
                  <a:gd name="connsiteY7" fmla="*/ 78764 h 79445"/>
                  <a:gd name="connsiteX8" fmla="*/ 7551 w 213475"/>
                  <a:gd name="connsiteY8" fmla="*/ 78931 h 7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475" h="79445">
                    <a:moveTo>
                      <a:pt x="7551" y="78931"/>
                    </a:moveTo>
                    <a:cubicBezTo>
                      <a:pt x="3983" y="78987"/>
                      <a:pt x="749" y="76740"/>
                      <a:pt x="-421" y="73356"/>
                    </a:cubicBezTo>
                    <a:cubicBezTo>
                      <a:pt x="-1815" y="68912"/>
                      <a:pt x="693" y="64201"/>
                      <a:pt x="5154" y="62824"/>
                    </a:cubicBezTo>
                    <a:cubicBezTo>
                      <a:pt x="5154" y="62824"/>
                      <a:pt x="5154" y="62819"/>
                      <a:pt x="5154" y="62819"/>
                    </a:cubicBezTo>
                    <a:lnTo>
                      <a:pt x="201741" y="-71"/>
                    </a:lnTo>
                    <a:cubicBezTo>
                      <a:pt x="206145" y="-1471"/>
                      <a:pt x="210828" y="960"/>
                      <a:pt x="212278" y="5365"/>
                    </a:cubicBezTo>
                    <a:cubicBezTo>
                      <a:pt x="213672" y="9769"/>
                      <a:pt x="211218" y="14475"/>
                      <a:pt x="206814" y="15874"/>
                    </a:cubicBezTo>
                    <a:lnTo>
                      <a:pt x="10228" y="78764"/>
                    </a:lnTo>
                    <a:cubicBezTo>
                      <a:pt x="9336" y="78970"/>
                      <a:pt x="8443" y="79032"/>
                      <a:pt x="7551" y="78931"/>
                    </a:cubicBezTo>
                    <a:close/>
                  </a:path>
                </a:pathLst>
              </a:custGeom>
              <a:solidFill>
                <a:srgbClr val="30373B"/>
              </a:solidFill>
              <a:ln w="5573" cap="flat">
                <a:noFill/>
                <a:prstDash val="solid"/>
                <a:miter/>
              </a:ln>
            </p:spPr>
            <p:txBody>
              <a:bodyPr rtlCol="0" anchor="ctr"/>
              <a:lstStyle/>
              <a:p>
                <a:endParaRPr lang="en-GB"/>
              </a:p>
            </p:txBody>
          </p:sp>
          <p:sp>
            <p:nvSpPr>
              <p:cNvPr id="158" name="Graphic 6">
                <a:extLst>
                  <a:ext uri="{FF2B5EF4-FFF2-40B4-BE49-F238E27FC236}">
                    <a16:creationId xmlns:a16="http://schemas.microsoft.com/office/drawing/2014/main" id="{B0B9BA0C-CDE9-7906-84BB-84585F73E294}"/>
                  </a:ext>
                </a:extLst>
              </p:cNvPr>
              <p:cNvSpPr/>
              <p:nvPr/>
            </p:nvSpPr>
            <p:spPr>
              <a:xfrm>
                <a:off x="758373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59" name="Graphic 6">
                <a:extLst>
                  <a:ext uri="{FF2B5EF4-FFF2-40B4-BE49-F238E27FC236}">
                    <a16:creationId xmlns:a16="http://schemas.microsoft.com/office/drawing/2014/main" id="{D901E415-F37C-2EDA-4C4A-212DD7FBEA76}"/>
                  </a:ext>
                </a:extLst>
              </p:cNvPr>
              <p:cNvSpPr/>
              <p:nvPr/>
            </p:nvSpPr>
            <p:spPr>
              <a:xfrm>
                <a:off x="773159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0" name="Graphic 6">
                <a:extLst>
                  <a:ext uri="{FF2B5EF4-FFF2-40B4-BE49-F238E27FC236}">
                    <a16:creationId xmlns:a16="http://schemas.microsoft.com/office/drawing/2014/main" id="{B77A4349-31F1-D390-C644-1CC31A900EAA}"/>
                  </a:ext>
                </a:extLst>
              </p:cNvPr>
              <p:cNvSpPr/>
              <p:nvPr/>
            </p:nvSpPr>
            <p:spPr>
              <a:xfrm>
                <a:off x="758373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61" name="Graphic 6">
                <a:extLst>
                  <a:ext uri="{FF2B5EF4-FFF2-40B4-BE49-F238E27FC236}">
                    <a16:creationId xmlns:a16="http://schemas.microsoft.com/office/drawing/2014/main" id="{4BB3F4DA-2704-61B1-8C94-3416983CE5BB}"/>
                  </a:ext>
                </a:extLst>
              </p:cNvPr>
              <p:cNvSpPr/>
              <p:nvPr/>
            </p:nvSpPr>
            <p:spPr>
              <a:xfrm>
                <a:off x="773159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2" name="Graphic 6">
                <a:extLst>
                  <a:ext uri="{FF2B5EF4-FFF2-40B4-BE49-F238E27FC236}">
                    <a16:creationId xmlns:a16="http://schemas.microsoft.com/office/drawing/2014/main" id="{6B0320F4-0748-F058-FE07-8D1071106BDB}"/>
                  </a:ext>
                </a:extLst>
              </p:cNvPr>
              <p:cNvSpPr/>
              <p:nvPr/>
            </p:nvSpPr>
            <p:spPr>
              <a:xfrm>
                <a:off x="787482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3" name="Graphic 6">
                <a:extLst>
                  <a:ext uri="{FF2B5EF4-FFF2-40B4-BE49-F238E27FC236}">
                    <a16:creationId xmlns:a16="http://schemas.microsoft.com/office/drawing/2014/main" id="{7E2894DE-14AC-31AA-1372-505E1208265E}"/>
                  </a:ext>
                </a:extLst>
              </p:cNvPr>
              <p:cNvSpPr/>
              <p:nvPr/>
            </p:nvSpPr>
            <p:spPr>
              <a:xfrm>
                <a:off x="787482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4" name="Graphic 6">
                <a:extLst>
                  <a:ext uri="{FF2B5EF4-FFF2-40B4-BE49-F238E27FC236}">
                    <a16:creationId xmlns:a16="http://schemas.microsoft.com/office/drawing/2014/main" id="{20A940E3-5BD6-43F9-7879-3313BC58B189}"/>
                  </a:ext>
                </a:extLst>
              </p:cNvPr>
              <p:cNvSpPr/>
              <p:nvPr/>
            </p:nvSpPr>
            <p:spPr>
              <a:xfrm>
                <a:off x="8363171"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75"/>
                      <a:pt x="81374" y="105431"/>
                      <a:pt x="52159" y="105465"/>
                    </a:cubicBezTo>
                    <a:close/>
                    <a:moveTo>
                      <a:pt x="52159" y="16259"/>
                    </a:moveTo>
                    <a:cubicBezTo>
                      <a:pt x="32144" y="16259"/>
                      <a:pt x="15919" y="32484"/>
                      <a:pt x="15919" y="52499"/>
                    </a:cubicBezTo>
                    <a:cubicBezTo>
                      <a:pt x="15919" y="72515"/>
                      <a:pt x="32144" y="88739"/>
                      <a:pt x="52159" y="88739"/>
                    </a:cubicBezTo>
                    <a:cubicBezTo>
                      <a:pt x="72175" y="88739"/>
                      <a:pt x="88399" y="72515"/>
                      <a:pt x="88399" y="52499"/>
                    </a:cubicBezTo>
                    <a:cubicBezTo>
                      <a:pt x="88343" y="32517"/>
                      <a:pt x="72119" y="16343"/>
                      <a:pt x="52159" y="16315"/>
                    </a:cubicBezTo>
                    <a:close/>
                  </a:path>
                </a:pathLst>
              </a:custGeom>
              <a:solidFill>
                <a:srgbClr val="30373B"/>
              </a:solidFill>
              <a:ln w="5573" cap="flat">
                <a:noFill/>
                <a:prstDash val="solid"/>
                <a:miter/>
              </a:ln>
            </p:spPr>
            <p:txBody>
              <a:bodyPr rtlCol="0" anchor="ctr"/>
              <a:lstStyle/>
              <a:p>
                <a:endParaRPr lang="en-GB"/>
              </a:p>
            </p:txBody>
          </p:sp>
          <p:sp>
            <p:nvSpPr>
              <p:cNvPr id="165" name="Graphic 6">
                <a:extLst>
                  <a:ext uri="{FF2B5EF4-FFF2-40B4-BE49-F238E27FC236}">
                    <a16:creationId xmlns:a16="http://schemas.microsoft.com/office/drawing/2014/main" id="{1F6CF991-43F2-9CA2-3F73-CFCCB80553F8}"/>
                  </a:ext>
                </a:extLst>
              </p:cNvPr>
              <p:cNvSpPr/>
              <p:nvPr/>
            </p:nvSpPr>
            <p:spPr>
              <a:xfrm>
                <a:off x="8510973"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6" name="Graphic 6">
                <a:extLst>
                  <a:ext uri="{FF2B5EF4-FFF2-40B4-BE49-F238E27FC236}">
                    <a16:creationId xmlns:a16="http://schemas.microsoft.com/office/drawing/2014/main" id="{2EAD32A4-8568-4DCF-7911-571E1EA9FBE0}"/>
                  </a:ext>
                </a:extLst>
              </p:cNvPr>
              <p:cNvSpPr/>
              <p:nvPr/>
            </p:nvSpPr>
            <p:spPr>
              <a:xfrm>
                <a:off x="8363171"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09"/>
                      <a:pt x="52159" y="105465"/>
                    </a:cubicBezTo>
                    <a:close/>
                    <a:moveTo>
                      <a:pt x="52159" y="16259"/>
                    </a:moveTo>
                    <a:cubicBezTo>
                      <a:pt x="32144" y="16259"/>
                      <a:pt x="15919" y="32483"/>
                      <a:pt x="15919" y="52499"/>
                    </a:cubicBezTo>
                    <a:cubicBezTo>
                      <a:pt x="15919" y="72514"/>
                      <a:pt x="32144" y="88739"/>
                      <a:pt x="52159" y="88739"/>
                    </a:cubicBezTo>
                    <a:cubicBezTo>
                      <a:pt x="72175" y="88739"/>
                      <a:pt x="88399" y="72514"/>
                      <a:pt x="88399" y="52499"/>
                    </a:cubicBezTo>
                    <a:cubicBezTo>
                      <a:pt x="88343" y="32517"/>
                      <a:pt x="72119" y="16348"/>
                      <a:pt x="52159" y="16315"/>
                    </a:cubicBezTo>
                    <a:close/>
                  </a:path>
                </a:pathLst>
              </a:custGeom>
              <a:solidFill>
                <a:srgbClr val="30373B"/>
              </a:solidFill>
              <a:ln w="5573" cap="flat">
                <a:noFill/>
                <a:prstDash val="solid"/>
                <a:miter/>
              </a:ln>
            </p:spPr>
            <p:txBody>
              <a:bodyPr rtlCol="0" anchor="ctr"/>
              <a:lstStyle/>
              <a:p>
                <a:endParaRPr lang="en-GB"/>
              </a:p>
            </p:txBody>
          </p:sp>
          <p:sp>
            <p:nvSpPr>
              <p:cNvPr id="167" name="Graphic 6">
                <a:extLst>
                  <a:ext uri="{FF2B5EF4-FFF2-40B4-BE49-F238E27FC236}">
                    <a16:creationId xmlns:a16="http://schemas.microsoft.com/office/drawing/2014/main" id="{2EA44193-9527-289E-7573-C12BEEF3D096}"/>
                  </a:ext>
                </a:extLst>
              </p:cNvPr>
              <p:cNvSpPr/>
              <p:nvPr/>
            </p:nvSpPr>
            <p:spPr>
              <a:xfrm>
                <a:off x="8510973"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8" name="Graphic 6">
                <a:extLst>
                  <a:ext uri="{FF2B5EF4-FFF2-40B4-BE49-F238E27FC236}">
                    <a16:creationId xmlns:a16="http://schemas.microsoft.com/office/drawing/2014/main" id="{3B6774C7-3B06-7240-6471-00E417768866}"/>
                  </a:ext>
                </a:extLst>
              </p:cNvPr>
              <p:cNvSpPr/>
              <p:nvPr/>
            </p:nvSpPr>
            <p:spPr>
              <a:xfrm>
                <a:off x="8654204"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9" name="Graphic 6">
                <a:extLst>
                  <a:ext uri="{FF2B5EF4-FFF2-40B4-BE49-F238E27FC236}">
                    <a16:creationId xmlns:a16="http://schemas.microsoft.com/office/drawing/2014/main" id="{F1D66DC7-AD83-028A-679D-949673EE65F1}"/>
                  </a:ext>
                </a:extLst>
              </p:cNvPr>
              <p:cNvSpPr/>
              <p:nvPr/>
            </p:nvSpPr>
            <p:spPr>
              <a:xfrm>
                <a:off x="6727032"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0" name="Graphic 6">
                <a:extLst>
                  <a:ext uri="{FF2B5EF4-FFF2-40B4-BE49-F238E27FC236}">
                    <a16:creationId xmlns:a16="http://schemas.microsoft.com/office/drawing/2014/main" id="{8D4A0829-DDB2-21FA-D79F-CE20C8B39411}"/>
                  </a:ext>
                </a:extLst>
              </p:cNvPr>
              <p:cNvSpPr/>
              <p:nvPr/>
            </p:nvSpPr>
            <p:spPr>
              <a:xfrm>
                <a:off x="687483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1" name="Graphic 6">
                <a:extLst>
                  <a:ext uri="{FF2B5EF4-FFF2-40B4-BE49-F238E27FC236}">
                    <a16:creationId xmlns:a16="http://schemas.microsoft.com/office/drawing/2014/main" id="{A0309058-70F9-F61B-63F8-C55DF2A0DF97}"/>
                  </a:ext>
                </a:extLst>
              </p:cNvPr>
              <p:cNvSpPr/>
              <p:nvPr/>
            </p:nvSpPr>
            <p:spPr>
              <a:xfrm>
                <a:off x="6727032"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2" name="Graphic 6">
                <a:extLst>
                  <a:ext uri="{FF2B5EF4-FFF2-40B4-BE49-F238E27FC236}">
                    <a16:creationId xmlns:a16="http://schemas.microsoft.com/office/drawing/2014/main" id="{2AAA7506-410A-EDB2-0CF6-FAB72BD77FD0}"/>
                  </a:ext>
                </a:extLst>
              </p:cNvPr>
              <p:cNvSpPr/>
              <p:nvPr/>
            </p:nvSpPr>
            <p:spPr>
              <a:xfrm>
                <a:off x="6874834" y="5160895"/>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520"/>
                      <a:pt x="-751" y="81825"/>
                      <a:pt x="-807" y="52555"/>
                    </a:cubicBezTo>
                    <a:cubicBezTo>
                      <a:pt x="-862" y="23301"/>
                      <a:pt x="22833" y="-433"/>
                      <a:pt x="52103" y="-467"/>
                    </a:cubicBezTo>
                    <a:cubicBezTo>
                      <a:pt x="81374" y="-495"/>
                      <a:pt x="105069" y="23189"/>
                      <a:pt x="105125" y="52443"/>
                    </a:cubicBezTo>
                    <a:cubicBezTo>
                      <a:pt x="105125" y="52482"/>
                      <a:pt x="105125" y="52516"/>
                      <a:pt x="105125" y="52555"/>
                    </a:cubicBezTo>
                    <a:cubicBezTo>
                      <a:pt x="105069" y="81769"/>
                      <a:pt x="81430" y="105409"/>
                      <a:pt x="52215" y="105465"/>
                    </a:cubicBezTo>
                    <a:close/>
                    <a:moveTo>
                      <a:pt x="52215" y="16259"/>
                    </a:moveTo>
                    <a:cubicBezTo>
                      <a:pt x="32200" y="16231"/>
                      <a:pt x="15975" y="32428"/>
                      <a:pt x="15919" y="52443"/>
                    </a:cubicBezTo>
                    <a:cubicBezTo>
                      <a:pt x="15864" y="72459"/>
                      <a:pt x="32088" y="88683"/>
                      <a:pt x="52103" y="88739"/>
                    </a:cubicBezTo>
                    <a:cubicBezTo>
                      <a:pt x="72119" y="88794"/>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3" name="Graphic 6">
                <a:extLst>
                  <a:ext uri="{FF2B5EF4-FFF2-40B4-BE49-F238E27FC236}">
                    <a16:creationId xmlns:a16="http://schemas.microsoft.com/office/drawing/2014/main" id="{2DF20DD4-5308-5D52-54DB-44970B30CCBB}"/>
                  </a:ext>
                </a:extLst>
              </p:cNvPr>
              <p:cNvSpPr/>
              <p:nvPr/>
            </p:nvSpPr>
            <p:spPr>
              <a:xfrm>
                <a:off x="701806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28"/>
                      <a:pt x="72175" y="16343"/>
                      <a:pt x="52215" y="16315"/>
                    </a:cubicBezTo>
                    <a:close/>
                  </a:path>
                </a:pathLst>
              </a:custGeom>
              <a:solidFill>
                <a:srgbClr val="30373B"/>
              </a:solidFill>
              <a:ln w="5573" cap="flat">
                <a:noFill/>
                <a:prstDash val="solid"/>
                <a:miter/>
              </a:ln>
            </p:spPr>
            <p:txBody>
              <a:bodyPr rtlCol="0" anchor="ctr"/>
              <a:lstStyle/>
              <a:p>
                <a:endParaRPr lang="en-GB"/>
              </a:p>
            </p:txBody>
          </p:sp>
          <p:sp>
            <p:nvSpPr>
              <p:cNvPr id="174" name="Graphic 6">
                <a:extLst>
                  <a:ext uri="{FF2B5EF4-FFF2-40B4-BE49-F238E27FC236}">
                    <a16:creationId xmlns:a16="http://schemas.microsoft.com/office/drawing/2014/main" id="{0E5F12BF-DCDA-E6BA-C046-264B0D2105B0}"/>
                  </a:ext>
                </a:extLst>
              </p:cNvPr>
              <p:cNvSpPr/>
              <p:nvPr/>
            </p:nvSpPr>
            <p:spPr>
              <a:xfrm>
                <a:off x="817901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5" name="Graphic 6">
                <a:extLst>
                  <a:ext uri="{FF2B5EF4-FFF2-40B4-BE49-F238E27FC236}">
                    <a16:creationId xmlns:a16="http://schemas.microsoft.com/office/drawing/2014/main" id="{DCC2EC4D-EAF5-AC44-C051-5D1166AFEE36}"/>
                  </a:ext>
                </a:extLst>
              </p:cNvPr>
              <p:cNvSpPr/>
              <p:nvPr/>
            </p:nvSpPr>
            <p:spPr>
              <a:xfrm>
                <a:off x="817901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6" name="Graphic 6">
                <a:extLst>
                  <a:ext uri="{FF2B5EF4-FFF2-40B4-BE49-F238E27FC236}">
                    <a16:creationId xmlns:a16="http://schemas.microsoft.com/office/drawing/2014/main" id="{516B5E94-D967-5DAC-46A1-7F313F3F3A2C}"/>
                  </a:ext>
                </a:extLst>
              </p:cNvPr>
              <p:cNvSpPr/>
              <p:nvPr/>
            </p:nvSpPr>
            <p:spPr>
              <a:xfrm>
                <a:off x="832224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7" name="Graphic 6">
                <a:extLst>
                  <a:ext uri="{FF2B5EF4-FFF2-40B4-BE49-F238E27FC236}">
                    <a16:creationId xmlns:a16="http://schemas.microsoft.com/office/drawing/2014/main" id="{637730E0-296A-2067-6057-0C6C09D1ED73}"/>
                  </a:ext>
                </a:extLst>
              </p:cNvPr>
              <p:cNvSpPr/>
              <p:nvPr/>
            </p:nvSpPr>
            <p:spPr>
              <a:xfrm>
                <a:off x="832224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8" name="Graphic 6">
                <a:extLst>
                  <a:ext uri="{FF2B5EF4-FFF2-40B4-BE49-F238E27FC236}">
                    <a16:creationId xmlns:a16="http://schemas.microsoft.com/office/drawing/2014/main" id="{34A4D711-BAC7-7178-97D9-683EBB1EDC77}"/>
                  </a:ext>
                </a:extLst>
              </p:cNvPr>
              <p:cNvSpPr/>
              <p:nvPr/>
            </p:nvSpPr>
            <p:spPr>
              <a:xfrm>
                <a:off x="5931486"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1"/>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79" name="Graphic 6">
                <a:extLst>
                  <a:ext uri="{FF2B5EF4-FFF2-40B4-BE49-F238E27FC236}">
                    <a16:creationId xmlns:a16="http://schemas.microsoft.com/office/drawing/2014/main" id="{7BEBB9F2-F109-2F89-3463-7243292515C7}"/>
                  </a:ext>
                </a:extLst>
              </p:cNvPr>
              <p:cNvSpPr/>
              <p:nvPr/>
            </p:nvSpPr>
            <p:spPr>
              <a:xfrm>
                <a:off x="6079512"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0" name="Graphic 6">
                <a:extLst>
                  <a:ext uri="{FF2B5EF4-FFF2-40B4-BE49-F238E27FC236}">
                    <a16:creationId xmlns:a16="http://schemas.microsoft.com/office/drawing/2014/main" id="{8EC8DF68-2875-2832-4BC0-4D3C631A7F65}"/>
                  </a:ext>
                </a:extLst>
              </p:cNvPr>
              <p:cNvSpPr/>
              <p:nvPr/>
            </p:nvSpPr>
            <p:spPr>
              <a:xfrm>
                <a:off x="5931486"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7"/>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81" name="Graphic 6">
                <a:extLst>
                  <a:ext uri="{FF2B5EF4-FFF2-40B4-BE49-F238E27FC236}">
                    <a16:creationId xmlns:a16="http://schemas.microsoft.com/office/drawing/2014/main" id="{1E00A7C8-0116-B87A-DBDA-87588A4B83F7}"/>
                  </a:ext>
                </a:extLst>
              </p:cNvPr>
              <p:cNvSpPr/>
              <p:nvPr/>
            </p:nvSpPr>
            <p:spPr>
              <a:xfrm>
                <a:off x="6079512"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2" name="Graphic 6">
                <a:extLst>
                  <a:ext uri="{FF2B5EF4-FFF2-40B4-BE49-F238E27FC236}">
                    <a16:creationId xmlns:a16="http://schemas.microsoft.com/office/drawing/2014/main" id="{3B4F1DA2-371B-CB11-5D75-83720FF59D7B}"/>
                  </a:ext>
                </a:extLst>
              </p:cNvPr>
              <p:cNvSpPr/>
              <p:nvPr/>
            </p:nvSpPr>
            <p:spPr>
              <a:xfrm>
                <a:off x="6222519"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3" name="Graphic 6">
                <a:extLst>
                  <a:ext uri="{FF2B5EF4-FFF2-40B4-BE49-F238E27FC236}">
                    <a16:creationId xmlns:a16="http://schemas.microsoft.com/office/drawing/2014/main" id="{5F6DD8A4-F025-D67C-2414-27F0DF3AD35C}"/>
                  </a:ext>
                </a:extLst>
              </p:cNvPr>
              <p:cNvSpPr/>
              <p:nvPr/>
            </p:nvSpPr>
            <p:spPr>
              <a:xfrm>
                <a:off x="6222519"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4" name="Graphic 6">
                <a:extLst>
                  <a:ext uri="{FF2B5EF4-FFF2-40B4-BE49-F238E27FC236}">
                    <a16:creationId xmlns:a16="http://schemas.microsoft.com/office/drawing/2014/main" id="{8E1000D6-40AB-34B9-02F6-D8DD68900C88}"/>
                  </a:ext>
                </a:extLst>
              </p:cNvPr>
              <p:cNvSpPr/>
              <p:nvPr/>
            </p:nvSpPr>
            <p:spPr>
              <a:xfrm>
                <a:off x="657175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5" name="Graphic 6">
                <a:extLst>
                  <a:ext uri="{FF2B5EF4-FFF2-40B4-BE49-F238E27FC236}">
                    <a16:creationId xmlns:a16="http://schemas.microsoft.com/office/drawing/2014/main" id="{D3A1441C-C34F-81C2-38AF-5DFD37200CBA}"/>
                  </a:ext>
                </a:extLst>
              </p:cNvPr>
              <p:cNvSpPr/>
              <p:nvPr/>
            </p:nvSpPr>
            <p:spPr>
              <a:xfrm>
                <a:off x="657175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6" name="Graphic 6">
                <a:extLst>
                  <a:ext uri="{FF2B5EF4-FFF2-40B4-BE49-F238E27FC236}">
                    <a16:creationId xmlns:a16="http://schemas.microsoft.com/office/drawing/2014/main" id="{F847CD6B-5181-82E9-A3E8-D7255FCE6134}"/>
                  </a:ext>
                </a:extLst>
              </p:cNvPr>
              <p:cNvSpPr/>
              <p:nvPr/>
            </p:nvSpPr>
            <p:spPr>
              <a:xfrm>
                <a:off x="6715100"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7" name="Graphic 6">
                <a:extLst>
                  <a:ext uri="{FF2B5EF4-FFF2-40B4-BE49-F238E27FC236}">
                    <a16:creationId xmlns:a16="http://schemas.microsoft.com/office/drawing/2014/main" id="{8DA57CD1-ECC3-BA0C-DABE-86AB486A698B}"/>
                  </a:ext>
                </a:extLst>
              </p:cNvPr>
              <p:cNvSpPr/>
              <p:nvPr/>
            </p:nvSpPr>
            <p:spPr>
              <a:xfrm>
                <a:off x="6715100"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200"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8" name="Graphic 6">
                <a:extLst>
                  <a:ext uri="{FF2B5EF4-FFF2-40B4-BE49-F238E27FC236}">
                    <a16:creationId xmlns:a16="http://schemas.microsoft.com/office/drawing/2014/main" id="{471182A4-818C-76EF-35A4-D853F474A767}"/>
                  </a:ext>
                </a:extLst>
              </p:cNvPr>
              <p:cNvSpPr/>
              <p:nvPr/>
            </p:nvSpPr>
            <p:spPr>
              <a:xfrm>
                <a:off x="7449596" y="4796267"/>
                <a:ext cx="1684143" cy="16726"/>
              </a:xfrm>
              <a:custGeom>
                <a:avLst/>
                <a:gdLst>
                  <a:gd name="connsiteX0" fmla="*/ 1674974 w 1684143"/>
                  <a:gd name="connsiteY0" fmla="*/ 16259 h 16726"/>
                  <a:gd name="connsiteX1" fmla="*/ 7556 w 1684143"/>
                  <a:gd name="connsiteY1" fmla="*/ 16259 h 16726"/>
                  <a:gd name="connsiteX2" fmla="*/ -807 w 1684143"/>
                  <a:gd name="connsiteY2" fmla="*/ 7896 h 16726"/>
                  <a:gd name="connsiteX3" fmla="*/ 7556 w 1684143"/>
                  <a:gd name="connsiteY3" fmla="*/ -467 h 16726"/>
                  <a:gd name="connsiteX4" fmla="*/ 1674974 w 1684143"/>
                  <a:gd name="connsiteY4" fmla="*/ -467 h 16726"/>
                  <a:gd name="connsiteX5" fmla="*/ 1683337 w 1684143"/>
                  <a:gd name="connsiteY5" fmla="*/ 7896 h 16726"/>
                  <a:gd name="connsiteX6" fmla="*/ 1674974 w 1684143"/>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4143" h="16726">
                    <a:moveTo>
                      <a:pt x="1674974" y="16259"/>
                    </a:moveTo>
                    <a:lnTo>
                      <a:pt x="7556" y="16259"/>
                    </a:lnTo>
                    <a:cubicBezTo>
                      <a:pt x="2929" y="16259"/>
                      <a:pt x="-807" y="12513"/>
                      <a:pt x="-807" y="7896"/>
                    </a:cubicBezTo>
                    <a:cubicBezTo>
                      <a:pt x="-807" y="3280"/>
                      <a:pt x="2929" y="-467"/>
                      <a:pt x="7556" y="-467"/>
                    </a:cubicBezTo>
                    <a:lnTo>
                      <a:pt x="1674974" y="-467"/>
                    </a:lnTo>
                    <a:cubicBezTo>
                      <a:pt x="1679601" y="-467"/>
                      <a:pt x="1683337" y="3280"/>
                      <a:pt x="1683337" y="7896"/>
                    </a:cubicBezTo>
                    <a:cubicBezTo>
                      <a:pt x="1683337" y="12513"/>
                      <a:pt x="1679601" y="16259"/>
                      <a:pt x="1674974" y="16259"/>
                    </a:cubicBezTo>
                    <a:close/>
                  </a:path>
                </a:pathLst>
              </a:custGeom>
              <a:solidFill>
                <a:srgbClr val="30373B"/>
              </a:solidFill>
              <a:ln w="5573" cap="flat">
                <a:noFill/>
                <a:prstDash val="solid"/>
                <a:miter/>
              </a:ln>
            </p:spPr>
            <p:txBody>
              <a:bodyPr rtlCol="0" anchor="ctr"/>
              <a:lstStyle/>
              <a:p>
                <a:endParaRPr lang="en-GB"/>
              </a:p>
            </p:txBody>
          </p:sp>
          <p:sp>
            <p:nvSpPr>
              <p:cNvPr id="189" name="Graphic 6">
                <a:extLst>
                  <a:ext uri="{FF2B5EF4-FFF2-40B4-BE49-F238E27FC236}">
                    <a16:creationId xmlns:a16="http://schemas.microsoft.com/office/drawing/2014/main" id="{26DBA74E-D12B-A00E-59EC-05316BCE8B78}"/>
                  </a:ext>
                </a:extLst>
              </p:cNvPr>
              <p:cNvSpPr/>
              <p:nvPr/>
            </p:nvSpPr>
            <p:spPr>
              <a:xfrm>
                <a:off x="7454948" y="4699312"/>
                <a:ext cx="1678791" cy="16726"/>
              </a:xfrm>
              <a:custGeom>
                <a:avLst/>
                <a:gdLst>
                  <a:gd name="connsiteX0" fmla="*/ 1669622 w 1678791"/>
                  <a:gd name="connsiteY0" fmla="*/ 16259 h 16726"/>
                  <a:gd name="connsiteX1" fmla="*/ 7556 w 1678791"/>
                  <a:gd name="connsiteY1" fmla="*/ 16259 h 16726"/>
                  <a:gd name="connsiteX2" fmla="*/ -807 w 1678791"/>
                  <a:gd name="connsiteY2" fmla="*/ 7896 h 16726"/>
                  <a:gd name="connsiteX3" fmla="*/ 7556 w 1678791"/>
                  <a:gd name="connsiteY3" fmla="*/ -467 h 16726"/>
                  <a:gd name="connsiteX4" fmla="*/ 1669622 w 1678791"/>
                  <a:gd name="connsiteY4" fmla="*/ -467 h 16726"/>
                  <a:gd name="connsiteX5" fmla="*/ 1677985 w 1678791"/>
                  <a:gd name="connsiteY5" fmla="*/ 7896 h 16726"/>
                  <a:gd name="connsiteX6" fmla="*/ 1669622 w 1678791"/>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8791" h="16726">
                    <a:moveTo>
                      <a:pt x="1669622" y="16259"/>
                    </a:moveTo>
                    <a:lnTo>
                      <a:pt x="7556" y="16259"/>
                    </a:lnTo>
                    <a:cubicBezTo>
                      <a:pt x="2929" y="16259"/>
                      <a:pt x="-807" y="12513"/>
                      <a:pt x="-807" y="7896"/>
                    </a:cubicBezTo>
                    <a:cubicBezTo>
                      <a:pt x="-807" y="3280"/>
                      <a:pt x="2929" y="-467"/>
                      <a:pt x="7556" y="-467"/>
                    </a:cubicBezTo>
                    <a:lnTo>
                      <a:pt x="1669622" y="-467"/>
                    </a:lnTo>
                    <a:cubicBezTo>
                      <a:pt x="1674249" y="-467"/>
                      <a:pt x="1677985" y="3280"/>
                      <a:pt x="1677985" y="7896"/>
                    </a:cubicBezTo>
                    <a:cubicBezTo>
                      <a:pt x="1677985" y="12513"/>
                      <a:pt x="1674249" y="16259"/>
                      <a:pt x="1669622" y="16259"/>
                    </a:cubicBezTo>
                    <a:close/>
                  </a:path>
                </a:pathLst>
              </a:custGeom>
              <a:solidFill>
                <a:srgbClr val="30373B"/>
              </a:solidFill>
              <a:ln w="5573" cap="flat">
                <a:noFill/>
                <a:prstDash val="solid"/>
                <a:miter/>
              </a:ln>
            </p:spPr>
            <p:txBody>
              <a:bodyPr rtlCol="0" anchor="ctr"/>
              <a:lstStyle/>
              <a:p>
                <a:endParaRPr lang="en-GB"/>
              </a:p>
            </p:txBody>
          </p:sp>
          <p:sp>
            <p:nvSpPr>
              <p:cNvPr id="190" name="Graphic 6">
                <a:extLst>
                  <a:ext uri="{FF2B5EF4-FFF2-40B4-BE49-F238E27FC236}">
                    <a16:creationId xmlns:a16="http://schemas.microsoft.com/office/drawing/2014/main" id="{F1A2F235-E754-2681-0188-6E0E9E9E2FDB}"/>
                  </a:ext>
                </a:extLst>
              </p:cNvPr>
              <p:cNvSpPr/>
              <p:nvPr/>
            </p:nvSpPr>
            <p:spPr>
              <a:xfrm>
                <a:off x="5517016" y="4699312"/>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1" name="Graphic 6">
                <a:extLst>
                  <a:ext uri="{FF2B5EF4-FFF2-40B4-BE49-F238E27FC236}">
                    <a16:creationId xmlns:a16="http://schemas.microsoft.com/office/drawing/2014/main" id="{3431755F-8576-4A81-F2A0-063B58E5E759}"/>
                  </a:ext>
                </a:extLst>
              </p:cNvPr>
              <p:cNvSpPr/>
              <p:nvPr/>
            </p:nvSpPr>
            <p:spPr>
              <a:xfrm>
                <a:off x="5517016" y="4796267"/>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2" name="Graphic 6">
                <a:extLst>
                  <a:ext uri="{FF2B5EF4-FFF2-40B4-BE49-F238E27FC236}">
                    <a16:creationId xmlns:a16="http://schemas.microsoft.com/office/drawing/2014/main" id="{C43A4D56-54CE-3716-AE25-8601AFF40F36}"/>
                  </a:ext>
                </a:extLst>
              </p:cNvPr>
              <p:cNvSpPr/>
              <p:nvPr/>
            </p:nvSpPr>
            <p:spPr>
              <a:xfrm>
                <a:off x="8423106" y="5388940"/>
                <a:ext cx="263937" cy="299381"/>
              </a:xfrm>
              <a:custGeom>
                <a:avLst/>
                <a:gdLst>
                  <a:gd name="connsiteX0" fmla="*/ 131162 w 263937"/>
                  <a:gd name="connsiteY0" fmla="*/ 298915 h 299381"/>
                  <a:gd name="connsiteX1" fmla="*/ 116722 w 263937"/>
                  <a:gd name="connsiteY1" fmla="*/ 294510 h 299381"/>
                  <a:gd name="connsiteX2" fmla="*/ 10791 w 263937"/>
                  <a:gd name="connsiteY2" fmla="*/ 223815 h 299381"/>
                  <a:gd name="connsiteX3" fmla="*/ -807 w 263937"/>
                  <a:gd name="connsiteY3" fmla="*/ 202183 h 299381"/>
                  <a:gd name="connsiteX4" fmla="*/ -807 w 263937"/>
                  <a:gd name="connsiteY4" fmla="*/ 96251 h 299381"/>
                  <a:gd name="connsiteX5" fmla="*/ 10791 w 263937"/>
                  <a:gd name="connsiteY5" fmla="*/ 74619 h 299381"/>
                  <a:gd name="connsiteX6" fmla="*/ 116722 w 263937"/>
                  <a:gd name="connsiteY6" fmla="*/ 3923 h 299381"/>
                  <a:gd name="connsiteX7" fmla="*/ 145602 w 263937"/>
                  <a:gd name="connsiteY7" fmla="*/ 3923 h 299381"/>
                  <a:gd name="connsiteX8" fmla="*/ 251533 w 263937"/>
                  <a:gd name="connsiteY8" fmla="*/ 74619 h 299381"/>
                  <a:gd name="connsiteX9" fmla="*/ 263130 w 263937"/>
                  <a:gd name="connsiteY9" fmla="*/ 96251 h 299381"/>
                  <a:gd name="connsiteX10" fmla="*/ 263130 w 263937"/>
                  <a:gd name="connsiteY10" fmla="*/ 110357 h 299381"/>
                  <a:gd name="connsiteX11" fmla="*/ 254767 w 263937"/>
                  <a:gd name="connsiteY11" fmla="*/ 118720 h 299381"/>
                  <a:gd name="connsiteX12" fmla="*/ 246404 w 263937"/>
                  <a:gd name="connsiteY12" fmla="*/ 110357 h 299381"/>
                  <a:gd name="connsiteX13" fmla="*/ 246404 w 263937"/>
                  <a:gd name="connsiteY13" fmla="*/ 96251 h 299381"/>
                  <a:gd name="connsiteX14" fmla="*/ 242278 w 263937"/>
                  <a:gd name="connsiteY14" fmla="*/ 88502 h 299381"/>
                  <a:gd name="connsiteX15" fmla="*/ 136347 w 263937"/>
                  <a:gd name="connsiteY15" fmla="*/ 17806 h 299381"/>
                  <a:gd name="connsiteX16" fmla="*/ 125977 w 263937"/>
                  <a:gd name="connsiteY16" fmla="*/ 17806 h 299381"/>
                  <a:gd name="connsiteX17" fmla="*/ 20045 w 263937"/>
                  <a:gd name="connsiteY17" fmla="*/ 88502 h 299381"/>
                  <a:gd name="connsiteX18" fmla="*/ 15919 w 263937"/>
                  <a:gd name="connsiteY18" fmla="*/ 96251 h 299381"/>
                  <a:gd name="connsiteX19" fmla="*/ 15919 w 263937"/>
                  <a:gd name="connsiteY19" fmla="*/ 202183 h 299381"/>
                  <a:gd name="connsiteX20" fmla="*/ 20045 w 263937"/>
                  <a:gd name="connsiteY20" fmla="*/ 209933 h 299381"/>
                  <a:gd name="connsiteX21" fmla="*/ 125977 w 263937"/>
                  <a:gd name="connsiteY21" fmla="*/ 280628 h 299381"/>
                  <a:gd name="connsiteX22" fmla="*/ 136291 w 263937"/>
                  <a:gd name="connsiteY22" fmla="*/ 280628 h 299381"/>
                  <a:gd name="connsiteX23" fmla="*/ 188421 w 263937"/>
                  <a:gd name="connsiteY23" fmla="*/ 245893 h 299381"/>
                  <a:gd name="connsiteX24" fmla="*/ 199961 w 263937"/>
                  <a:gd name="connsiteY24" fmla="*/ 248569 h 299381"/>
                  <a:gd name="connsiteX25" fmla="*/ 197731 w 263937"/>
                  <a:gd name="connsiteY25" fmla="*/ 259776 h 299381"/>
                  <a:gd name="connsiteX26" fmla="*/ 145602 w 263937"/>
                  <a:gd name="connsiteY26" fmla="*/ 294510 h 299381"/>
                  <a:gd name="connsiteX27" fmla="*/ 131162 w 263937"/>
                  <a:gd name="connsiteY27" fmla="*/ 298915 h 299381"/>
                  <a:gd name="connsiteX28" fmla="*/ 131162 w 263937"/>
                  <a:gd name="connsiteY28" fmla="*/ 228220 h 299381"/>
                  <a:gd name="connsiteX29" fmla="*/ 52103 w 263937"/>
                  <a:gd name="connsiteY29" fmla="*/ 149161 h 299381"/>
                  <a:gd name="connsiteX30" fmla="*/ 131162 w 263937"/>
                  <a:gd name="connsiteY30" fmla="*/ 70103 h 299381"/>
                  <a:gd name="connsiteX31" fmla="*/ 193550 w 263937"/>
                  <a:gd name="connsiteY31" fmla="*/ 100600 h 299381"/>
                  <a:gd name="connsiteX32" fmla="*/ 192491 w 263937"/>
                  <a:gd name="connsiteY32" fmla="*/ 112364 h 299381"/>
                  <a:gd name="connsiteX33" fmla="*/ 180671 w 263937"/>
                  <a:gd name="connsiteY33" fmla="*/ 111305 h 299381"/>
                  <a:gd name="connsiteX34" fmla="*/ 180392 w 263937"/>
                  <a:gd name="connsiteY34" fmla="*/ 110915 h 299381"/>
                  <a:gd name="connsiteX35" fmla="*/ 92971 w 263937"/>
                  <a:gd name="connsiteY35" fmla="*/ 99541 h 299381"/>
                  <a:gd name="connsiteX36" fmla="*/ 81597 w 263937"/>
                  <a:gd name="connsiteY36" fmla="*/ 186962 h 299381"/>
                  <a:gd name="connsiteX37" fmla="*/ 131162 w 263937"/>
                  <a:gd name="connsiteY37" fmla="*/ 211271 h 299381"/>
                  <a:gd name="connsiteX38" fmla="*/ 139525 w 263937"/>
                  <a:gd name="connsiteY38" fmla="*/ 219634 h 299381"/>
                  <a:gd name="connsiteX39" fmla="*/ 131162 w 263937"/>
                  <a:gd name="connsiteY39" fmla="*/ 227997 h 29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3937" h="299381">
                    <a:moveTo>
                      <a:pt x="131162" y="298915"/>
                    </a:moveTo>
                    <a:cubicBezTo>
                      <a:pt x="126032" y="298915"/>
                      <a:pt x="121014" y="297409"/>
                      <a:pt x="116722" y="294510"/>
                    </a:cubicBezTo>
                    <a:lnTo>
                      <a:pt x="10791" y="223815"/>
                    </a:lnTo>
                    <a:cubicBezTo>
                      <a:pt x="3542" y="219021"/>
                      <a:pt x="-807" y="210880"/>
                      <a:pt x="-807" y="202183"/>
                    </a:cubicBezTo>
                    <a:lnTo>
                      <a:pt x="-807" y="96251"/>
                    </a:lnTo>
                    <a:cubicBezTo>
                      <a:pt x="-807" y="87554"/>
                      <a:pt x="3542" y="79414"/>
                      <a:pt x="10791" y="74619"/>
                    </a:cubicBezTo>
                    <a:lnTo>
                      <a:pt x="116722" y="3923"/>
                    </a:lnTo>
                    <a:cubicBezTo>
                      <a:pt x="125475" y="-1930"/>
                      <a:pt x="136849" y="-1930"/>
                      <a:pt x="145602" y="3923"/>
                    </a:cubicBezTo>
                    <a:lnTo>
                      <a:pt x="251533" y="74619"/>
                    </a:lnTo>
                    <a:cubicBezTo>
                      <a:pt x="258782" y="79414"/>
                      <a:pt x="263130" y="87554"/>
                      <a:pt x="263130" y="96251"/>
                    </a:cubicBezTo>
                    <a:lnTo>
                      <a:pt x="263130" y="110357"/>
                    </a:lnTo>
                    <a:cubicBezTo>
                      <a:pt x="263130" y="114984"/>
                      <a:pt x="259395" y="118720"/>
                      <a:pt x="254767" y="118720"/>
                    </a:cubicBezTo>
                    <a:cubicBezTo>
                      <a:pt x="250139" y="118720"/>
                      <a:pt x="246404" y="114984"/>
                      <a:pt x="246404" y="110357"/>
                    </a:cubicBezTo>
                    <a:lnTo>
                      <a:pt x="246404" y="96251"/>
                    </a:lnTo>
                    <a:cubicBezTo>
                      <a:pt x="246404" y="93129"/>
                      <a:pt x="244843" y="90230"/>
                      <a:pt x="242278" y="88502"/>
                    </a:cubicBezTo>
                    <a:lnTo>
                      <a:pt x="136347" y="17806"/>
                    </a:lnTo>
                    <a:cubicBezTo>
                      <a:pt x="133169" y="15743"/>
                      <a:pt x="129155" y="15743"/>
                      <a:pt x="125977" y="17806"/>
                    </a:cubicBezTo>
                    <a:lnTo>
                      <a:pt x="20045" y="88502"/>
                    </a:lnTo>
                    <a:cubicBezTo>
                      <a:pt x="17481" y="90230"/>
                      <a:pt x="15919" y="93129"/>
                      <a:pt x="15919" y="96251"/>
                    </a:cubicBezTo>
                    <a:lnTo>
                      <a:pt x="15919" y="202183"/>
                    </a:lnTo>
                    <a:cubicBezTo>
                      <a:pt x="15919" y="205305"/>
                      <a:pt x="17481" y="208204"/>
                      <a:pt x="20045" y="209933"/>
                    </a:cubicBezTo>
                    <a:lnTo>
                      <a:pt x="125977" y="280628"/>
                    </a:lnTo>
                    <a:cubicBezTo>
                      <a:pt x="129099" y="282635"/>
                      <a:pt x="133169" y="282635"/>
                      <a:pt x="136291" y="280628"/>
                    </a:cubicBezTo>
                    <a:lnTo>
                      <a:pt x="188421" y="245893"/>
                    </a:lnTo>
                    <a:cubicBezTo>
                      <a:pt x="192323" y="243441"/>
                      <a:pt x="197509" y="244667"/>
                      <a:pt x="199961" y="248569"/>
                    </a:cubicBezTo>
                    <a:cubicBezTo>
                      <a:pt x="202248" y="252305"/>
                      <a:pt x="201299" y="257211"/>
                      <a:pt x="197731" y="259776"/>
                    </a:cubicBezTo>
                    <a:lnTo>
                      <a:pt x="145602" y="294510"/>
                    </a:lnTo>
                    <a:cubicBezTo>
                      <a:pt x="141309" y="297409"/>
                      <a:pt x="136291" y="298915"/>
                      <a:pt x="131162" y="298915"/>
                    </a:cubicBezTo>
                    <a:close/>
                    <a:moveTo>
                      <a:pt x="131162" y="228220"/>
                    </a:moveTo>
                    <a:cubicBezTo>
                      <a:pt x="87507" y="228220"/>
                      <a:pt x="52103" y="192816"/>
                      <a:pt x="52103" y="149161"/>
                    </a:cubicBezTo>
                    <a:cubicBezTo>
                      <a:pt x="52103" y="105507"/>
                      <a:pt x="87507" y="70103"/>
                      <a:pt x="131162" y="70103"/>
                    </a:cubicBezTo>
                    <a:cubicBezTo>
                      <a:pt x="155526" y="70103"/>
                      <a:pt x="178552" y="81365"/>
                      <a:pt x="193550" y="100600"/>
                    </a:cubicBezTo>
                    <a:cubicBezTo>
                      <a:pt x="196505" y="104169"/>
                      <a:pt x="196003" y="109409"/>
                      <a:pt x="192491" y="112364"/>
                    </a:cubicBezTo>
                    <a:cubicBezTo>
                      <a:pt x="188922" y="115319"/>
                      <a:pt x="183626" y="114873"/>
                      <a:pt x="180671" y="111305"/>
                    </a:cubicBezTo>
                    <a:cubicBezTo>
                      <a:pt x="180615" y="111193"/>
                      <a:pt x="180504" y="111026"/>
                      <a:pt x="180392" y="110915"/>
                    </a:cubicBezTo>
                    <a:cubicBezTo>
                      <a:pt x="159373" y="83651"/>
                      <a:pt x="120234" y="78522"/>
                      <a:pt x="92971" y="99541"/>
                    </a:cubicBezTo>
                    <a:cubicBezTo>
                      <a:pt x="65707" y="120560"/>
                      <a:pt x="60634" y="159699"/>
                      <a:pt x="81597" y="186962"/>
                    </a:cubicBezTo>
                    <a:cubicBezTo>
                      <a:pt x="93417" y="202350"/>
                      <a:pt x="111760" y="211327"/>
                      <a:pt x="131162" y="211271"/>
                    </a:cubicBezTo>
                    <a:cubicBezTo>
                      <a:pt x="135789" y="211271"/>
                      <a:pt x="139525" y="215006"/>
                      <a:pt x="139525" y="219634"/>
                    </a:cubicBezTo>
                    <a:cubicBezTo>
                      <a:pt x="139525" y="224261"/>
                      <a:pt x="135789" y="227997"/>
                      <a:pt x="131162" y="227997"/>
                    </a:cubicBezTo>
                    <a:close/>
                  </a:path>
                </a:pathLst>
              </a:custGeom>
              <a:solidFill>
                <a:srgbClr val="30373B"/>
              </a:solidFill>
              <a:ln w="5573" cap="flat">
                <a:noFill/>
                <a:prstDash val="solid"/>
                <a:miter/>
              </a:ln>
            </p:spPr>
            <p:txBody>
              <a:bodyPr rtlCol="0" anchor="ctr"/>
              <a:lstStyle/>
              <a:p>
                <a:endParaRPr lang="en-GB"/>
              </a:p>
            </p:txBody>
          </p:sp>
          <p:sp>
            <p:nvSpPr>
              <p:cNvPr id="193" name="Graphic 6">
                <a:extLst>
                  <a:ext uri="{FF2B5EF4-FFF2-40B4-BE49-F238E27FC236}">
                    <a16:creationId xmlns:a16="http://schemas.microsoft.com/office/drawing/2014/main" id="{2733E233-A2C1-48A4-E495-C03DDFC73288}"/>
                  </a:ext>
                </a:extLst>
              </p:cNvPr>
              <p:cNvSpPr/>
              <p:nvPr/>
            </p:nvSpPr>
            <p:spPr>
              <a:xfrm>
                <a:off x="6751284" y="5426504"/>
                <a:ext cx="263881" cy="299395"/>
              </a:xfrm>
              <a:custGeom>
                <a:avLst/>
                <a:gdLst>
                  <a:gd name="connsiteX0" fmla="*/ 131162 w 263881"/>
                  <a:gd name="connsiteY0" fmla="*/ 298929 h 299395"/>
                  <a:gd name="connsiteX1" fmla="*/ 116722 w 263881"/>
                  <a:gd name="connsiteY1" fmla="*/ 294580 h 299395"/>
                  <a:gd name="connsiteX2" fmla="*/ 10791 w 263881"/>
                  <a:gd name="connsiteY2" fmla="*/ 223885 h 299395"/>
                  <a:gd name="connsiteX3" fmla="*/ -807 w 263881"/>
                  <a:gd name="connsiteY3" fmla="*/ 202197 h 299395"/>
                  <a:gd name="connsiteX4" fmla="*/ -807 w 263881"/>
                  <a:gd name="connsiteY4" fmla="*/ 96265 h 299395"/>
                  <a:gd name="connsiteX5" fmla="*/ 10791 w 263881"/>
                  <a:gd name="connsiteY5" fmla="*/ 74577 h 299395"/>
                  <a:gd name="connsiteX6" fmla="*/ 116722 w 263881"/>
                  <a:gd name="connsiteY6" fmla="*/ 3882 h 299395"/>
                  <a:gd name="connsiteX7" fmla="*/ 145602 w 263881"/>
                  <a:gd name="connsiteY7" fmla="*/ 3882 h 299395"/>
                  <a:gd name="connsiteX8" fmla="*/ 251533 w 263881"/>
                  <a:gd name="connsiteY8" fmla="*/ 74577 h 299395"/>
                  <a:gd name="connsiteX9" fmla="*/ 263075 w 263881"/>
                  <a:gd name="connsiteY9" fmla="*/ 96265 h 299395"/>
                  <a:gd name="connsiteX10" fmla="*/ 263075 w 263881"/>
                  <a:gd name="connsiteY10" fmla="*/ 202197 h 299395"/>
                  <a:gd name="connsiteX11" fmla="*/ 251533 w 263881"/>
                  <a:gd name="connsiteY11" fmla="*/ 223885 h 299395"/>
                  <a:gd name="connsiteX12" fmla="*/ 145602 w 263881"/>
                  <a:gd name="connsiteY12" fmla="*/ 294580 h 299395"/>
                  <a:gd name="connsiteX13" fmla="*/ 131162 w 263881"/>
                  <a:gd name="connsiteY13" fmla="*/ 298929 h 299395"/>
                  <a:gd name="connsiteX14" fmla="*/ 131162 w 263881"/>
                  <a:gd name="connsiteY14" fmla="*/ 16148 h 299395"/>
                  <a:gd name="connsiteX15" fmla="*/ 125977 w 263881"/>
                  <a:gd name="connsiteY15" fmla="*/ 17709 h 299395"/>
                  <a:gd name="connsiteX16" fmla="*/ 20045 w 263881"/>
                  <a:gd name="connsiteY16" fmla="*/ 88404 h 299395"/>
                  <a:gd name="connsiteX17" fmla="*/ 15864 w 263881"/>
                  <a:gd name="connsiteY17" fmla="*/ 96154 h 299395"/>
                  <a:gd name="connsiteX18" fmla="*/ 15864 w 263881"/>
                  <a:gd name="connsiteY18" fmla="*/ 202085 h 299395"/>
                  <a:gd name="connsiteX19" fmla="*/ 20045 w 263881"/>
                  <a:gd name="connsiteY19" fmla="*/ 209835 h 299395"/>
                  <a:gd name="connsiteX20" fmla="*/ 125977 w 263881"/>
                  <a:gd name="connsiteY20" fmla="*/ 280530 h 299395"/>
                  <a:gd name="connsiteX21" fmla="*/ 136347 w 263881"/>
                  <a:gd name="connsiteY21" fmla="*/ 280530 h 299395"/>
                  <a:gd name="connsiteX22" fmla="*/ 242278 w 263881"/>
                  <a:gd name="connsiteY22" fmla="*/ 209835 h 299395"/>
                  <a:gd name="connsiteX23" fmla="*/ 246404 w 263881"/>
                  <a:gd name="connsiteY23" fmla="*/ 202085 h 299395"/>
                  <a:gd name="connsiteX24" fmla="*/ 246404 w 263881"/>
                  <a:gd name="connsiteY24" fmla="*/ 96154 h 299395"/>
                  <a:gd name="connsiteX25" fmla="*/ 242278 w 263881"/>
                  <a:gd name="connsiteY25" fmla="*/ 88404 h 299395"/>
                  <a:gd name="connsiteX26" fmla="*/ 136347 w 263881"/>
                  <a:gd name="connsiteY26" fmla="*/ 17709 h 299395"/>
                  <a:gd name="connsiteX27" fmla="*/ 131162 w 263881"/>
                  <a:gd name="connsiteY27" fmla="*/ 16148 h 299395"/>
                  <a:gd name="connsiteX28" fmla="*/ 131162 w 263881"/>
                  <a:gd name="connsiteY28" fmla="*/ 228011 h 299395"/>
                  <a:gd name="connsiteX29" fmla="*/ 52103 w 263881"/>
                  <a:gd name="connsiteY29" fmla="*/ 148952 h 299395"/>
                  <a:gd name="connsiteX30" fmla="*/ 131162 w 263881"/>
                  <a:gd name="connsiteY30" fmla="*/ 69894 h 299395"/>
                  <a:gd name="connsiteX31" fmla="*/ 210220 w 263881"/>
                  <a:gd name="connsiteY31" fmla="*/ 148952 h 299395"/>
                  <a:gd name="connsiteX32" fmla="*/ 201857 w 263881"/>
                  <a:gd name="connsiteY32" fmla="*/ 157315 h 299395"/>
                  <a:gd name="connsiteX33" fmla="*/ 193494 w 263881"/>
                  <a:gd name="connsiteY33" fmla="*/ 148952 h 299395"/>
                  <a:gd name="connsiteX34" fmla="*/ 131162 w 263881"/>
                  <a:gd name="connsiteY34" fmla="*/ 86620 h 299395"/>
                  <a:gd name="connsiteX35" fmla="*/ 68829 w 263881"/>
                  <a:gd name="connsiteY35" fmla="*/ 148952 h 299395"/>
                  <a:gd name="connsiteX36" fmla="*/ 131162 w 263881"/>
                  <a:gd name="connsiteY36" fmla="*/ 211285 h 299395"/>
                  <a:gd name="connsiteX37" fmla="*/ 139525 w 263881"/>
                  <a:gd name="connsiteY37" fmla="*/ 219648 h 299395"/>
                  <a:gd name="connsiteX38" fmla="*/ 131162 w 263881"/>
                  <a:gd name="connsiteY38" fmla="*/ 228011 h 29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3881" h="299395">
                    <a:moveTo>
                      <a:pt x="131162" y="298929"/>
                    </a:moveTo>
                    <a:cubicBezTo>
                      <a:pt x="126032" y="298929"/>
                      <a:pt x="121014" y="297423"/>
                      <a:pt x="116722" y="294580"/>
                    </a:cubicBezTo>
                    <a:lnTo>
                      <a:pt x="10791" y="223885"/>
                    </a:lnTo>
                    <a:cubicBezTo>
                      <a:pt x="3542" y="219034"/>
                      <a:pt x="-807" y="210895"/>
                      <a:pt x="-807" y="202197"/>
                    </a:cubicBezTo>
                    <a:lnTo>
                      <a:pt x="-807" y="96265"/>
                    </a:lnTo>
                    <a:cubicBezTo>
                      <a:pt x="-807" y="87567"/>
                      <a:pt x="3542" y="79428"/>
                      <a:pt x="10791" y="74577"/>
                    </a:cubicBezTo>
                    <a:lnTo>
                      <a:pt x="116722" y="3882"/>
                    </a:lnTo>
                    <a:cubicBezTo>
                      <a:pt x="125475" y="-1916"/>
                      <a:pt x="136849" y="-1916"/>
                      <a:pt x="145602" y="3882"/>
                    </a:cubicBezTo>
                    <a:lnTo>
                      <a:pt x="251533" y="74577"/>
                    </a:lnTo>
                    <a:cubicBezTo>
                      <a:pt x="258782" y="79428"/>
                      <a:pt x="263130" y="87567"/>
                      <a:pt x="263075" y="96265"/>
                    </a:cubicBezTo>
                    <a:lnTo>
                      <a:pt x="263075" y="202197"/>
                    </a:lnTo>
                    <a:cubicBezTo>
                      <a:pt x="263075" y="210895"/>
                      <a:pt x="258782" y="219034"/>
                      <a:pt x="251533" y="223885"/>
                    </a:cubicBezTo>
                    <a:lnTo>
                      <a:pt x="145602" y="294580"/>
                    </a:lnTo>
                    <a:cubicBezTo>
                      <a:pt x="141309" y="297423"/>
                      <a:pt x="136291" y="298929"/>
                      <a:pt x="131162" y="298929"/>
                    </a:cubicBezTo>
                    <a:close/>
                    <a:moveTo>
                      <a:pt x="131162" y="16148"/>
                    </a:moveTo>
                    <a:cubicBezTo>
                      <a:pt x="129322" y="16148"/>
                      <a:pt x="127538" y="16705"/>
                      <a:pt x="125977" y="17709"/>
                    </a:cubicBezTo>
                    <a:lnTo>
                      <a:pt x="20045" y="88404"/>
                    </a:lnTo>
                    <a:cubicBezTo>
                      <a:pt x="17425" y="90132"/>
                      <a:pt x="15864" y="93032"/>
                      <a:pt x="15864" y="96154"/>
                    </a:cubicBezTo>
                    <a:lnTo>
                      <a:pt x="15864" y="202085"/>
                    </a:lnTo>
                    <a:cubicBezTo>
                      <a:pt x="15864" y="205208"/>
                      <a:pt x="17425" y="208107"/>
                      <a:pt x="20045" y="209835"/>
                    </a:cubicBezTo>
                    <a:lnTo>
                      <a:pt x="125977" y="280530"/>
                    </a:lnTo>
                    <a:cubicBezTo>
                      <a:pt x="129155" y="282593"/>
                      <a:pt x="133169" y="282593"/>
                      <a:pt x="136347" y="280530"/>
                    </a:cubicBezTo>
                    <a:lnTo>
                      <a:pt x="242278" y="209835"/>
                    </a:lnTo>
                    <a:cubicBezTo>
                      <a:pt x="244843" y="208107"/>
                      <a:pt x="246404" y="205208"/>
                      <a:pt x="246404" y="202085"/>
                    </a:cubicBezTo>
                    <a:lnTo>
                      <a:pt x="246404" y="96154"/>
                    </a:lnTo>
                    <a:cubicBezTo>
                      <a:pt x="246404" y="93032"/>
                      <a:pt x="244899" y="90132"/>
                      <a:pt x="242278" y="88404"/>
                    </a:cubicBezTo>
                    <a:lnTo>
                      <a:pt x="136347" y="17709"/>
                    </a:lnTo>
                    <a:cubicBezTo>
                      <a:pt x="134842" y="16649"/>
                      <a:pt x="133002" y="16148"/>
                      <a:pt x="131162" y="16148"/>
                    </a:cubicBezTo>
                    <a:close/>
                    <a:moveTo>
                      <a:pt x="131162" y="228011"/>
                    </a:moveTo>
                    <a:cubicBezTo>
                      <a:pt x="87507" y="228011"/>
                      <a:pt x="52103" y="192607"/>
                      <a:pt x="52103" y="148952"/>
                    </a:cubicBezTo>
                    <a:cubicBezTo>
                      <a:pt x="52103" y="105297"/>
                      <a:pt x="87507" y="69894"/>
                      <a:pt x="131162" y="69894"/>
                    </a:cubicBezTo>
                    <a:cubicBezTo>
                      <a:pt x="174817" y="69894"/>
                      <a:pt x="210220" y="105297"/>
                      <a:pt x="210220" y="148952"/>
                    </a:cubicBezTo>
                    <a:cubicBezTo>
                      <a:pt x="210220" y="153580"/>
                      <a:pt x="206485" y="157315"/>
                      <a:pt x="201857" y="157315"/>
                    </a:cubicBezTo>
                    <a:cubicBezTo>
                      <a:pt x="197230" y="157315"/>
                      <a:pt x="193494" y="153580"/>
                      <a:pt x="193494" y="148952"/>
                    </a:cubicBezTo>
                    <a:cubicBezTo>
                      <a:pt x="193494" y="114552"/>
                      <a:pt x="165561" y="86620"/>
                      <a:pt x="131162" y="86620"/>
                    </a:cubicBezTo>
                    <a:cubicBezTo>
                      <a:pt x="96762" y="86620"/>
                      <a:pt x="68829" y="114552"/>
                      <a:pt x="68829" y="148952"/>
                    </a:cubicBezTo>
                    <a:cubicBezTo>
                      <a:pt x="68829" y="183352"/>
                      <a:pt x="96762" y="211285"/>
                      <a:pt x="131162" y="211285"/>
                    </a:cubicBezTo>
                    <a:cubicBezTo>
                      <a:pt x="135789" y="211285"/>
                      <a:pt x="139525" y="215020"/>
                      <a:pt x="139525" y="219648"/>
                    </a:cubicBezTo>
                    <a:cubicBezTo>
                      <a:pt x="139525" y="224275"/>
                      <a:pt x="135789" y="228011"/>
                      <a:pt x="131162" y="228011"/>
                    </a:cubicBezTo>
                    <a:close/>
                  </a:path>
                </a:pathLst>
              </a:custGeom>
              <a:solidFill>
                <a:srgbClr val="30373B"/>
              </a:solidFill>
              <a:ln w="5573" cap="flat">
                <a:noFill/>
                <a:prstDash val="solid"/>
                <a:miter/>
              </a:ln>
            </p:spPr>
            <p:txBody>
              <a:bodyPr rtlCol="0" anchor="ctr"/>
              <a:lstStyle/>
              <a:p>
                <a:endParaRPr lang="en-GB"/>
              </a:p>
            </p:txBody>
          </p:sp>
          <p:sp>
            <p:nvSpPr>
              <p:cNvPr id="194" name="Graphic 6">
                <a:extLst>
                  <a:ext uri="{FF2B5EF4-FFF2-40B4-BE49-F238E27FC236}">
                    <a16:creationId xmlns:a16="http://schemas.microsoft.com/office/drawing/2014/main" id="{E3FA16A8-6D7B-B770-AE59-189F3A97C723}"/>
                  </a:ext>
                </a:extLst>
              </p:cNvPr>
              <p:cNvSpPr/>
              <p:nvPr/>
            </p:nvSpPr>
            <p:spPr>
              <a:xfrm>
                <a:off x="8979495" y="5504580"/>
                <a:ext cx="519341" cy="311473"/>
              </a:xfrm>
              <a:custGeom>
                <a:avLst/>
                <a:gdLst>
                  <a:gd name="connsiteX0" fmla="*/ 439452 w 519341"/>
                  <a:gd name="connsiteY0" fmla="*/ 310895 h 311473"/>
                  <a:gd name="connsiteX1" fmla="*/ 429026 w 519341"/>
                  <a:gd name="connsiteY1" fmla="*/ 309891 h 311473"/>
                  <a:gd name="connsiteX2" fmla="*/ 172059 w 519341"/>
                  <a:gd name="connsiteY2" fmla="*/ 260773 h 311473"/>
                  <a:gd name="connsiteX3" fmla="*/ 137102 w 519341"/>
                  <a:gd name="connsiteY3" fmla="*/ 237802 h 311473"/>
                  <a:gd name="connsiteX4" fmla="*/ 115804 w 519341"/>
                  <a:gd name="connsiteY4" fmla="*/ 206469 h 311473"/>
                  <a:gd name="connsiteX5" fmla="*/ 84471 w 519341"/>
                  <a:gd name="connsiteY5" fmla="*/ 227766 h 311473"/>
                  <a:gd name="connsiteX6" fmla="*/ 23755 w 519341"/>
                  <a:gd name="connsiteY6" fmla="*/ 228213 h 311473"/>
                  <a:gd name="connsiteX7" fmla="*/ 23755 w 519341"/>
                  <a:gd name="connsiteY7" fmla="*/ 228213 h 311473"/>
                  <a:gd name="connsiteX8" fmla="*/ 116 w 519341"/>
                  <a:gd name="connsiteY8" fmla="*/ 172459 h 311473"/>
                  <a:gd name="connsiteX9" fmla="*/ 24703 w 519341"/>
                  <a:gd name="connsiteY9" fmla="*/ 43947 h 311473"/>
                  <a:gd name="connsiteX10" fmla="*/ 47673 w 519341"/>
                  <a:gd name="connsiteY10" fmla="*/ 8990 h 311473"/>
                  <a:gd name="connsiteX11" fmla="*/ 67298 w 519341"/>
                  <a:gd name="connsiteY11" fmla="*/ 683 h 311473"/>
                  <a:gd name="connsiteX12" fmla="*/ 123498 w 519341"/>
                  <a:gd name="connsiteY12" fmla="*/ 23486 h 311473"/>
                  <a:gd name="connsiteX13" fmla="*/ 144796 w 519341"/>
                  <a:gd name="connsiteY13" fmla="*/ 54875 h 311473"/>
                  <a:gd name="connsiteX14" fmla="*/ 176185 w 519341"/>
                  <a:gd name="connsiteY14" fmla="*/ 33577 h 311473"/>
                  <a:gd name="connsiteX15" fmla="*/ 217108 w 519341"/>
                  <a:gd name="connsiteY15" fmla="*/ 25103 h 311473"/>
                  <a:gd name="connsiteX16" fmla="*/ 474131 w 519341"/>
                  <a:gd name="connsiteY16" fmla="*/ 74278 h 311473"/>
                  <a:gd name="connsiteX17" fmla="*/ 517563 w 519341"/>
                  <a:gd name="connsiteY17" fmla="*/ 138171 h 311473"/>
                  <a:gd name="connsiteX18" fmla="*/ 492975 w 519341"/>
                  <a:gd name="connsiteY18" fmla="*/ 266404 h 311473"/>
                  <a:gd name="connsiteX19" fmla="*/ 439452 w 519341"/>
                  <a:gd name="connsiteY19" fmla="*/ 311006 h 311473"/>
                  <a:gd name="connsiteX20" fmla="*/ 118313 w 519341"/>
                  <a:gd name="connsiteY20" fmla="*/ 186398 h 311473"/>
                  <a:gd name="connsiteX21" fmla="*/ 119874 w 519341"/>
                  <a:gd name="connsiteY21" fmla="*/ 186398 h 311473"/>
                  <a:gd name="connsiteX22" fmla="*/ 125449 w 519341"/>
                  <a:gd name="connsiteY22" fmla="*/ 189910 h 311473"/>
                  <a:gd name="connsiteX23" fmla="*/ 151430 w 519341"/>
                  <a:gd name="connsiteY23" fmla="*/ 228213 h 311473"/>
                  <a:gd name="connsiteX24" fmla="*/ 175683 w 519341"/>
                  <a:gd name="connsiteY24" fmla="*/ 244158 h 311473"/>
                  <a:gd name="connsiteX25" fmla="*/ 432706 w 519341"/>
                  <a:gd name="connsiteY25" fmla="*/ 293277 h 311473"/>
                  <a:gd name="connsiteX26" fmla="*/ 477253 w 519341"/>
                  <a:gd name="connsiteY26" fmla="*/ 263337 h 311473"/>
                  <a:gd name="connsiteX27" fmla="*/ 477309 w 519341"/>
                  <a:gd name="connsiteY27" fmla="*/ 263170 h 311473"/>
                  <a:gd name="connsiteX28" fmla="*/ 501896 w 519341"/>
                  <a:gd name="connsiteY28" fmla="*/ 134937 h 311473"/>
                  <a:gd name="connsiteX29" fmla="*/ 472068 w 519341"/>
                  <a:gd name="connsiteY29" fmla="*/ 90390 h 311473"/>
                  <a:gd name="connsiteX30" fmla="*/ 471789 w 519341"/>
                  <a:gd name="connsiteY30" fmla="*/ 90334 h 311473"/>
                  <a:gd name="connsiteX31" fmla="*/ 214766 w 519341"/>
                  <a:gd name="connsiteY31" fmla="*/ 41216 h 311473"/>
                  <a:gd name="connsiteX32" fmla="*/ 186332 w 519341"/>
                  <a:gd name="connsiteY32" fmla="*/ 46791 h 311473"/>
                  <a:gd name="connsiteX33" fmla="*/ 148085 w 519341"/>
                  <a:gd name="connsiteY33" fmla="*/ 72772 h 311473"/>
                  <a:gd name="connsiteX34" fmla="*/ 136433 w 519341"/>
                  <a:gd name="connsiteY34" fmla="*/ 70598 h 311473"/>
                  <a:gd name="connsiteX35" fmla="*/ 110451 w 519341"/>
                  <a:gd name="connsiteY35" fmla="*/ 32239 h 311473"/>
                  <a:gd name="connsiteX36" fmla="*/ 57765 w 519341"/>
                  <a:gd name="connsiteY36" fmla="*/ 22259 h 311473"/>
                  <a:gd name="connsiteX37" fmla="*/ 41875 w 519341"/>
                  <a:gd name="connsiteY37" fmla="*/ 46456 h 311473"/>
                  <a:gd name="connsiteX38" fmla="*/ 17343 w 519341"/>
                  <a:gd name="connsiteY38" fmla="*/ 174689 h 311473"/>
                  <a:gd name="connsiteX39" fmla="*/ 33735 w 519341"/>
                  <a:gd name="connsiteY39" fmla="*/ 213716 h 311473"/>
                  <a:gd name="connsiteX40" fmla="*/ 33735 w 519341"/>
                  <a:gd name="connsiteY40" fmla="*/ 213716 h 311473"/>
                  <a:gd name="connsiteX41" fmla="*/ 75829 w 519341"/>
                  <a:gd name="connsiteY41" fmla="*/ 213382 h 311473"/>
                  <a:gd name="connsiteX42" fmla="*/ 114131 w 519341"/>
                  <a:gd name="connsiteY42" fmla="*/ 187401 h 311473"/>
                  <a:gd name="connsiteX43" fmla="*/ 118313 w 519341"/>
                  <a:gd name="connsiteY43" fmla="*/ 186398 h 31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9341" h="311473">
                    <a:moveTo>
                      <a:pt x="439452" y="310895"/>
                    </a:moveTo>
                    <a:cubicBezTo>
                      <a:pt x="435940" y="310895"/>
                      <a:pt x="432483" y="310560"/>
                      <a:pt x="429026" y="309891"/>
                    </a:cubicBezTo>
                    <a:lnTo>
                      <a:pt x="172059" y="260773"/>
                    </a:lnTo>
                    <a:cubicBezTo>
                      <a:pt x="157786" y="258096"/>
                      <a:pt x="145186" y="249845"/>
                      <a:pt x="137102" y="237802"/>
                    </a:cubicBezTo>
                    <a:lnTo>
                      <a:pt x="115804" y="206469"/>
                    </a:lnTo>
                    <a:lnTo>
                      <a:pt x="84471" y="227766"/>
                    </a:lnTo>
                    <a:cubicBezTo>
                      <a:pt x="66183" y="240199"/>
                      <a:pt x="42209" y="240367"/>
                      <a:pt x="23755" y="228213"/>
                    </a:cubicBezTo>
                    <a:lnTo>
                      <a:pt x="23755" y="228213"/>
                    </a:lnTo>
                    <a:cubicBezTo>
                      <a:pt x="5412" y="216058"/>
                      <a:pt x="-3899" y="194092"/>
                      <a:pt x="116" y="172459"/>
                    </a:cubicBezTo>
                    <a:lnTo>
                      <a:pt x="24703" y="43947"/>
                    </a:lnTo>
                    <a:cubicBezTo>
                      <a:pt x="27379" y="29675"/>
                      <a:pt x="35631" y="17075"/>
                      <a:pt x="47673" y="8990"/>
                    </a:cubicBezTo>
                    <a:cubicBezTo>
                      <a:pt x="53639" y="4976"/>
                      <a:pt x="60273" y="2132"/>
                      <a:pt x="67298" y="683"/>
                    </a:cubicBezTo>
                    <a:cubicBezTo>
                      <a:pt x="88931" y="-3833"/>
                      <a:pt x="111120" y="5199"/>
                      <a:pt x="123498" y="23486"/>
                    </a:cubicBezTo>
                    <a:lnTo>
                      <a:pt x="144796" y="54875"/>
                    </a:lnTo>
                    <a:lnTo>
                      <a:pt x="176185" y="33577"/>
                    </a:lnTo>
                    <a:cubicBezTo>
                      <a:pt x="188172" y="25493"/>
                      <a:pt x="202891" y="22427"/>
                      <a:pt x="217108" y="25103"/>
                    </a:cubicBezTo>
                    <a:lnTo>
                      <a:pt x="474131" y="74278"/>
                    </a:lnTo>
                    <a:cubicBezTo>
                      <a:pt x="503792" y="79908"/>
                      <a:pt x="523194" y="108510"/>
                      <a:pt x="517563" y="138171"/>
                    </a:cubicBezTo>
                    <a:lnTo>
                      <a:pt x="492975" y="266404"/>
                    </a:lnTo>
                    <a:cubicBezTo>
                      <a:pt x="488125" y="292162"/>
                      <a:pt x="465657" y="310895"/>
                      <a:pt x="439452" y="311006"/>
                    </a:cubicBezTo>
                    <a:close/>
                    <a:moveTo>
                      <a:pt x="118313" y="186398"/>
                    </a:moveTo>
                    <a:cubicBezTo>
                      <a:pt x="118814" y="186342"/>
                      <a:pt x="119372" y="186342"/>
                      <a:pt x="119874" y="186398"/>
                    </a:cubicBezTo>
                    <a:cubicBezTo>
                      <a:pt x="122159" y="186788"/>
                      <a:pt x="124167" y="188014"/>
                      <a:pt x="125449" y="189910"/>
                    </a:cubicBezTo>
                    <a:lnTo>
                      <a:pt x="151430" y="228213"/>
                    </a:lnTo>
                    <a:cubicBezTo>
                      <a:pt x="157061" y="236520"/>
                      <a:pt x="165815" y="242262"/>
                      <a:pt x="175683" y="244158"/>
                    </a:cubicBezTo>
                    <a:lnTo>
                      <a:pt x="432706" y="293277"/>
                    </a:lnTo>
                    <a:cubicBezTo>
                      <a:pt x="453279" y="297291"/>
                      <a:pt x="473239" y="283910"/>
                      <a:pt x="477253" y="263337"/>
                    </a:cubicBezTo>
                    <a:cubicBezTo>
                      <a:pt x="477309" y="263281"/>
                      <a:pt x="477309" y="263225"/>
                      <a:pt x="477309" y="263170"/>
                    </a:cubicBezTo>
                    <a:lnTo>
                      <a:pt x="501896" y="134937"/>
                    </a:lnTo>
                    <a:cubicBezTo>
                      <a:pt x="505966" y="114420"/>
                      <a:pt x="492585" y="94460"/>
                      <a:pt x="472068" y="90390"/>
                    </a:cubicBezTo>
                    <a:cubicBezTo>
                      <a:pt x="471957" y="90390"/>
                      <a:pt x="471901" y="90334"/>
                      <a:pt x="471789" y="90334"/>
                    </a:cubicBezTo>
                    <a:lnTo>
                      <a:pt x="214766" y="41216"/>
                    </a:lnTo>
                    <a:cubicBezTo>
                      <a:pt x="204898" y="39264"/>
                      <a:pt x="194695" y="41271"/>
                      <a:pt x="186332" y="46791"/>
                    </a:cubicBezTo>
                    <a:lnTo>
                      <a:pt x="148085" y="72772"/>
                    </a:lnTo>
                    <a:cubicBezTo>
                      <a:pt x="144238" y="75392"/>
                      <a:pt x="139053" y="74389"/>
                      <a:pt x="136433" y="70598"/>
                    </a:cubicBezTo>
                    <a:lnTo>
                      <a:pt x="110451" y="32239"/>
                    </a:lnTo>
                    <a:cubicBezTo>
                      <a:pt x="98687" y="14956"/>
                      <a:pt x="75104" y="10440"/>
                      <a:pt x="57765" y="22259"/>
                    </a:cubicBezTo>
                    <a:cubicBezTo>
                      <a:pt x="49457" y="27890"/>
                      <a:pt x="43770" y="36588"/>
                      <a:pt x="41875" y="46456"/>
                    </a:cubicBezTo>
                    <a:lnTo>
                      <a:pt x="17343" y="174689"/>
                    </a:lnTo>
                    <a:cubicBezTo>
                      <a:pt x="14332" y="189799"/>
                      <a:pt x="20856" y="205242"/>
                      <a:pt x="33735" y="213716"/>
                    </a:cubicBezTo>
                    <a:lnTo>
                      <a:pt x="33735" y="213716"/>
                    </a:lnTo>
                    <a:cubicBezTo>
                      <a:pt x="46558" y="222191"/>
                      <a:pt x="63173" y="222024"/>
                      <a:pt x="75829" y="213382"/>
                    </a:cubicBezTo>
                    <a:lnTo>
                      <a:pt x="114131" y="187401"/>
                    </a:lnTo>
                    <a:cubicBezTo>
                      <a:pt x="115413" y="186732"/>
                      <a:pt x="116863" y="186342"/>
                      <a:pt x="118313" y="186398"/>
                    </a:cubicBezTo>
                    <a:close/>
                  </a:path>
                </a:pathLst>
              </a:custGeom>
              <a:solidFill>
                <a:srgbClr val="30373B"/>
              </a:solidFill>
              <a:ln w="5573" cap="flat">
                <a:noFill/>
                <a:prstDash val="solid"/>
                <a:miter/>
              </a:ln>
            </p:spPr>
            <p:txBody>
              <a:bodyPr rtlCol="0" anchor="ctr"/>
              <a:lstStyle/>
              <a:p>
                <a:endParaRPr lang="en-GB"/>
              </a:p>
            </p:txBody>
          </p:sp>
          <p:sp>
            <p:nvSpPr>
              <p:cNvPr id="195" name="Graphic 6">
                <a:extLst>
                  <a:ext uri="{FF2B5EF4-FFF2-40B4-BE49-F238E27FC236}">
                    <a16:creationId xmlns:a16="http://schemas.microsoft.com/office/drawing/2014/main" id="{7D4B7714-4ADE-39DE-6256-E415C1403881}"/>
                  </a:ext>
                </a:extLst>
              </p:cNvPr>
              <p:cNvSpPr/>
              <p:nvPr/>
            </p:nvSpPr>
            <p:spPr>
              <a:xfrm>
                <a:off x="8564794" y="5486970"/>
                <a:ext cx="449772" cy="162196"/>
              </a:xfrm>
              <a:custGeom>
                <a:avLst/>
                <a:gdLst>
                  <a:gd name="connsiteX0" fmla="*/ 430316 w 449772"/>
                  <a:gd name="connsiteY0" fmla="*/ 161523 h 162196"/>
                  <a:gd name="connsiteX1" fmla="*/ 428756 w 449772"/>
                  <a:gd name="connsiteY1" fmla="*/ 161523 h 162196"/>
                  <a:gd name="connsiteX2" fmla="*/ 154839 w 449772"/>
                  <a:gd name="connsiteY2" fmla="*/ 109171 h 162196"/>
                  <a:gd name="connsiteX3" fmla="*/ 126683 w 449772"/>
                  <a:gd name="connsiteY3" fmla="*/ 128294 h 162196"/>
                  <a:gd name="connsiteX4" fmla="*/ 119491 w 449772"/>
                  <a:gd name="connsiteY4" fmla="*/ 129354 h 162196"/>
                  <a:gd name="connsiteX5" fmla="*/ 4918 w 449772"/>
                  <a:gd name="connsiteY5" fmla="*/ 93950 h 162196"/>
                  <a:gd name="connsiteX6" fmla="*/ -657 w 449772"/>
                  <a:gd name="connsiteY6" fmla="*/ 84416 h 162196"/>
                  <a:gd name="connsiteX7" fmla="*/ 14284 w 449772"/>
                  <a:gd name="connsiteY7" fmla="*/ 6361 h 162196"/>
                  <a:gd name="connsiteX8" fmla="*/ 23150 w 449772"/>
                  <a:gd name="connsiteY8" fmla="*/ -441 h 162196"/>
                  <a:gd name="connsiteX9" fmla="*/ 142684 w 449772"/>
                  <a:gd name="connsiteY9" fmla="*/ 8926 h 162196"/>
                  <a:gd name="connsiteX10" fmla="*/ 148985 w 449772"/>
                  <a:gd name="connsiteY10" fmla="*/ 12606 h 162196"/>
                  <a:gd name="connsiteX11" fmla="*/ 168053 w 449772"/>
                  <a:gd name="connsiteY11" fmla="*/ 40482 h 162196"/>
                  <a:gd name="connsiteX12" fmla="*/ 442025 w 449772"/>
                  <a:gd name="connsiteY12" fmla="*/ 92835 h 162196"/>
                  <a:gd name="connsiteX13" fmla="*/ 448827 w 449772"/>
                  <a:gd name="connsiteY13" fmla="*/ 102759 h 162196"/>
                  <a:gd name="connsiteX14" fmla="*/ 438902 w 449772"/>
                  <a:gd name="connsiteY14" fmla="*/ 109561 h 162196"/>
                  <a:gd name="connsiteX15" fmla="*/ 161529 w 449772"/>
                  <a:gd name="connsiteY15" fmla="*/ 56539 h 162196"/>
                  <a:gd name="connsiteX16" fmla="*/ 155954 w 449772"/>
                  <a:gd name="connsiteY16" fmla="*/ 53027 h 162196"/>
                  <a:gd name="connsiteX17" fmla="*/ 137165 w 449772"/>
                  <a:gd name="connsiteY17" fmla="*/ 25150 h 162196"/>
                  <a:gd name="connsiteX18" fmla="*/ 29059 w 449772"/>
                  <a:gd name="connsiteY18" fmla="*/ 16675 h 162196"/>
                  <a:gd name="connsiteX19" fmla="*/ 16960 w 449772"/>
                  <a:gd name="connsiteY19" fmla="*/ 80012 h 162196"/>
                  <a:gd name="connsiteX20" fmla="*/ 120551 w 449772"/>
                  <a:gd name="connsiteY20" fmla="*/ 112014 h 162196"/>
                  <a:gd name="connsiteX21" fmla="*/ 148427 w 449772"/>
                  <a:gd name="connsiteY21" fmla="*/ 93225 h 162196"/>
                  <a:gd name="connsiteX22" fmla="*/ 154672 w 449772"/>
                  <a:gd name="connsiteY22" fmla="*/ 91943 h 162196"/>
                  <a:gd name="connsiteX23" fmla="*/ 431989 w 449772"/>
                  <a:gd name="connsiteY23" fmla="*/ 144964 h 162196"/>
                  <a:gd name="connsiteX24" fmla="*/ 439571 w 449772"/>
                  <a:gd name="connsiteY24" fmla="*/ 154108 h 162196"/>
                  <a:gd name="connsiteX25" fmla="*/ 430428 w 449772"/>
                  <a:gd name="connsiteY25" fmla="*/ 161690 h 16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9772" h="162196">
                    <a:moveTo>
                      <a:pt x="430316" y="161523"/>
                    </a:moveTo>
                    <a:lnTo>
                      <a:pt x="428756" y="161523"/>
                    </a:lnTo>
                    <a:lnTo>
                      <a:pt x="154839" y="109171"/>
                    </a:lnTo>
                    <a:lnTo>
                      <a:pt x="126683" y="128294"/>
                    </a:lnTo>
                    <a:cubicBezTo>
                      <a:pt x="124565" y="129688"/>
                      <a:pt x="121944" y="130078"/>
                      <a:pt x="119491" y="129354"/>
                    </a:cubicBezTo>
                    <a:lnTo>
                      <a:pt x="4918" y="93950"/>
                    </a:lnTo>
                    <a:cubicBezTo>
                      <a:pt x="904" y="92612"/>
                      <a:pt x="-1438" y="88542"/>
                      <a:pt x="-657" y="84416"/>
                    </a:cubicBezTo>
                    <a:lnTo>
                      <a:pt x="14284" y="6361"/>
                    </a:lnTo>
                    <a:cubicBezTo>
                      <a:pt x="15065" y="2124"/>
                      <a:pt x="18856" y="-775"/>
                      <a:pt x="23150" y="-441"/>
                    </a:cubicBezTo>
                    <a:lnTo>
                      <a:pt x="142684" y="8926"/>
                    </a:lnTo>
                    <a:cubicBezTo>
                      <a:pt x="145249" y="9149"/>
                      <a:pt x="147535" y="10487"/>
                      <a:pt x="148985" y="12606"/>
                    </a:cubicBezTo>
                    <a:lnTo>
                      <a:pt x="168053" y="40482"/>
                    </a:lnTo>
                    <a:lnTo>
                      <a:pt x="442025" y="92835"/>
                    </a:lnTo>
                    <a:cubicBezTo>
                      <a:pt x="446652" y="93671"/>
                      <a:pt x="449663" y="98132"/>
                      <a:pt x="448827" y="102759"/>
                    </a:cubicBezTo>
                    <a:cubicBezTo>
                      <a:pt x="447990" y="107386"/>
                      <a:pt x="443530" y="110397"/>
                      <a:pt x="438902" y="109561"/>
                    </a:cubicBezTo>
                    <a:lnTo>
                      <a:pt x="161529" y="56539"/>
                    </a:lnTo>
                    <a:cubicBezTo>
                      <a:pt x="159243" y="56205"/>
                      <a:pt x="157236" y="54923"/>
                      <a:pt x="155954" y="53027"/>
                    </a:cubicBezTo>
                    <a:lnTo>
                      <a:pt x="137165" y="25150"/>
                    </a:lnTo>
                    <a:lnTo>
                      <a:pt x="29059" y="16675"/>
                    </a:lnTo>
                    <a:lnTo>
                      <a:pt x="16960" y="80012"/>
                    </a:lnTo>
                    <a:lnTo>
                      <a:pt x="120551" y="112014"/>
                    </a:lnTo>
                    <a:lnTo>
                      <a:pt x="148427" y="93225"/>
                    </a:lnTo>
                    <a:cubicBezTo>
                      <a:pt x="150267" y="91998"/>
                      <a:pt x="152497" y="91497"/>
                      <a:pt x="154672" y="91943"/>
                    </a:cubicBezTo>
                    <a:lnTo>
                      <a:pt x="431989" y="144964"/>
                    </a:lnTo>
                    <a:cubicBezTo>
                      <a:pt x="436616" y="145411"/>
                      <a:pt x="440017" y="149480"/>
                      <a:pt x="439571" y="154108"/>
                    </a:cubicBezTo>
                    <a:cubicBezTo>
                      <a:pt x="439126" y="158736"/>
                      <a:pt x="435056" y="162137"/>
                      <a:pt x="430428" y="161690"/>
                    </a:cubicBezTo>
                    <a:close/>
                  </a:path>
                </a:pathLst>
              </a:custGeom>
              <a:solidFill>
                <a:srgbClr val="30373B"/>
              </a:solidFill>
              <a:ln w="5573" cap="flat">
                <a:noFill/>
                <a:prstDash val="solid"/>
                <a:miter/>
              </a:ln>
            </p:spPr>
            <p:txBody>
              <a:bodyPr rtlCol="0" anchor="ctr"/>
              <a:lstStyle/>
              <a:p>
                <a:endParaRPr lang="en-GB"/>
              </a:p>
            </p:txBody>
          </p:sp>
          <p:sp>
            <p:nvSpPr>
              <p:cNvPr id="196" name="Graphic 6">
                <a:extLst>
                  <a:ext uri="{FF2B5EF4-FFF2-40B4-BE49-F238E27FC236}">
                    <a16:creationId xmlns:a16="http://schemas.microsoft.com/office/drawing/2014/main" id="{589F3B71-D475-BDA5-E072-5BD74CA0118D}"/>
                  </a:ext>
                </a:extLst>
              </p:cNvPr>
              <p:cNvSpPr/>
              <p:nvPr/>
            </p:nvSpPr>
            <p:spPr>
              <a:xfrm>
                <a:off x="9181135" y="5677828"/>
                <a:ext cx="294913" cy="74148"/>
              </a:xfrm>
              <a:custGeom>
                <a:avLst/>
                <a:gdLst>
                  <a:gd name="connsiteX0" fmla="*/ 284645 w 294913"/>
                  <a:gd name="connsiteY0" fmla="*/ 73474 h 74148"/>
                  <a:gd name="connsiteX1" fmla="*/ 282916 w 294913"/>
                  <a:gd name="connsiteY1" fmla="*/ 73474 h 74148"/>
                  <a:gd name="connsiteX2" fmla="*/ 5878 w 294913"/>
                  <a:gd name="connsiteY2" fmla="*/ 16104 h 74148"/>
                  <a:gd name="connsiteX3" fmla="*/ -646 w 294913"/>
                  <a:gd name="connsiteY3" fmla="*/ 6180 h 74148"/>
                  <a:gd name="connsiteX4" fmla="*/ 9279 w 294913"/>
                  <a:gd name="connsiteY4" fmla="*/ -287 h 74148"/>
                  <a:gd name="connsiteX5" fmla="*/ 286540 w 294913"/>
                  <a:gd name="connsiteY5" fmla="*/ 56916 h 74148"/>
                  <a:gd name="connsiteX6" fmla="*/ 294067 w 294913"/>
                  <a:gd name="connsiteY6" fmla="*/ 66115 h 74148"/>
                  <a:gd name="connsiteX7" fmla="*/ 284868 w 294913"/>
                  <a:gd name="connsiteY7" fmla="*/ 73642 h 7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913" h="74148">
                    <a:moveTo>
                      <a:pt x="284645" y="73474"/>
                    </a:moveTo>
                    <a:cubicBezTo>
                      <a:pt x="284087" y="73530"/>
                      <a:pt x="283474" y="73530"/>
                      <a:pt x="282916" y="73474"/>
                    </a:cubicBezTo>
                    <a:lnTo>
                      <a:pt x="5878" y="16104"/>
                    </a:lnTo>
                    <a:cubicBezTo>
                      <a:pt x="1361" y="15157"/>
                      <a:pt x="-1537" y="10752"/>
                      <a:pt x="-646" y="6180"/>
                    </a:cubicBezTo>
                    <a:cubicBezTo>
                      <a:pt x="302" y="1664"/>
                      <a:pt x="4763" y="-1235"/>
                      <a:pt x="9279" y="-287"/>
                    </a:cubicBezTo>
                    <a:lnTo>
                      <a:pt x="286540" y="56916"/>
                    </a:lnTo>
                    <a:cubicBezTo>
                      <a:pt x="291168" y="57362"/>
                      <a:pt x="294513" y="61487"/>
                      <a:pt x="294067" y="66115"/>
                    </a:cubicBezTo>
                    <a:cubicBezTo>
                      <a:pt x="293621" y="70743"/>
                      <a:pt x="289495" y="74088"/>
                      <a:pt x="284868" y="73642"/>
                    </a:cubicBezTo>
                    <a:close/>
                  </a:path>
                </a:pathLst>
              </a:custGeom>
              <a:solidFill>
                <a:srgbClr val="30373B"/>
              </a:solidFill>
              <a:ln w="5573" cap="flat">
                <a:noFill/>
                <a:prstDash val="solid"/>
                <a:miter/>
              </a:ln>
            </p:spPr>
            <p:txBody>
              <a:bodyPr rtlCol="0" anchor="ctr"/>
              <a:lstStyle/>
              <a:p>
                <a:endParaRPr lang="en-GB"/>
              </a:p>
            </p:txBody>
          </p:sp>
          <p:sp>
            <p:nvSpPr>
              <p:cNvPr id="197" name="Graphic 6">
                <a:extLst>
                  <a:ext uri="{FF2B5EF4-FFF2-40B4-BE49-F238E27FC236}">
                    <a16:creationId xmlns:a16="http://schemas.microsoft.com/office/drawing/2014/main" id="{437D16E4-E18C-3954-6515-6DCF2CFC2EC9}"/>
                  </a:ext>
                </a:extLst>
              </p:cNvPr>
              <p:cNvSpPr/>
              <p:nvPr/>
            </p:nvSpPr>
            <p:spPr>
              <a:xfrm>
                <a:off x="5515845" y="6034271"/>
                <a:ext cx="502226" cy="241970"/>
              </a:xfrm>
              <a:custGeom>
                <a:avLst/>
                <a:gdLst>
                  <a:gd name="connsiteX0" fmla="*/ 446447 w 502226"/>
                  <a:gd name="connsiteY0" fmla="*/ 241448 h 241970"/>
                  <a:gd name="connsiteX1" fmla="*/ 446057 w 502226"/>
                  <a:gd name="connsiteY1" fmla="*/ 241448 h 241970"/>
                  <a:gd name="connsiteX2" fmla="*/ 184406 w 502226"/>
                  <a:gd name="connsiteY2" fmla="*/ 240221 h 241970"/>
                  <a:gd name="connsiteX3" fmla="*/ 145881 w 502226"/>
                  <a:gd name="connsiteY3" fmla="*/ 224053 h 241970"/>
                  <a:gd name="connsiteX4" fmla="*/ 119175 w 502226"/>
                  <a:gd name="connsiteY4" fmla="*/ 197124 h 241970"/>
                  <a:gd name="connsiteX5" fmla="*/ 92246 w 502226"/>
                  <a:gd name="connsiteY5" fmla="*/ 223774 h 241970"/>
                  <a:gd name="connsiteX6" fmla="*/ 14977 w 502226"/>
                  <a:gd name="connsiteY6" fmla="*/ 223328 h 241970"/>
                  <a:gd name="connsiteX7" fmla="*/ -806 w 502226"/>
                  <a:gd name="connsiteY7" fmla="*/ 184747 h 241970"/>
                  <a:gd name="connsiteX8" fmla="*/ -193 w 502226"/>
                  <a:gd name="connsiteY8" fmla="*/ 53894 h 241970"/>
                  <a:gd name="connsiteX9" fmla="*/ 54718 w 502226"/>
                  <a:gd name="connsiteY9" fmla="*/ -466 h 241970"/>
                  <a:gd name="connsiteX10" fmla="*/ 93250 w 502226"/>
                  <a:gd name="connsiteY10" fmla="*/ 15703 h 241970"/>
                  <a:gd name="connsiteX11" fmla="*/ 119955 w 502226"/>
                  <a:gd name="connsiteY11" fmla="*/ 42687 h 241970"/>
                  <a:gd name="connsiteX12" fmla="*/ 146884 w 502226"/>
                  <a:gd name="connsiteY12" fmla="*/ 15981 h 241970"/>
                  <a:gd name="connsiteX13" fmla="*/ 185354 w 502226"/>
                  <a:gd name="connsiteY13" fmla="*/ 147 h 241970"/>
                  <a:gd name="connsiteX14" fmla="*/ 185354 w 502226"/>
                  <a:gd name="connsiteY14" fmla="*/ 147 h 241970"/>
                  <a:gd name="connsiteX15" fmla="*/ 447060 w 502226"/>
                  <a:gd name="connsiteY15" fmla="*/ 1429 h 241970"/>
                  <a:gd name="connsiteX16" fmla="*/ 501420 w 502226"/>
                  <a:gd name="connsiteY16" fmla="*/ 56346 h 241970"/>
                  <a:gd name="connsiteX17" fmla="*/ 500751 w 502226"/>
                  <a:gd name="connsiteY17" fmla="*/ 187144 h 241970"/>
                  <a:gd name="connsiteX18" fmla="*/ 446224 w 502226"/>
                  <a:gd name="connsiteY18" fmla="*/ 241504 h 241970"/>
                  <a:gd name="connsiteX19" fmla="*/ 119231 w 502226"/>
                  <a:gd name="connsiteY19" fmla="*/ 177053 h 241970"/>
                  <a:gd name="connsiteX20" fmla="*/ 119231 w 502226"/>
                  <a:gd name="connsiteY20" fmla="*/ 177053 h 241970"/>
                  <a:gd name="connsiteX21" fmla="*/ 125140 w 502226"/>
                  <a:gd name="connsiteY21" fmla="*/ 179561 h 241970"/>
                  <a:gd name="connsiteX22" fmla="*/ 157701 w 502226"/>
                  <a:gd name="connsiteY22" fmla="*/ 212400 h 241970"/>
                  <a:gd name="connsiteX23" fmla="*/ 184462 w 502226"/>
                  <a:gd name="connsiteY23" fmla="*/ 223551 h 241970"/>
                  <a:gd name="connsiteX24" fmla="*/ 446113 w 502226"/>
                  <a:gd name="connsiteY24" fmla="*/ 224778 h 241970"/>
                  <a:gd name="connsiteX25" fmla="*/ 446391 w 502226"/>
                  <a:gd name="connsiteY25" fmla="*/ 224778 h 241970"/>
                  <a:gd name="connsiteX26" fmla="*/ 484192 w 502226"/>
                  <a:gd name="connsiteY26" fmla="*/ 187089 h 241970"/>
                  <a:gd name="connsiteX27" fmla="*/ 484861 w 502226"/>
                  <a:gd name="connsiteY27" fmla="*/ 56235 h 241970"/>
                  <a:gd name="connsiteX28" fmla="*/ 447116 w 502226"/>
                  <a:gd name="connsiteY28" fmla="*/ 18155 h 241970"/>
                  <a:gd name="connsiteX29" fmla="*/ 185410 w 502226"/>
                  <a:gd name="connsiteY29" fmla="*/ 16873 h 241970"/>
                  <a:gd name="connsiteX30" fmla="*/ 158592 w 502226"/>
                  <a:gd name="connsiteY30" fmla="*/ 28024 h 241970"/>
                  <a:gd name="connsiteX31" fmla="*/ 125698 w 502226"/>
                  <a:gd name="connsiteY31" fmla="*/ 60584 h 241970"/>
                  <a:gd name="connsiteX32" fmla="*/ 113951 w 502226"/>
                  <a:gd name="connsiteY32" fmla="*/ 60640 h 241970"/>
                  <a:gd name="connsiteX33" fmla="*/ 113878 w 502226"/>
                  <a:gd name="connsiteY33" fmla="*/ 60584 h 241970"/>
                  <a:gd name="connsiteX34" fmla="*/ 81318 w 502226"/>
                  <a:gd name="connsiteY34" fmla="*/ 27689 h 241970"/>
                  <a:gd name="connsiteX35" fmla="*/ 27622 w 502226"/>
                  <a:gd name="connsiteY35" fmla="*/ 27633 h 241970"/>
                  <a:gd name="connsiteX36" fmla="*/ 16477 w 502226"/>
                  <a:gd name="connsiteY36" fmla="*/ 54172 h 241970"/>
                  <a:gd name="connsiteX37" fmla="*/ 15864 w 502226"/>
                  <a:gd name="connsiteY37" fmla="*/ 185026 h 241970"/>
                  <a:gd name="connsiteX38" fmla="*/ 15864 w 502226"/>
                  <a:gd name="connsiteY38" fmla="*/ 185026 h 241970"/>
                  <a:gd name="connsiteX39" fmla="*/ 27015 w 502226"/>
                  <a:gd name="connsiteY39" fmla="*/ 211899 h 241970"/>
                  <a:gd name="connsiteX40" fmla="*/ 39280 w 502226"/>
                  <a:gd name="connsiteY40" fmla="*/ 220150 h 241970"/>
                  <a:gd name="connsiteX41" fmla="*/ 80593 w 502226"/>
                  <a:gd name="connsiteY41" fmla="*/ 212178 h 241970"/>
                  <a:gd name="connsiteX42" fmla="*/ 113488 w 502226"/>
                  <a:gd name="connsiteY42" fmla="*/ 179617 h 241970"/>
                  <a:gd name="connsiteX43" fmla="*/ 119231 w 502226"/>
                  <a:gd name="connsiteY43" fmla="*/ 177053 h 241970"/>
                  <a:gd name="connsiteX44" fmla="*/ 7724 w 502226"/>
                  <a:gd name="connsiteY44" fmla="*/ 184858 h 241970"/>
                  <a:gd name="connsiteX45" fmla="*/ 7724 w 502226"/>
                  <a:gd name="connsiteY45" fmla="*/ 184858 h 24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02226" h="241970">
                    <a:moveTo>
                      <a:pt x="446447" y="241448"/>
                    </a:moveTo>
                    <a:lnTo>
                      <a:pt x="446057" y="241448"/>
                    </a:lnTo>
                    <a:lnTo>
                      <a:pt x="184406" y="240221"/>
                    </a:lnTo>
                    <a:cubicBezTo>
                      <a:pt x="169922" y="240165"/>
                      <a:pt x="156050" y="234367"/>
                      <a:pt x="145881" y="224053"/>
                    </a:cubicBezTo>
                    <a:lnTo>
                      <a:pt x="119175" y="197124"/>
                    </a:lnTo>
                    <a:lnTo>
                      <a:pt x="92246" y="223774"/>
                    </a:lnTo>
                    <a:cubicBezTo>
                      <a:pt x="70787" y="245016"/>
                      <a:pt x="36192" y="244793"/>
                      <a:pt x="14977" y="223328"/>
                    </a:cubicBezTo>
                    <a:cubicBezTo>
                      <a:pt x="4825" y="213069"/>
                      <a:pt x="-851" y="199187"/>
                      <a:pt x="-806" y="184747"/>
                    </a:cubicBezTo>
                    <a:lnTo>
                      <a:pt x="-193" y="53894"/>
                    </a:lnTo>
                    <a:cubicBezTo>
                      <a:pt x="-43" y="23731"/>
                      <a:pt x="24545" y="-633"/>
                      <a:pt x="54718" y="-466"/>
                    </a:cubicBezTo>
                    <a:cubicBezTo>
                      <a:pt x="69197" y="-410"/>
                      <a:pt x="83058" y="5444"/>
                      <a:pt x="93250" y="15703"/>
                    </a:cubicBezTo>
                    <a:lnTo>
                      <a:pt x="119955" y="42687"/>
                    </a:lnTo>
                    <a:lnTo>
                      <a:pt x="146884" y="15981"/>
                    </a:lnTo>
                    <a:cubicBezTo>
                      <a:pt x="157143" y="5890"/>
                      <a:pt x="170953" y="203"/>
                      <a:pt x="185354" y="147"/>
                    </a:cubicBezTo>
                    <a:lnTo>
                      <a:pt x="185354" y="147"/>
                    </a:lnTo>
                    <a:lnTo>
                      <a:pt x="447060" y="1429"/>
                    </a:lnTo>
                    <a:cubicBezTo>
                      <a:pt x="477212" y="1653"/>
                      <a:pt x="501515" y="26184"/>
                      <a:pt x="501420" y="56346"/>
                    </a:cubicBezTo>
                    <a:lnTo>
                      <a:pt x="500751" y="187144"/>
                    </a:lnTo>
                    <a:cubicBezTo>
                      <a:pt x="500601" y="217195"/>
                      <a:pt x="476248" y="241448"/>
                      <a:pt x="446224" y="241504"/>
                    </a:cubicBezTo>
                    <a:close/>
                    <a:moveTo>
                      <a:pt x="119231" y="177053"/>
                    </a:moveTo>
                    <a:lnTo>
                      <a:pt x="119231" y="177053"/>
                    </a:lnTo>
                    <a:cubicBezTo>
                      <a:pt x="121450" y="177109"/>
                      <a:pt x="123568" y="178001"/>
                      <a:pt x="125140" y="179561"/>
                    </a:cubicBezTo>
                    <a:lnTo>
                      <a:pt x="157701" y="212400"/>
                    </a:lnTo>
                    <a:cubicBezTo>
                      <a:pt x="164781" y="219537"/>
                      <a:pt x="174415" y="223551"/>
                      <a:pt x="184462" y="223551"/>
                    </a:cubicBezTo>
                    <a:lnTo>
                      <a:pt x="446113" y="224778"/>
                    </a:lnTo>
                    <a:lnTo>
                      <a:pt x="446391" y="224778"/>
                    </a:lnTo>
                    <a:cubicBezTo>
                      <a:pt x="467210" y="224722"/>
                      <a:pt x="484097" y="207884"/>
                      <a:pt x="484192" y="187089"/>
                    </a:cubicBezTo>
                    <a:lnTo>
                      <a:pt x="484861" y="56235"/>
                    </a:lnTo>
                    <a:cubicBezTo>
                      <a:pt x="484923" y="35327"/>
                      <a:pt x="468040" y="18267"/>
                      <a:pt x="447116" y="18155"/>
                    </a:cubicBezTo>
                    <a:lnTo>
                      <a:pt x="185410" y="16873"/>
                    </a:lnTo>
                    <a:cubicBezTo>
                      <a:pt x="175346" y="16929"/>
                      <a:pt x="165707" y="20887"/>
                      <a:pt x="158592" y="28024"/>
                    </a:cubicBezTo>
                    <a:lnTo>
                      <a:pt x="125698" y="60584"/>
                    </a:lnTo>
                    <a:cubicBezTo>
                      <a:pt x="122476" y="63873"/>
                      <a:pt x="117212" y="63873"/>
                      <a:pt x="113951" y="60640"/>
                    </a:cubicBezTo>
                    <a:cubicBezTo>
                      <a:pt x="113928" y="60640"/>
                      <a:pt x="113901" y="60584"/>
                      <a:pt x="113878" y="60584"/>
                    </a:cubicBezTo>
                    <a:lnTo>
                      <a:pt x="81318" y="27689"/>
                    </a:lnTo>
                    <a:cubicBezTo>
                      <a:pt x="66505" y="12859"/>
                      <a:pt x="42464" y="12803"/>
                      <a:pt x="27622" y="27633"/>
                    </a:cubicBezTo>
                    <a:cubicBezTo>
                      <a:pt x="20569" y="34658"/>
                      <a:pt x="16566" y="44193"/>
                      <a:pt x="16477" y="54172"/>
                    </a:cubicBezTo>
                    <a:lnTo>
                      <a:pt x="15864" y="185026"/>
                    </a:lnTo>
                    <a:lnTo>
                      <a:pt x="15864" y="185026"/>
                    </a:lnTo>
                    <a:cubicBezTo>
                      <a:pt x="15819" y="195117"/>
                      <a:pt x="19839" y="204818"/>
                      <a:pt x="27015" y="211899"/>
                    </a:cubicBezTo>
                    <a:cubicBezTo>
                      <a:pt x="30499" y="215467"/>
                      <a:pt x="34675" y="218255"/>
                      <a:pt x="39280" y="220150"/>
                    </a:cubicBezTo>
                    <a:cubicBezTo>
                      <a:pt x="53392" y="226116"/>
                      <a:pt x="69716" y="222993"/>
                      <a:pt x="80593" y="212178"/>
                    </a:cubicBezTo>
                    <a:lnTo>
                      <a:pt x="113488" y="179617"/>
                    </a:lnTo>
                    <a:cubicBezTo>
                      <a:pt x="114993" y="178057"/>
                      <a:pt x="117056" y="177109"/>
                      <a:pt x="119231" y="177053"/>
                    </a:cubicBezTo>
                    <a:close/>
                    <a:moveTo>
                      <a:pt x="7724" y="184858"/>
                    </a:moveTo>
                    <a:lnTo>
                      <a:pt x="7724" y="184858"/>
                    </a:lnTo>
                    <a:close/>
                  </a:path>
                </a:pathLst>
              </a:custGeom>
              <a:solidFill>
                <a:srgbClr val="30373B"/>
              </a:solidFill>
              <a:ln w="5573" cap="flat">
                <a:noFill/>
                <a:prstDash val="solid"/>
                <a:miter/>
              </a:ln>
            </p:spPr>
            <p:txBody>
              <a:bodyPr rtlCol="0" anchor="ctr"/>
              <a:lstStyle/>
              <a:p>
                <a:endParaRPr lang="en-GB"/>
              </a:p>
            </p:txBody>
          </p:sp>
          <p:sp>
            <p:nvSpPr>
              <p:cNvPr id="198" name="Graphic 6">
                <a:extLst>
                  <a:ext uri="{FF2B5EF4-FFF2-40B4-BE49-F238E27FC236}">
                    <a16:creationId xmlns:a16="http://schemas.microsoft.com/office/drawing/2014/main" id="{C44D982C-F68C-82CE-7941-0100A6E0CB6A}"/>
                  </a:ext>
                </a:extLst>
              </p:cNvPr>
              <p:cNvSpPr/>
              <p:nvPr/>
            </p:nvSpPr>
            <p:spPr>
              <a:xfrm>
                <a:off x="5088160" y="6091201"/>
                <a:ext cx="444801" cy="122709"/>
              </a:xfrm>
              <a:custGeom>
                <a:avLst/>
                <a:gdLst>
                  <a:gd name="connsiteX0" fmla="*/ 126423 w 444801"/>
                  <a:gd name="connsiteY0" fmla="*/ 122241 h 122709"/>
                  <a:gd name="connsiteX1" fmla="*/ 125475 w 444801"/>
                  <a:gd name="connsiteY1" fmla="*/ 122241 h 122709"/>
                  <a:gd name="connsiteX2" fmla="*/ 6553 w 444801"/>
                  <a:gd name="connsiteY2" fmla="*/ 108358 h 122709"/>
                  <a:gd name="connsiteX3" fmla="*/ -806 w 444801"/>
                  <a:gd name="connsiteY3" fmla="*/ 99995 h 122709"/>
                  <a:gd name="connsiteX4" fmla="*/ -416 w 444801"/>
                  <a:gd name="connsiteY4" fmla="*/ 20547 h 122709"/>
                  <a:gd name="connsiteX5" fmla="*/ 7055 w 444801"/>
                  <a:gd name="connsiteY5" fmla="*/ 12240 h 122709"/>
                  <a:gd name="connsiteX6" fmla="*/ 126256 w 444801"/>
                  <a:gd name="connsiteY6" fmla="*/ -417 h 122709"/>
                  <a:gd name="connsiteX7" fmla="*/ 133113 w 444801"/>
                  <a:gd name="connsiteY7" fmla="*/ 2036 h 122709"/>
                  <a:gd name="connsiteX8" fmla="*/ 157031 w 444801"/>
                  <a:gd name="connsiteY8" fmla="*/ 26178 h 122709"/>
                  <a:gd name="connsiteX9" fmla="*/ 389356 w 444801"/>
                  <a:gd name="connsiteY9" fmla="*/ 27404 h 122709"/>
                  <a:gd name="connsiteX10" fmla="*/ 397719 w 444801"/>
                  <a:gd name="connsiteY10" fmla="*/ 35767 h 122709"/>
                  <a:gd name="connsiteX11" fmla="*/ 389356 w 444801"/>
                  <a:gd name="connsiteY11" fmla="*/ 44130 h 122709"/>
                  <a:gd name="connsiteX12" fmla="*/ 389356 w 444801"/>
                  <a:gd name="connsiteY12" fmla="*/ 44130 h 122709"/>
                  <a:gd name="connsiteX13" fmla="*/ 153631 w 444801"/>
                  <a:gd name="connsiteY13" fmla="*/ 42904 h 122709"/>
                  <a:gd name="connsiteX14" fmla="*/ 147721 w 444801"/>
                  <a:gd name="connsiteY14" fmla="*/ 40450 h 122709"/>
                  <a:gd name="connsiteX15" fmla="*/ 124137 w 444801"/>
                  <a:gd name="connsiteY15" fmla="*/ 16644 h 122709"/>
                  <a:gd name="connsiteX16" fmla="*/ 16366 w 444801"/>
                  <a:gd name="connsiteY16" fmla="*/ 27794 h 122709"/>
                  <a:gd name="connsiteX17" fmla="*/ 16031 w 444801"/>
                  <a:gd name="connsiteY17" fmla="*/ 92301 h 122709"/>
                  <a:gd name="connsiteX18" fmla="*/ 123747 w 444801"/>
                  <a:gd name="connsiteY18" fmla="*/ 104846 h 122709"/>
                  <a:gd name="connsiteX19" fmla="*/ 147498 w 444801"/>
                  <a:gd name="connsiteY19" fmla="*/ 81262 h 122709"/>
                  <a:gd name="connsiteX20" fmla="*/ 153463 w 444801"/>
                  <a:gd name="connsiteY20" fmla="*/ 78865 h 122709"/>
                  <a:gd name="connsiteX21" fmla="*/ 435631 w 444801"/>
                  <a:gd name="connsiteY21" fmla="*/ 80091 h 122709"/>
                  <a:gd name="connsiteX22" fmla="*/ 443994 w 444801"/>
                  <a:gd name="connsiteY22" fmla="*/ 88454 h 122709"/>
                  <a:gd name="connsiteX23" fmla="*/ 435631 w 444801"/>
                  <a:gd name="connsiteY23" fmla="*/ 96817 h 122709"/>
                  <a:gd name="connsiteX24" fmla="*/ 435631 w 444801"/>
                  <a:gd name="connsiteY24" fmla="*/ 96817 h 122709"/>
                  <a:gd name="connsiteX25" fmla="*/ 156864 w 444801"/>
                  <a:gd name="connsiteY25" fmla="*/ 95591 h 122709"/>
                  <a:gd name="connsiteX26" fmla="*/ 132723 w 444801"/>
                  <a:gd name="connsiteY26" fmla="*/ 119509 h 122709"/>
                  <a:gd name="connsiteX27" fmla="*/ 126423 w 444801"/>
                  <a:gd name="connsiteY27" fmla="*/ 122241 h 12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801" h="122709">
                    <a:moveTo>
                      <a:pt x="126423" y="122241"/>
                    </a:moveTo>
                    <a:lnTo>
                      <a:pt x="125475" y="122241"/>
                    </a:lnTo>
                    <a:lnTo>
                      <a:pt x="6553" y="108358"/>
                    </a:lnTo>
                    <a:cubicBezTo>
                      <a:pt x="2332" y="107857"/>
                      <a:pt x="-840" y="104233"/>
                      <a:pt x="-806" y="99995"/>
                    </a:cubicBezTo>
                    <a:lnTo>
                      <a:pt x="-416" y="20547"/>
                    </a:lnTo>
                    <a:cubicBezTo>
                      <a:pt x="-411" y="16254"/>
                      <a:pt x="2806" y="12685"/>
                      <a:pt x="7055" y="12240"/>
                    </a:cubicBezTo>
                    <a:lnTo>
                      <a:pt x="126256" y="-417"/>
                    </a:lnTo>
                    <a:cubicBezTo>
                      <a:pt x="128798" y="-696"/>
                      <a:pt x="131329" y="197"/>
                      <a:pt x="133113" y="2036"/>
                    </a:cubicBezTo>
                    <a:lnTo>
                      <a:pt x="157031" y="26178"/>
                    </a:lnTo>
                    <a:lnTo>
                      <a:pt x="389356" y="27404"/>
                    </a:lnTo>
                    <a:cubicBezTo>
                      <a:pt x="393972" y="27404"/>
                      <a:pt x="397719" y="31140"/>
                      <a:pt x="397719" y="35767"/>
                    </a:cubicBezTo>
                    <a:cubicBezTo>
                      <a:pt x="397719" y="40395"/>
                      <a:pt x="393972" y="44130"/>
                      <a:pt x="389356" y="44130"/>
                    </a:cubicBezTo>
                    <a:lnTo>
                      <a:pt x="389356" y="44130"/>
                    </a:lnTo>
                    <a:lnTo>
                      <a:pt x="153631" y="42904"/>
                    </a:lnTo>
                    <a:cubicBezTo>
                      <a:pt x="151412" y="42904"/>
                      <a:pt x="149287" y="42012"/>
                      <a:pt x="147721" y="40450"/>
                    </a:cubicBezTo>
                    <a:lnTo>
                      <a:pt x="124137" y="16644"/>
                    </a:lnTo>
                    <a:lnTo>
                      <a:pt x="16366" y="27794"/>
                    </a:lnTo>
                    <a:lnTo>
                      <a:pt x="16031" y="92301"/>
                    </a:lnTo>
                    <a:lnTo>
                      <a:pt x="123747" y="104846"/>
                    </a:lnTo>
                    <a:lnTo>
                      <a:pt x="147498" y="81262"/>
                    </a:lnTo>
                    <a:cubicBezTo>
                      <a:pt x="149176" y="79868"/>
                      <a:pt x="151267" y="78976"/>
                      <a:pt x="153463" y="78865"/>
                    </a:cubicBezTo>
                    <a:lnTo>
                      <a:pt x="435631" y="80091"/>
                    </a:lnTo>
                    <a:cubicBezTo>
                      <a:pt x="440248" y="80091"/>
                      <a:pt x="443994" y="83827"/>
                      <a:pt x="443994" y="88454"/>
                    </a:cubicBezTo>
                    <a:cubicBezTo>
                      <a:pt x="443994" y="93082"/>
                      <a:pt x="440248" y="96817"/>
                      <a:pt x="435631" y="96817"/>
                    </a:cubicBezTo>
                    <a:lnTo>
                      <a:pt x="435631" y="96817"/>
                    </a:lnTo>
                    <a:lnTo>
                      <a:pt x="156864" y="95591"/>
                    </a:lnTo>
                    <a:lnTo>
                      <a:pt x="132723" y="119509"/>
                    </a:lnTo>
                    <a:cubicBezTo>
                      <a:pt x="131112" y="121293"/>
                      <a:pt x="128815" y="122297"/>
                      <a:pt x="126423" y="122241"/>
                    </a:cubicBezTo>
                    <a:close/>
                  </a:path>
                </a:pathLst>
              </a:custGeom>
              <a:solidFill>
                <a:srgbClr val="30373B"/>
              </a:solidFill>
              <a:ln w="5573" cap="flat">
                <a:noFill/>
                <a:prstDash val="solid"/>
                <a:miter/>
              </a:ln>
            </p:spPr>
            <p:txBody>
              <a:bodyPr rtlCol="0" anchor="ctr"/>
              <a:lstStyle/>
              <a:p>
                <a:endParaRPr lang="en-GB"/>
              </a:p>
            </p:txBody>
          </p:sp>
          <p:sp>
            <p:nvSpPr>
              <p:cNvPr id="199" name="Graphic 6">
                <a:extLst>
                  <a:ext uri="{FF2B5EF4-FFF2-40B4-BE49-F238E27FC236}">
                    <a16:creationId xmlns:a16="http://schemas.microsoft.com/office/drawing/2014/main" id="{4EAB0DA3-6AA1-45A2-4D27-169468138A96}"/>
                  </a:ext>
                </a:extLst>
              </p:cNvPr>
              <p:cNvSpPr/>
              <p:nvPr/>
            </p:nvSpPr>
            <p:spPr>
              <a:xfrm>
                <a:off x="7357993" y="2601869"/>
                <a:ext cx="16726" cy="3562642"/>
              </a:xfrm>
              <a:custGeom>
                <a:avLst/>
                <a:gdLst>
                  <a:gd name="connsiteX0" fmla="*/ 7556 w 16726"/>
                  <a:gd name="connsiteY0" fmla="*/ 3562176 h 3562642"/>
                  <a:gd name="connsiteX1" fmla="*/ -807 w 16726"/>
                  <a:gd name="connsiteY1" fmla="*/ 3553813 h 3562642"/>
                  <a:gd name="connsiteX2" fmla="*/ -807 w 16726"/>
                  <a:gd name="connsiteY2" fmla="*/ 3520361 h 3562642"/>
                  <a:gd name="connsiteX3" fmla="*/ 7556 w 16726"/>
                  <a:gd name="connsiteY3" fmla="*/ 3511998 h 3562642"/>
                  <a:gd name="connsiteX4" fmla="*/ 15919 w 16726"/>
                  <a:gd name="connsiteY4" fmla="*/ 3520361 h 3562642"/>
                  <a:gd name="connsiteX5" fmla="*/ 15919 w 16726"/>
                  <a:gd name="connsiteY5" fmla="*/ 3553813 h 3562642"/>
                  <a:gd name="connsiteX6" fmla="*/ 7556 w 16726"/>
                  <a:gd name="connsiteY6" fmla="*/ 3562176 h 3562642"/>
                  <a:gd name="connsiteX7" fmla="*/ 7556 w 16726"/>
                  <a:gd name="connsiteY7" fmla="*/ 3461820 h 3562642"/>
                  <a:gd name="connsiteX8" fmla="*/ -807 w 16726"/>
                  <a:gd name="connsiteY8" fmla="*/ 3453457 h 3562642"/>
                  <a:gd name="connsiteX9" fmla="*/ -807 w 16726"/>
                  <a:gd name="connsiteY9" fmla="*/ 3420005 h 3562642"/>
                  <a:gd name="connsiteX10" fmla="*/ 7556 w 16726"/>
                  <a:gd name="connsiteY10" fmla="*/ 3411642 h 3562642"/>
                  <a:gd name="connsiteX11" fmla="*/ 15919 w 16726"/>
                  <a:gd name="connsiteY11" fmla="*/ 3420005 h 3562642"/>
                  <a:gd name="connsiteX12" fmla="*/ 15919 w 16726"/>
                  <a:gd name="connsiteY12" fmla="*/ 3453457 h 3562642"/>
                  <a:gd name="connsiteX13" fmla="*/ 7556 w 16726"/>
                  <a:gd name="connsiteY13" fmla="*/ 3461820 h 3562642"/>
                  <a:gd name="connsiteX14" fmla="*/ 7556 w 16726"/>
                  <a:gd name="connsiteY14" fmla="*/ 3361463 h 3562642"/>
                  <a:gd name="connsiteX15" fmla="*/ -807 w 16726"/>
                  <a:gd name="connsiteY15" fmla="*/ 3353100 h 3562642"/>
                  <a:gd name="connsiteX16" fmla="*/ -807 w 16726"/>
                  <a:gd name="connsiteY16" fmla="*/ 3319648 h 3562642"/>
                  <a:gd name="connsiteX17" fmla="*/ 7556 w 16726"/>
                  <a:gd name="connsiteY17" fmla="*/ 3311285 h 3562642"/>
                  <a:gd name="connsiteX18" fmla="*/ 15919 w 16726"/>
                  <a:gd name="connsiteY18" fmla="*/ 3319648 h 3562642"/>
                  <a:gd name="connsiteX19" fmla="*/ 15919 w 16726"/>
                  <a:gd name="connsiteY19" fmla="*/ 3353100 h 3562642"/>
                  <a:gd name="connsiteX20" fmla="*/ 7556 w 16726"/>
                  <a:gd name="connsiteY20" fmla="*/ 3361463 h 3562642"/>
                  <a:gd name="connsiteX21" fmla="*/ 7556 w 16726"/>
                  <a:gd name="connsiteY21" fmla="*/ 3261107 h 3562642"/>
                  <a:gd name="connsiteX22" fmla="*/ -807 w 16726"/>
                  <a:gd name="connsiteY22" fmla="*/ 3252744 h 3562642"/>
                  <a:gd name="connsiteX23" fmla="*/ -807 w 16726"/>
                  <a:gd name="connsiteY23" fmla="*/ 3219292 h 3562642"/>
                  <a:gd name="connsiteX24" fmla="*/ 7556 w 16726"/>
                  <a:gd name="connsiteY24" fmla="*/ 3210929 h 3562642"/>
                  <a:gd name="connsiteX25" fmla="*/ 15919 w 16726"/>
                  <a:gd name="connsiteY25" fmla="*/ 3219292 h 3562642"/>
                  <a:gd name="connsiteX26" fmla="*/ 15919 w 16726"/>
                  <a:gd name="connsiteY26" fmla="*/ 3252744 h 3562642"/>
                  <a:gd name="connsiteX27" fmla="*/ 7556 w 16726"/>
                  <a:gd name="connsiteY27" fmla="*/ 3261107 h 3562642"/>
                  <a:gd name="connsiteX28" fmla="*/ 7556 w 16726"/>
                  <a:gd name="connsiteY28" fmla="*/ 3160751 h 3562642"/>
                  <a:gd name="connsiteX29" fmla="*/ -807 w 16726"/>
                  <a:gd name="connsiteY29" fmla="*/ 3152388 h 3562642"/>
                  <a:gd name="connsiteX30" fmla="*/ -807 w 16726"/>
                  <a:gd name="connsiteY30" fmla="*/ 3118936 h 3562642"/>
                  <a:gd name="connsiteX31" fmla="*/ 7556 w 16726"/>
                  <a:gd name="connsiteY31" fmla="*/ 3110573 h 3562642"/>
                  <a:gd name="connsiteX32" fmla="*/ 15919 w 16726"/>
                  <a:gd name="connsiteY32" fmla="*/ 3118936 h 3562642"/>
                  <a:gd name="connsiteX33" fmla="*/ 15919 w 16726"/>
                  <a:gd name="connsiteY33" fmla="*/ 3152388 h 3562642"/>
                  <a:gd name="connsiteX34" fmla="*/ 7556 w 16726"/>
                  <a:gd name="connsiteY34" fmla="*/ 3160751 h 3562642"/>
                  <a:gd name="connsiteX35" fmla="*/ 7556 w 16726"/>
                  <a:gd name="connsiteY35" fmla="*/ 3060395 h 3562642"/>
                  <a:gd name="connsiteX36" fmla="*/ -807 w 16726"/>
                  <a:gd name="connsiteY36" fmla="*/ 3052032 h 3562642"/>
                  <a:gd name="connsiteX37" fmla="*/ -807 w 16726"/>
                  <a:gd name="connsiteY37" fmla="*/ 3018580 h 3562642"/>
                  <a:gd name="connsiteX38" fmla="*/ 7556 w 16726"/>
                  <a:gd name="connsiteY38" fmla="*/ 3010217 h 3562642"/>
                  <a:gd name="connsiteX39" fmla="*/ 15919 w 16726"/>
                  <a:gd name="connsiteY39" fmla="*/ 3018580 h 3562642"/>
                  <a:gd name="connsiteX40" fmla="*/ 15919 w 16726"/>
                  <a:gd name="connsiteY40" fmla="*/ 3052032 h 3562642"/>
                  <a:gd name="connsiteX41" fmla="*/ 7556 w 16726"/>
                  <a:gd name="connsiteY41" fmla="*/ 3060395 h 3562642"/>
                  <a:gd name="connsiteX42" fmla="*/ 7556 w 16726"/>
                  <a:gd name="connsiteY42" fmla="*/ 2960039 h 3562642"/>
                  <a:gd name="connsiteX43" fmla="*/ -807 w 16726"/>
                  <a:gd name="connsiteY43" fmla="*/ 2951676 h 3562642"/>
                  <a:gd name="connsiteX44" fmla="*/ -807 w 16726"/>
                  <a:gd name="connsiteY44" fmla="*/ 2918224 h 3562642"/>
                  <a:gd name="connsiteX45" fmla="*/ 7556 w 16726"/>
                  <a:gd name="connsiteY45" fmla="*/ 2909861 h 3562642"/>
                  <a:gd name="connsiteX46" fmla="*/ 15919 w 16726"/>
                  <a:gd name="connsiteY46" fmla="*/ 2918224 h 3562642"/>
                  <a:gd name="connsiteX47" fmla="*/ 15919 w 16726"/>
                  <a:gd name="connsiteY47" fmla="*/ 2951676 h 3562642"/>
                  <a:gd name="connsiteX48" fmla="*/ 7556 w 16726"/>
                  <a:gd name="connsiteY48" fmla="*/ 2960039 h 3562642"/>
                  <a:gd name="connsiteX49" fmla="*/ 7556 w 16726"/>
                  <a:gd name="connsiteY49" fmla="*/ 2859683 h 3562642"/>
                  <a:gd name="connsiteX50" fmla="*/ -807 w 16726"/>
                  <a:gd name="connsiteY50" fmla="*/ 2851320 h 3562642"/>
                  <a:gd name="connsiteX51" fmla="*/ -807 w 16726"/>
                  <a:gd name="connsiteY51" fmla="*/ 2817868 h 3562642"/>
                  <a:gd name="connsiteX52" fmla="*/ 7556 w 16726"/>
                  <a:gd name="connsiteY52" fmla="*/ 2809505 h 3562642"/>
                  <a:gd name="connsiteX53" fmla="*/ 15919 w 16726"/>
                  <a:gd name="connsiteY53" fmla="*/ 2817868 h 3562642"/>
                  <a:gd name="connsiteX54" fmla="*/ 15919 w 16726"/>
                  <a:gd name="connsiteY54" fmla="*/ 2851320 h 3562642"/>
                  <a:gd name="connsiteX55" fmla="*/ 7556 w 16726"/>
                  <a:gd name="connsiteY55" fmla="*/ 2859683 h 3562642"/>
                  <a:gd name="connsiteX56" fmla="*/ 7556 w 16726"/>
                  <a:gd name="connsiteY56" fmla="*/ 2759327 h 3562642"/>
                  <a:gd name="connsiteX57" fmla="*/ -807 w 16726"/>
                  <a:gd name="connsiteY57" fmla="*/ 2750964 h 3562642"/>
                  <a:gd name="connsiteX58" fmla="*/ -807 w 16726"/>
                  <a:gd name="connsiteY58" fmla="*/ 2717512 h 3562642"/>
                  <a:gd name="connsiteX59" fmla="*/ 7556 w 16726"/>
                  <a:gd name="connsiteY59" fmla="*/ 2709149 h 3562642"/>
                  <a:gd name="connsiteX60" fmla="*/ 15919 w 16726"/>
                  <a:gd name="connsiteY60" fmla="*/ 2717512 h 3562642"/>
                  <a:gd name="connsiteX61" fmla="*/ 15919 w 16726"/>
                  <a:gd name="connsiteY61" fmla="*/ 2750964 h 3562642"/>
                  <a:gd name="connsiteX62" fmla="*/ 7556 w 16726"/>
                  <a:gd name="connsiteY62" fmla="*/ 2759327 h 3562642"/>
                  <a:gd name="connsiteX63" fmla="*/ 7556 w 16726"/>
                  <a:gd name="connsiteY63" fmla="*/ 2658971 h 3562642"/>
                  <a:gd name="connsiteX64" fmla="*/ -807 w 16726"/>
                  <a:gd name="connsiteY64" fmla="*/ 2650608 h 3562642"/>
                  <a:gd name="connsiteX65" fmla="*/ -807 w 16726"/>
                  <a:gd name="connsiteY65" fmla="*/ 2617156 h 3562642"/>
                  <a:gd name="connsiteX66" fmla="*/ 7556 w 16726"/>
                  <a:gd name="connsiteY66" fmla="*/ 2608793 h 3562642"/>
                  <a:gd name="connsiteX67" fmla="*/ 15919 w 16726"/>
                  <a:gd name="connsiteY67" fmla="*/ 2617156 h 3562642"/>
                  <a:gd name="connsiteX68" fmla="*/ 15919 w 16726"/>
                  <a:gd name="connsiteY68" fmla="*/ 2650608 h 3562642"/>
                  <a:gd name="connsiteX69" fmla="*/ 7556 w 16726"/>
                  <a:gd name="connsiteY69" fmla="*/ 2658971 h 3562642"/>
                  <a:gd name="connsiteX70" fmla="*/ 7556 w 16726"/>
                  <a:gd name="connsiteY70" fmla="*/ 2558614 h 3562642"/>
                  <a:gd name="connsiteX71" fmla="*/ -807 w 16726"/>
                  <a:gd name="connsiteY71" fmla="*/ 2550251 h 3562642"/>
                  <a:gd name="connsiteX72" fmla="*/ -807 w 16726"/>
                  <a:gd name="connsiteY72" fmla="*/ 2516799 h 3562642"/>
                  <a:gd name="connsiteX73" fmla="*/ 7556 w 16726"/>
                  <a:gd name="connsiteY73" fmla="*/ 2508436 h 3562642"/>
                  <a:gd name="connsiteX74" fmla="*/ 15919 w 16726"/>
                  <a:gd name="connsiteY74" fmla="*/ 2516799 h 3562642"/>
                  <a:gd name="connsiteX75" fmla="*/ 15919 w 16726"/>
                  <a:gd name="connsiteY75" fmla="*/ 2550251 h 3562642"/>
                  <a:gd name="connsiteX76" fmla="*/ 7556 w 16726"/>
                  <a:gd name="connsiteY76" fmla="*/ 2558614 h 3562642"/>
                  <a:gd name="connsiteX77" fmla="*/ 7556 w 16726"/>
                  <a:gd name="connsiteY77" fmla="*/ 2458258 h 3562642"/>
                  <a:gd name="connsiteX78" fmla="*/ -807 w 16726"/>
                  <a:gd name="connsiteY78" fmla="*/ 2449895 h 3562642"/>
                  <a:gd name="connsiteX79" fmla="*/ -807 w 16726"/>
                  <a:gd name="connsiteY79" fmla="*/ 2416443 h 3562642"/>
                  <a:gd name="connsiteX80" fmla="*/ 7556 w 16726"/>
                  <a:gd name="connsiteY80" fmla="*/ 2408080 h 3562642"/>
                  <a:gd name="connsiteX81" fmla="*/ 15919 w 16726"/>
                  <a:gd name="connsiteY81" fmla="*/ 2416443 h 3562642"/>
                  <a:gd name="connsiteX82" fmla="*/ 15919 w 16726"/>
                  <a:gd name="connsiteY82" fmla="*/ 2449895 h 3562642"/>
                  <a:gd name="connsiteX83" fmla="*/ 7556 w 16726"/>
                  <a:gd name="connsiteY83" fmla="*/ 2458258 h 3562642"/>
                  <a:gd name="connsiteX84" fmla="*/ 7556 w 16726"/>
                  <a:gd name="connsiteY84" fmla="*/ 2357902 h 3562642"/>
                  <a:gd name="connsiteX85" fmla="*/ -807 w 16726"/>
                  <a:gd name="connsiteY85" fmla="*/ 2349539 h 3562642"/>
                  <a:gd name="connsiteX86" fmla="*/ -807 w 16726"/>
                  <a:gd name="connsiteY86" fmla="*/ 2316087 h 3562642"/>
                  <a:gd name="connsiteX87" fmla="*/ 7556 w 16726"/>
                  <a:gd name="connsiteY87" fmla="*/ 2307724 h 3562642"/>
                  <a:gd name="connsiteX88" fmla="*/ 15919 w 16726"/>
                  <a:gd name="connsiteY88" fmla="*/ 2316087 h 3562642"/>
                  <a:gd name="connsiteX89" fmla="*/ 15919 w 16726"/>
                  <a:gd name="connsiteY89" fmla="*/ 2349539 h 3562642"/>
                  <a:gd name="connsiteX90" fmla="*/ 7556 w 16726"/>
                  <a:gd name="connsiteY90" fmla="*/ 2357902 h 3562642"/>
                  <a:gd name="connsiteX91" fmla="*/ 7556 w 16726"/>
                  <a:gd name="connsiteY91" fmla="*/ 2257546 h 3562642"/>
                  <a:gd name="connsiteX92" fmla="*/ -807 w 16726"/>
                  <a:gd name="connsiteY92" fmla="*/ 2249183 h 3562642"/>
                  <a:gd name="connsiteX93" fmla="*/ -807 w 16726"/>
                  <a:gd name="connsiteY93" fmla="*/ 2215731 h 3562642"/>
                  <a:gd name="connsiteX94" fmla="*/ 7556 w 16726"/>
                  <a:gd name="connsiteY94" fmla="*/ 2207368 h 3562642"/>
                  <a:gd name="connsiteX95" fmla="*/ 15919 w 16726"/>
                  <a:gd name="connsiteY95" fmla="*/ 2215731 h 3562642"/>
                  <a:gd name="connsiteX96" fmla="*/ 15919 w 16726"/>
                  <a:gd name="connsiteY96" fmla="*/ 2249183 h 3562642"/>
                  <a:gd name="connsiteX97" fmla="*/ 7556 w 16726"/>
                  <a:gd name="connsiteY97" fmla="*/ 2257546 h 3562642"/>
                  <a:gd name="connsiteX98" fmla="*/ 7556 w 16726"/>
                  <a:gd name="connsiteY98" fmla="*/ 2157190 h 3562642"/>
                  <a:gd name="connsiteX99" fmla="*/ -807 w 16726"/>
                  <a:gd name="connsiteY99" fmla="*/ 2148827 h 3562642"/>
                  <a:gd name="connsiteX100" fmla="*/ -807 w 16726"/>
                  <a:gd name="connsiteY100" fmla="*/ 2115375 h 3562642"/>
                  <a:gd name="connsiteX101" fmla="*/ 7556 w 16726"/>
                  <a:gd name="connsiteY101" fmla="*/ 2107012 h 3562642"/>
                  <a:gd name="connsiteX102" fmla="*/ 15919 w 16726"/>
                  <a:gd name="connsiteY102" fmla="*/ 2115375 h 3562642"/>
                  <a:gd name="connsiteX103" fmla="*/ 15919 w 16726"/>
                  <a:gd name="connsiteY103" fmla="*/ 2148827 h 3562642"/>
                  <a:gd name="connsiteX104" fmla="*/ 7556 w 16726"/>
                  <a:gd name="connsiteY104" fmla="*/ 2157190 h 3562642"/>
                  <a:gd name="connsiteX105" fmla="*/ 7556 w 16726"/>
                  <a:gd name="connsiteY105" fmla="*/ 2056834 h 3562642"/>
                  <a:gd name="connsiteX106" fmla="*/ -807 w 16726"/>
                  <a:gd name="connsiteY106" fmla="*/ 2048471 h 3562642"/>
                  <a:gd name="connsiteX107" fmla="*/ -807 w 16726"/>
                  <a:gd name="connsiteY107" fmla="*/ 2015019 h 3562642"/>
                  <a:gd name="connsiteX108" fmla="*/ 7556 w 16726"/>
                  <a:gd name="connsiteY108" fmla="*/ 2006656 h 3562642"/>
                  <a:gd name="connsiteX109" fmla="*/ 15919 w 16726"/>
                  <a:gd name="connsiteY109" fmla="*/ 2015019 h 3562642"/>
                  <a:gd name="connsiteX110" fmla="*/ 15919 w 16726"/>
                  <a:gd name="connsiteY110" fmla="*/ 2048471 h 3562642"/>
                  <a:gd name="connsiteX111" fmla="*/ 7556 w 16726"/>
                  <a:gd name="connsiteY111" fmla="*/ 2056834 h 3562642"/>
                  <a:gd name="connsiteX112" fmla="*/ 7556 w 16726"/>
                  <a:gd name="connsiteY112" fmla="*/ 1956478 h 3562642"/>
                  <a:gd name="connsiteX113" fmla="*/ -807 w 16726"/>
                  <a:gd name="connsiteY113" fmla="*/ 1948115 h 3562642"/>
                  <a:gd name="connsiteX114" fmla="*/ -807 w 16726"/>
                  <a:gd name="connsiteY114" fmla="*/ 1914663 h 3562642"/>
                  <a:gd name="connsiteX115" fmla="*/ 7556 w 16726"/>
                  <a:gd name="connsiteY115" fmla="*/ 1906300 h 3562642"/>
                  <a:gd name="connsiteX116" fmla="*/ 15919 w 16726"/>
                  <a:gd name="connsiteY116" fmla="*/ 1914663 h 3562642"/>
                  <a:gd name="connsiteX117" fmla="*/ 15919 w 16726"/>
                  <a:gd name="connsiteY117" fmla="*/ 1948115 h 3562642"/>
                  <a:gd name="connsiteX118" fmla="*/ 7556 w 16726"/>
                  <a:gd name="connsiteY118" fmla="*/ 1956478 h 3562642"/>
                  <a:gd name="connsiteX119" fmla="*/ 7556 w 16726"/>
                  <a:gd name="connsiteY119" fmla="*/ 1856122 h 3562642"/>
                  <a:gd name="connsiteX120" fmla="*/ -807 w 16726"/>
                  <a:gd name="connsiteY120" fmla="*/ 1847759 h 3562642"/>
                  <a:gd name="connsiteX121" fmla="*/ -807 w 16726"/>
                  <a:gd name="connsiteY121" fmla="*/ 1814306 h 3562642"/>
                  <a:gd name="connsiteX122" fmla="*/ 7556 w 16726"/>
                  <a:gd name="connsiteY122" fmla="*/ 1805943 h 3562642"/>
                  <a:gd name="connsiteX123" fmla="*/ 15919 w 16726"/>
                  <a:gd name="connsiteY123" fmla="*/ 1814306 h 3562642"/>
                  <a:gd name="connsiteX124" fmla="*/ 15919 w 16726"/>
                  <a:gd name="connsiteY124" fmla="*/ 1847759 h 3562642"/>
                  <a:gd name="connsiteX125" fmla="*/ 7556 w 16726"/>
                  <a:gd name="connsiteY125" fmla="*/ 1856122 h 3562642"/>
                  <a:gd name="connsiteX126" fmla="*/ 7556 w 16726"/>
                  <a:gd name="connsiteY126" fmla="*/ 1755765 h 3562642"/>
                  <a:gd name="connsiteX127" fmla="*/ -807 w 16726"/>
                  <a:gd name="connsiteY127" fmla="*/ 1747402 h 3562642"/>
                  <a:gd name="connsiteX128" fmla="*/ -807 w 16726"/>
                  <a:gd name="connsiteY128" fmla="*/ 1713950 h 3562642"/>
                  <a:gd name="connsiteX129" fmla="*/ 7556 w 16726"/>
                  <a:gd name="connsiteY129" fmla="*/ 1705587 h 3562642"/>
                  <a:gd name="connsiteX130" fmla="*/ 15919 w 16726"/>
                  <a:gd name="connsiteY130" fmla="*/ 1713950 h 3562642"/>
                  <a:gd name="connsiteX131" fmla="*/ 15919 w 16726"/>
                  <a:gd name="connsiteY131" fmla="*/ 1747402 h 3562642"/>
                  <a:gd name="connsiteX132" fmla="*/ 7556 w 16726"/>
                  <a:gd name="connsiteY132" fmla="*/ 1755765 h 3562642"/>
                  <a:gd name="connsiteX133" fmla="*/ 7556 w 16726"/>
                  <a:gd name="connsiteY133" fmla="*/ 1655409 h 3562642"/>
                  <a:gd name="connsiteX134" fmla="*/ -807 w 16726"/>
                  <a:gd name="connsiteY134" fmla="*/ 1647046 h 3562642"/>
                  <a:gd name="connsiteX135" fmla="*/ -807 w 16726"/>
                  <a:gd name="connsiteY135" fmla="*/ 1613594 h 3562642"/>
                  <a:gd name="connsiteX136" fmla="*/ 7556 w 16726"/>
                  <a:gd name="connsiteY136" fmla="*/ 1605231 h 3562642"/>
                  <a:gd name="connsiteX137" fmla="*/ 15919 w 16726"/>
                  <a:gd name="connsiteY137" fmla="*/ 1613594 h 3562642"/>
                  <a:gd name="connsiteX138" fmla="*/ 15919 w 16726"/>
                  <a:gd name="connsiteY138" fmla="*/ 1647046 h 3562642"/>
                  <a:gd name="connsiteX139" fmla="*/ 7556 w 16726"/>
                  <a:gd name="connsiteY139" fmla="*/ 1655409 h 3562642"/>
                  <a:gd name="connsiteX140" fmla="*/ 7556 w 16726"/>
                  <a:gd name="connsiteY140" fmla="*/ 1555053 h 3562642"/>
                  <a:gd name="connsiteX141" fmla="*/ -807 w 16726"/>
                  <a:gd name="connsiteY141" fmla="*/ 1546690 h 3562642"/>
                  <a:gd name="connsiteX142" fmla="*/ -807 w 16726"/>
                  <a:gd name="connsiteY142" fmla="*/ 1513238 h 3562642"/>
                  <a:gd name="connsiteX143" fmla="*/ 7556 w 16726"/>
                  <a:gd name="connsiteY143" fmla="*/ 1504875 h 3562642"/>
                  <a:gd name="connsiteX144" fmla="*/ 15919 w 16726"/>
                  <a:gd name="connsiteY144" fmla="*/ 1513238 h 3562642"/>
                  <a:gd name="connsiteX145" fmla="*/ 15919 w 16726"/>
                  <a:gd name="connsiteY145" fmla="*/ 1546690 h 3562642"/>
                  <a:gd name="connsiteX146" fmla="*/ 7556 w 16726"/>
                  <a:gd name="connsiteY146" fmla="*/ 1555053 h 3562642"/>
                  <a:gd name="connsiteX147" fmla="*/ 7556 w 16726"/>
                  <a:gd name="connsiteY147" fmla="*/ 1454697 h 3562642"/>
                  <a:gd name="connsiteX148" fmla="*/ -807 w 16726"/>
                  <a:gd name="connsiteY148" fmla="*/ 1446334 h 3562642"/>
                  <a:gd name="connsiteX149" fmla="*/ -807 w 16726"/>
                  <a:gd name="connsiteY149" fmla="*/ 1412882 h 3562642"/>
                  <a:gd name="connsiteX150" fmla="*/ 7556 w 16726"/>
                  <a:gd name="connsiteY150" fmla="*/ 1404519 h 3562642"/>
                  <a:gd name="connsiteX151" fmla="*/ 15919 w 16726"/>
                  <a:gd name="connsiteY151" fmla="*/ 1412882 h 3562642"/>
                  <a:gd name="connsiteX152" fmla="*/ 15919 w 16726"/>
                  <a:gd name="connsiteY152" fmla="*/ 1446334 h 3562642"/>
                  <a:gd name="connsiteX153" fmla="*/ 7556 w 16726"/>
                  <a:gd name="connsiteY153" fmla="*/ 1454697 h 3562642"/>
                  <a:gd name="connsiteX154" fmla="*/ 7556 w 16726"/>
                  <a:gd name="connsiteY154" fmla="*/ 1354341 h 3562642"/>
                  <a:gd name="connsiteX155" fmla="*/ -807 w 16726"/>
                  <a:gd name="connsiteY155" fmla="*/ 1345978 h 3562642"/>
                  <a:gd name="connsiteX156" fmla="*/ -807 w 16726"/>
                  <a:gd name="connsiteY156" fmla="*/ 1312526 h 3562642"/>
                  <a:gd name="connsiteX157" fmla="*/ 7556 w 16726"/>
                  <a:gd name="connsiteY157" fmla="*/ 1304163 h 3562642"/>
                  <a:gd name="connsiteX158" fmla="*/ 15919 w 16726"/>
                  <a:gd name="connsiteY158" fmla="*/ 1312526 h 3562642"/>
                  <a:gd name="connsiteX159" fmla="*/ 15919 w 16726"/>
                  <a:gd name="connsiteY159" fmla="*/ 1345978 h 3562642"/>
                  <a:gd name="connsiteX160" fmla="*/ 7556 w 16726"/>
                  <a:gd name="connsiteY160" fmla="*/ 1354341 h 3562642"/>
                  <a:gd name="connsiteX161" fmla="*/ 7556 w 16726"/>
                  <a:gd name="connsiteY161" fmla="*/ 1253985 h 3562642"/>
                  <a:gd name="connsiteX162" fmla="*/ -807 w 16726"/>
                  <a:gd name="connsiteY162" fmla="*/ 1245622 h 3562642"/>
                  <a:gd name="connsiteX163" fmla="*/ -807 w 16726"/>
                  <a:gd name="connsiteY163" fmla="*/ 1212170 h 3562642"/>
                  <a:gd name="connsiteX164" fmla="*/ 7556 w 16726"/>
                  <a:gd name="connsiteY164" fmla="*/ 1203807 h 3562642"/>
                  <a:gd name="connsiteX165" fmla="*/ 15919 w 16726"/>
                  <a:gd name="connsiteY165" fmla="*/ 1212170 h 3562642"/>
                  <a:gd name="connsiteX166" fmla="*/ 15919 w 16726"/>
                  <a:gd name="connsiteY166" fmla="*/ 1245622 h 3562642"/>
                  <a:gd name="connsiteX167" fmla="*/ 7556 w 16726"/>
                  <a:gd name="connsiteY167" fmla="*/ 1253985 h 3562642"/>
                  <a:gd name="connsiteX168" fmla="*/ 7556 w 16726"/>
                  <a:gd name="connsiteY168" fmla="*/ 1153629 h 3562642"/>
                  <a:gd name="connsiteX169" fmla="*/ -807 w 16726"/>
                  <a:gd name="connsiteY169" fmla="*/ 1145266 h 3562642"/>
                  <a:gd name="connsiteX170" fmla="*/ -807 w 16726"/>
                  <a:gd name="connsiteY170" fmla="*/ 1111814 h 3562642"/>
                  <a:gd name="connsiteX171" fmla="*/ 7556 w 16726"/>
                  <a:gd name="connsiteY171" fmla="*/ 1103451 h 3562642"/>
                  <a:gd name="connsiteX172" fmla="*/ 15919 w 16726"/>
                  <a:gd name="connsiteY172" fmla="*/ 1111814 h 3562642"/>
                  <a:gd name="connsiteX173" fmla="*/ 15919 w 16726"/>
                  <a:gd name="connsiteY173" fmla="*/ 1145266 h 3562642"/>
                  <a:gd name="connsiteX174" fmla="*/ 7556 w 16726"/>
                  <a:gd name="connsiteY174" fmla="*/ 1153629 h 3562642"/>
                  <a:gd name="connsiteX175" fmla="*/ 7556 w 16726"/>
                  <a:gd name="connsiteY175" fmla="*/ 1053273 h 3562642"/>
                  <a:gd name="connsiteX176" fmla="*/ -807 w 16726"/>
                  <a:gd name="connsiteY176" fmla="*/ 1044910 h 3562642"/>
                  <a:gd name="connsiteX177" fmla="*/ -807 w 16726"/>
                  <a:gd name="connsiteY177" fmla="*/ 1011457 h 3562642"/>
                  <a:gd name="connsiteX178" fmla="*/ 7556 w 16726"/>
                  <a:gd name="connsiteY178" fmla="*/ 1003094 h 3562642"/>
                  <a:gd name="connsiteX179" fmla="*/ 15919 w 16726"/>
                  <a:gd name="connsiteY179" fmla="*/ 1011457 h 3562642"/>
                  <a:gd name="connsiteX180" fmla="*/ 15919 w 16726"/>
                  <a:gd name="connsiteY180" fmla="*/ 1044910 h 3562642"/>
                  <a:gd name="connsiteX181" fmla="*/ 7556 w 16726"/>
                  <a:gd name="connsiteY181" fmla="*/ 1053273 h 3562642"/>
                  <a:gd name="connsiteX182" fmla="*/ 7556 w 16726"/>
                  <a:gd name="connsiteY182" fmla="*/ 952916 h 3562642"/>
                  <a:gd name="connsiteX183" fmla="*/ -807 w 16726"/>
                  <a:gd name="connsiteY183" fmla="*/ 944553 h 3562642"/>
                  <a:gd name="connsiteX184" fmla="*/ -807 w 16726"/>
                  <a:gd name="connsiteY184" fmla="*/ 911101 h 3562642"/>
                  <a:gd name="connsiteX185" fmla="*/ 7556 w 16726"/>
                  <a:gd name="connsiteY185" fmla="*/ 902738 h 3562642"/>
                  <a:gd name="connsiteX186" fmla="*/ 15919 w 16726"/>
                  <a:gd name="connsiteY186" fmla="*/ 911101 h 3562642"/>
                  <a:gd name="connsiteX187" fmla="*/ 15919 w 16726"/>
                  <a:gd name="connsiteY187" fmla="*/ 944553 h 3562642"/>
                  <a:gd name="connsiteX188" fmla="*/ 7556 w 16726"/>
                  <a:gd name="connsiteY188" fmla="*/ 952916 h 3562642"/>
                  <a:gd name="connsiteX189" fmla="*/ 7556 w 16726"/>
                  <a:gd name="connsiteY189" fmla="*/ 852560 h 3562642"/>
                  <a:gd name="connsiteX190" fmla="*/ -807 w 16726"/>
                  <a:gd name="connsiteY190" fmla="*/ 844197 h 3562642"/>
                  <a:gd name="connsiteX191" fmla="*/ -807 w 16726"/>
                  <a:gd name="connsiteY191" fmla="*/ 810745 h 3562642"/>
                  <a:gd name="connsiteX192" fmla="*/ 7556 w 16726"/>
                  <a:gd name="connsiteY192" fmla="*/ 802382 h 3562642"/>
                  <a:gd name="connsiteX193" fmla="*/ 15919 w 16726"/>
                  <a:gd name="connsiteY193" fmla="*/ 810745 h 3562642"/>
                  <a:gd name="connsiteX194" fmla="*/ 15919 w 16726"/>
                  <a:gd name="connsiteY194" fmla="*/ 844197 h 3562642"/>
                  <a:gd name="connsiteX195" fmla="*/ 7556 w 16726"/>
                  <a:gd name="connsiteY195" fmla="*/ 852560 h 3562642"/>
                  <a:gd name="connsiteX196" fmla="*/ 7556 w 16726"/>
                  <a:gd name="connsiteY196" fmla="*/ 752204 h 3562642"/>
                  <a:gd name="connsiteX197" fmla="*/ -807 w 16726"/>
                  <a:gd name="connsiteY197" fmla="*/ 743841 h 3562642"/>
                  <a:gd name="connsiteX198" fmla="*/ -807 w 16726"/>
                  <a:gd name="connsiteY198" fmla="*/ 710389 h 3562642"/>
                  <a:gd name="connsiteX199" fmla="*/ 7556 w 16726"/>
                  <a:gd name="connsiteY199" fmla="*/ 702026 h 3562642"/>
                  <a:gd name="connsiteX200" fmla="*/ 15919 w 16726"/>
                  <a:gd name="connsiteY200" fmla="*/ 710389 h 3562642"/>
                  <a:gd name="connsiteX201" fmla="*/ 15919 w 16726"/>
                  <a:gd name="connsiteY201" fmla="*/ 743841 h 3562642"/>
                  <a:gd name="connsiteX202" fmla="*/ 7556 w 16726"/>
                  <a:gd name="connsiteY202" fmla="*/ 752204 h 3562642"/>
                  <a:gd name="connsiteX203" fmla="*/ 7556 w 16726"/>
                  <a:gd name="connsiteY203" fmla="*/ 651848 h 3562642"/>
                  <a:gd name="connsiteX204" fmla="*/ -807 w 16726"/>
                  <a:gd name="connsiteY204" fmla="*/ 643485 h 3562642"/>
                  <a:gd name="connsiteX205" fmla="*/ -807 w 16726"/>
                  <a:gd name="connsiteY205" fmla="*/ 610033 h 3562642"/>
                  <a:gd name="connsiteX206" fmla="*/ 7556 w 16726"/>
                  <a:gd name="connsiteY206" fmla="*/ 601670 h 3562642"/>
                  <a:gd name="connsiteX207" fmla="*/ 15919 w 16726"/>
                  <a:gd name="connsiteY207" fmla="*/ 610033 h 3562642"/>
                  <a:gd name="connsiteX208" fmla="*/ 15919 w 16726"/>
                  <a:gd name="connsiteY208" fmla="*/ 643485 h 3562642"/>
                  <a:gd name="connsiteX209" fmla="*/ 7556 w 16726"/>
                  <a:gd name="connsiteY209" fmla="*/ 651848 h 3562642"/>
                  <a:gd name="connsiteX210" fmla="*/ 7556 w 16726"/>
                  <a:gd name="connsiteY210" fmla="*/ 551492 h 3562642"/>
                  <a:gd name="connsiteX211" fmla="*/ -807 w 16726"/>
                  <a:gd name="connsiteY211" fmla="*/ 543129 h 3562642"/>
                  <a:gd name="connsiteX212" fmla="*/ -807 w 16726"/>
                  <a:gd name="connsiteY212" fmla="*/ 509677 h 3562642"/>
                  <a:gd name="connsiteX213" fmla="*/ 7556 w 16726"/>
                  <a:gd name="connsiteY213" fmla="*/ 501314 h 3562642"/>
                  <a:gd name="connsiteX214" fmla="*/ 15919 w 16726"/>
                  <a:gd name="connsiteY214" fmla="*/ 509677 h 3562642"/>
                  <a:gd name="connsiteX215" fmla="*/ 15919 w 16726"/>
                  <a:gd name="connsiteY215" fmla="*/ 543129 h 3562642"/>
                  <a:gd name="connsiteX216" fmla="*/ 7556 w 16726"/>
                  <a:gd name="connsiteY216" fmla="*/ 551492 h 3562642"/>
                  <a:gd name="connsiteX217" fmla="*/ 7556 w 16726"/>
                  <a:gd name="connsiteY217" fmla="*/ 451136 h 3562642"/>
                  <a:gd name="connsiteX218" fmla="*/ -807 w 16726"/>
                  <a:gd name="connsiteY218" fmla="*/ 442773 h 3562642"/>
                  <a:gd name="connsiteX219" fmla="*/ -807 w 16726"/>
                  <a:gd name="connsiteY219" fmla="*/ 409321 h 3562642"/>
                  <a:gd name="connsiteX220" fmla="*/ 7556 w 16726"/>
                  <a:gd name="connsiteY220" fmla="*/ 400958 h 3562642"/>
                  <a:gd name="connsiteX221" fmla="*/ 15919 w 16726"/>
                  <a:gd name="connsiteY221" fmla="*/ 409321 h 3562642"/>
                  <a:gd name="connsiteX222" fmla="*/ 15919 w 16726"/>
                  <a:gd name="connsiteY222" fmla="*/ 442773 h 3562642"/>
                  <a:gd name="connsiteX223" fmla="*/ 7556 w 16726"/>
                  <a:gd name="connsiteY223" fmla="*/ 451136 h 3562642"/>
                  <a:gd name="connsiteX224" fmla="*/ 7556 w 16726"/>
                  <a:gd name="connsiteY224" fmla="*/ 350780 h 3562642"/>
                  <a:gd name="connsiteX225" fmla="*/ -807 w 16726"/>
                  <a:gd name="connsiteY225" fmla="*/ 342417 h 3562642"/>
                  <a:gd name="connsiteX226" fmla="*/ -807 w 16726"/>
                  <a:gd name="connsiteY226" fmla="*/ 308965 h 3562642"/>
                  <a:gd name="connsiteX227" fmla="*/ 7556 w 16726"/>
                  <a:gd name="connsiteY227" fmla="*/ 300602 h 3562642"/>
                  <a:gd name="connsiteX228" fmla="*/ 15919 w 16726"/>
                  <a:gd name="connsiteY228" fmla="*/ 308965 h 3562642"/>
                  <a:gd name="connsiteX229" fmla="*/ 15919 w 16726"/>
                  <a:gd name="connsiteY229" fmla="*/ 342417 h 3562642"/>
                  <a:gd name="connsiteX230" fmla="*/ 7556 w 16726"/>
                  <a:gd name="connsiteY230" fmla="*/ 350780 h 3562642"/>
                  <a:gd name="connsiteX231" fmla="*/ 7556 w 16726"/>
                  <a:gd name="connsiteY231" fmla="*/ 250424 h 3562642"/>
                  <a:gd name="connsiteX232" fmla="*/ -807 w 16726"/>
                  <a:gd name="connsiteY232" fmla="*/ 242060 h 3562642"/>
                  <a:gd name="connsiteX233" fmla="*/ -807 w 16726"/>
                  <a:gd name="connsiteY233" fmla="*/ 208608 h 3562642"/>
                  <a:gd name="connsiteX234" fmla="*/ 7556 w 16726"/>
                  <a:gd name="connsiteY234" fmla="*/ 200245 h 3562642"/>
                  <a:gd name="connsiteX235" fmla="*/ 15919 w 16726"/>
                  <a:gd name="connsiteY235" fmla="*/ 208608 h 3562642"/>
                  <a:gd name="connsiteX236" fmla="*/ 15919 w 16726"/>
                  <a:gd name="connsiteY236" fmla="*/ 242060 h 3562642"/>
                  <a:gd name="connsiteX237" fmla="*/ 7556 w 16726"/>
                  <a:gd name="connsiteY237" fmla="*/ 250424 h 3562642"/>
                  <a:gd name="connsiteX238" fmla="*/ 7556 w 16726"/>
                  <a:gd name="connsiteY238" fmla="*/ 150067 h 3562642"/>
                  <a:gd name="connsiteX239" fmla="*/ -807 w 16726"/>
                  <a:gd name="connsiteY239" fmla="*/ 141704 h 3562642"/>
                  <a:gd name="connsiteX240" fmla="*/ -807 w 16726"/>
                  <a:gd name="connsiteY240" fmla="*/ 108252 h 3562642"/>
                  <a:gd name="connsiteX241" fmla="*/ 7556 w 16726"/>
                  <a:gd name="connsiteY241" fmla="*/ 99889 h 3562642"/>
                  <a:gd name="connsiteX242" fmla="*/ 15919 w 16726"/>
                  <a:gd name="connsiteY242" fmla="*/ 108252 h 3562642"/>
                  <a:gd name="connsiteX243" fmla="*/ 15919 w 16726"/>
                  <a:gd name="connsiteY243" fmla="*/ 141704 h 3562642"/>
                  <a:gd name="connsiteX244" fmla="*/ 7556 w 16726"/>
                  <a:gd name="connsiteY244" fmla="*/ 150067 h 3562642"/>
                  <a:gd name="connsiteX245" fmla="*/ 7556 w 16726"/>
                  <a:gd name="connsiteY245" fmla="*/ 49711 h 3562642"/>
                  <a:gd name="connsiteX246" fmla="*/ -807 w 16726"/>
                  <a:gd name="connsiteY246" fmla="*/ 41348 h 3562642"/>
                  <a:gd name="connsiteX247" fmla="*/ -807 w 16726"/>
                  <a:gd name="connsiteY247" fmla="*/ 7896 h 3562642"/>
                  <a:gd name="connsiteX248" fmla="*/ 7556 w 16726"/>
                  <a:gd name="connsiteY248" fmla="*/ -467 h 3562642"/>
                  <a:gd name="connsiteX249" fmla="*/ 15919 w 16726"/>
                  <a:gd name="connsiteY249" fmla="*/ 7896 h 3562642"/>
                  <a:gd name="connsiteX250" fmla="*/ 15919 w 16726"/>
                  <a:gd name="connsiteY250" fmla="*/ 41348 h 3562642"/>
                  <a:gd name="connsiteX251" fmla="*/ 7556 w 16726"/>
                  <a:gd name="connsiteY251" fmla="*/ 49711 h 35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6726" h="3562642">
                    <a:moveTo>
                      <a:pt x="7556" y="3562176"/>
                    </a:moveTo>
                    <a:cubicBezTo>
                      <a:pt x="2928" y="3562176"/>
                      <a:pt x="-807" y="3558440"/>
                      <a:pt x="-807" y="3553813"/>
                    </a:cubicBezTo>
                    <a:lnTo>
                      <a:pt x="-807" y="3520361"/>
                    </a:lnTo>
                    <a:cubicBezTo>
                      <a:pt x="-807" y="3515733"/>
                      <a:pt x="2928" y="3511998"/>
                      <a:pt x="7556" y="3511998"/>
                    </a:cubicBezTo>
                    <a:cubicBezTo>
                      <a:pt x="12184" y="3511998"/>
                      <a:pt x="15919" y="3515733"/>
                      <a:pt x="15919" y="3520361"/>
                    </a:cubicBezTo>
                    <a:lnTo>
                      <a:pt x="15919" y="3553813"/>
                    </a:lnTo>
                    <a:cubicBezTo>
                      <a:pt x="15919" y="3558440"/>
                      <a:pt x="12184" y="3562176"/>
                      <a:pt x="7556" y="3562176"/>
                    </a:cubicBezTo>
                    <a:close/>
                    <a:moveTo>
                      <a:pt x="7556" y="3461820"/>
                    </a:moveTo>
                    <a:cubicBezTo>
                      <a:pt x="2928" y="3461820"/>
                      <a:pt x="-807" y="3458084"/>
                      <a:pt x="-807" y="3453457"/>
                    </a:cubicBezTo>
                    <a:lnTo>
                      <a:pt x="-807" y="3420005"/>
                    </a:lnTo>
                    <a:cubicBezTo>
                      <a:pt x="-807" y="3415377"/>
                      <a:pt x="2928" y="3411642"/>
                      <a:pt x="7556" y="3411642"/>
                    </a:cubicBezTo>
                    <a:cubicBezTo>
                      <a:pt x="12184" y="3411642"/>
                      <a:pt x="15919" y="3415377"/>
                      <a:pt x="15919" y="3420005"/>
                    </a:cubicBezTo>
                    <a:lnTo>
                      <a:pt x="15919" y="3453457"/>
                    </a:lnTo>
                    <a:cubicBezTo>
                      <a:pt x="15919" y="3458084"/>
                      <a:pt x="12184" y="3461820"/>
                      <a:pt x="7556" y="3461820"/>
                    </a:cubicBezTo>
                    <a:close/>
                    <a:moveTo>
                      <a:pt x="7556" y="3361463"/>
                    </a:moveTo>
                    <a:cubicBezTo>
                      <a:pt x="2928" y="3361463"/>
                      <a:pt x="-807" y="3357728"/>
                      <a:pt x="-807" y="3353100"/>
                    </a:cubicBezTo>
                    <a:lnTo>
                      <a:pt x="-807" y="3319648"/>
                    </a:lnTo>
                    <a:cubicBezTo>
                      <a:pt x="-807" y="3315020"/>
                      <a:pt x="2928" y="3311285"/>
                      <a:pt x="7556" y="3311285"/>
                    </a:cubicBezTo>
                    <a:cubicBezTo>
                      <a:pt x="12184" y="3311285"/>
                      <a:pt x="15919" y="3315020"/>
                      <a:pt x="15919" y="3319648"/>
                    </a:cubicBezTo>
                    <a:lnTo>
                      <a:pt x="15919" y="3353100"/>
                    </a:lnTo>
                    <a:cubicBezTo>
                      <a:pt x="15919" y="3357728"/>
                      <a:pt x="12184" y="3361463"/>
                      <a:pt x="7556" y="3361463"/>
                    </a:cubicBezTo>
                    <a:close/>
                    <a:moveTo>
                      <a:pt x="7556" y="3261107"/>
                    </a:moveTo>
                    <a:cubicBezTo>
                      <a:pt x="2928" y="3261107"/>
                      <a:pt x="-807" y="3257372"/>
                      <a:pt x="-807" y="3252744"/>
                    </a:cubicBezTo>
                    <a:lnTo>
                      <a:pt x="-807" y="3219292"/>
                    </a:lnTo>
                    <a:cubicBezTo>
                      <a:pt x="-807" y="3214664"/>
                      <a:pt x="2928" y="3210929"/>
                      <a:pt x="7556" y="3210929"/>
                    </a:cubicBezTo>
                    <a:cubicBezTo>
                      <a:pt x="12184" y="3210929"/>
                      <a:pt x="15919" y="3214664"/>
                      <a:pt x="15919" y="3219292"/>
                    </a:cubicBezTo>
                    <a:lnTo>
                      <a:pt x="15919" y="3252744"/>
                    </a:lnTo>
                    <a:cubicBezTo>
                      <a:pt x="15919" y="3257372"/>
                      <a:pt x="12184" y="3261107"/>
                      <a:pt x="7556" y="3261107"/>
                    </a:cubicBezTo>
                    <a:close/>
                    <a:moveTo>
                      <a:pt x="7556" y="3160751"/>
                    </a:moveTo>
                    <a:cubicBezTo>
                      <a:pt x="2928" y="3160751"/>
                      <a:pt x="-807" y="3157015"/>
                      <a:pt x="-807" y="3152388"/>
                    </a:cubicBezTo>
                    <a:lnTo>
                      <a:pt x="-807" y="3118936"/>
                    </a:lnTo>
                    <a:cubicBezTo>
                      <a:pt x="-807" y="3114308"/>
                      <a:pt x="2928" y="3110573"/>
                      <a:pt x="7556" y="3110573"/>
                    </a:cubicBezTo>
                    <a:cubicBezTo>
                      <a:pt x="12184" y="3110573"/>
                      <a:pt x="15919" y="3114308"/>
                      <a:pt x="15919" y="3118936"/>
                    </a:cubicBezTo>
                    <a:lnTo>
                      <a:pt x="15919" y="3152388"/>
                    </a:lnTo>
                    <a:cubicBezTo>
                      <a:pt x="15919" y="3157015"/>
                      <a:pt x="12184" y="3160751"/>
                      <a:pt x="7556" y="3160751"/>
                    </a:cubicBezTo>
                    <a:close/>
                    <a:moveTo>
                      <a:pt x="7556" y="3060395"/>
                    </a:moveTo>
                    <a:cubicBezTo>
                      <a:pt x="2928" y="3060395"/>
                      <a:pt x="-807" y="3056659"/>
                      <a:pt x="-807" y="3052032"/>
                    </a:cubicBezTo>
                    <a:lnTo>
                      <a:pt x="-807" y="3018580"/>
                    </a:lnTo>
                    <a:cubicBezTo>
                      <a:pt x="-807" y="3013952"/>
                      <a:pt x="2928" y="3010217"/>
                      <a:pt x="7556" y="3010217"/>
                    </a:cubicBezTo>
                    <a:cubicBezTo>
                      <a:pt x="12184" y="3010217"/>
                      <a:pt x="15919" y="3013952"/>
                      <a:pt x="15919" y="3018580"/>
                    </a:cubicBezTo>
                    <a:lnTo>
                      <a:pt x="15919" y="3052032"/>
                    </a:lnTo>
                    <a:cubicBezTo>
                      <a:pt x="15919" y="3056659"/>
                      <a:pt x="12184" y="3060395"/>
                      <a:pt x="7556" y="3060395"/>
                    </a:cubicBezTo>
                    <a:close/>
                    <a:moveTo>
                      <a:pt x="7556" y="2960039"/>
                    </a:moveTo>
                    <a:cubicBezTo>
                      <a:pt x="2928" y="2960039"/>
                      <a:pt x="-807" y="2956303"/>
                      <a:pt x="-807" y="2951676"/>
                    </a:cubicBezTo>
                    <a:lnTo>
                      <a:pt x="-807" y="2918224"/>
                    </a:lnTo>
                    <a:cubicBezTo>
                      <a:pt x="-807" y="2913596"/>
                      <a:pt x="2928" y="2909861"/>
                      <a:pt x="7556" y="2909861"/>
                    </a:cubicBezTo>
                    <a:cubicBezTo>
                      <a:pt x="12184" y="2909861"/>
                      <a:pt x="15919" y="2913596"/>
                      <a:pt x="15919" y="2918224"/>
                    </a:cubicBezTo>
                    <a:lnTo>
                      <a:pt x="15919" y="2951676"/>
                    </a:lnTo>
                    <a:cubicBezTo>
                      <a:pt x="15919" y="2956303"/>
                      <a:pt x="12184" y="2960039"/>
                      <a:pt x="7556" y="2960039"/>
                    </a:cubicBezTo>
                    <a:close/>
                    <a:moveTo>
                      <a:pt x="7556" y="2859683"/>
                    </a:moveTo>
                    <a:cubicBezTo>
                      <a:pt x="2928" y="2859683"/>
                      <a:pt x="-807" y="2855947"/>
                      <a:pt x="-807" y="2851320"/>
                    </a:cubicBezTo>
                    <a:lnTo>
                      <a:pt x="-807" y="2817868"/>
                    </a:lnTo>
                    <a:cubicBezTo>
                      <a:pt x="-807" y="2813240"/>
                      <a:pt x="2928" y="2809505"/>
                      <a:pt x="7556" y="2809505"/>
                    </a:cubicBezTo>
                    <a:cubicBezTo>
                      <a:pt x="12184" y="2809505"/>
                      <a:pt x="15919" y="2813240"/>
                      <a:pt x="15919" y="2817868"/>
                    </a:cubicBezTo>
                    <a:lnTo>
                      <a:pt x="15919" y="2851320"/>
                    </a:lnTo>
                    <a:cubicBezTo>
                      <a:pt x="15919" y="2855947"/>
                      <a:pt x="12184" y="2859683"/>
                      <a:pt x="7556" y="2859683"/>
                    </a:cubicBezTo>
                    <a:close/>
                    <a:moveTo>
                      <a:pt x="7556" y="2759327"/>
                    </a:moveTo>
                    <a:cubicBezTo>
                      <a:pt x="2928" y="2759327"/>
                      <a:pt x="-807" y="2755591"/>
                      <a:pt x="-807" y="2750964"/>
                    </a:cubicBezTo>
                    <a:lnTo>
                      <a:pt x="-807" y="2717512"/>
                    </a:lnTo>
                    <a:cubicBezTo>
                      <a:pt x="-807" y="2712884"/>
                      <a:pt x="2928" y="2709149"/>
                      <a:pt x="7556" y="2709149"/>
                    </a:cubicBezTo>
                    <a:cubicBezTo>
                      <a:pt x="12184" y="2709149"/>
                      <a:pt x="15919" y="2712884"/>
                      <a:pt x="15919" y="2717512"/>
                    </a:cubicBezTo>
                    <a:lnTo>
                      <a:pt x="15919" y="2750964"/>
                    </a:lnTo>
                    <a:cubicBezTo>
                      <a:pt x="15919" y="2755591"/>
                      <a:pt x="12184" y="2759327"/>
                      <a:pt x="7556" y="2759327"/>
                    </a:cubicBezTo>
                    <a:close/>
                    <a:moveTo>
                      <a:pt x="7556" y="2658971"/>
                    </a:moveTo>
                    <a:cubicBezTo>
                      <a:pt x="2928" y="2658971"/>
                      <a:pt x="-807" y="2655235"/>
                      <a:pt x="-807" y="2650608"/>
                    </a:cubicBezTo>
                    <a:lnTo>
                      <a:pt x="-807" y="2617156"/>
                    </a:lnTo>
                    <a:cubicBezTo>
                      <a:pt x="-807" y="2612539"/>
                      <a:pt x="2928" y="2608793"/>
                      <a:pt x="7556" y="2608793"/>
                    </a:cubicBezTo>
                    <a:cubicBezTo>
                      <a:pt x="12184" y="2608793"/>
                      <a:pt x="15919" y="2612539"/>
                      <a:pt x="15919" y="2617156"/>
                    </a:cubicBezTo>
                    <a:lnTo>
                      <a:pt x="15919" y="2650608"/>
                    </a:lnTo>
                    <a:cubicBezTo>
                      <a:pt x="15919" y="2655235"/>
                      <a:pt x="12184" y="2658971"/>
                      <a:pt x="7556" y="2658971"/>
                    </a:cubicBezTo>
                    <a:close/>
                    <a:moveTo>
                      <a:pt x="7556" y="2558614"/>
                    </a:moveTo>
                    <a:cubicBezTo>
                      <a:pt x="2928" y="2558614"/>
                      <a:pt x="-807" y="2554868"/>
                      <a:pt x="-807" y="2550251"/>
                    </a:cubicBezTo>
                    <a:lnTo>
                      <a:pt x="-807" y="2516799"/>
                    </a:lnTo>
                    <a:cubicBezTo>
                      <a:pt x="-807" y="2512183"/>
                      <a:pt x="2928" y="2508436"/>
                      <a:pt x="7556" y="2508436"/>
                    </a:cubicBezTo>
                    <a:cubicBezTo>
                      <a:pt x="12184" y="2508436"/>
                      <a:pt x="15919" y="2512183"/>
                      <a:pt x="15919" y="2516799"/>
                    </a:cubicBezTo>
                    <a:lnTo>
                      <a:pt x="15919" y="2550251"/>
                    </a:lnTo>
                    <a:cubicBezTo>
                      <a:pt x="15919" y="2554868"/>
                      <a:pt x="12184" y="2558614"/>
                      <a:pt x="7556" y="2558614"/>
                    </a:cubicBezTo>
                    <a:close/>
                    <a:moveTo>
                      <a:pt x="7556" y="2458258"/>
                    </a:moveTo>
                    <a:cubicBezTo>
                      <a:pt x="2928" y="2458258"/>
                      <a:pt x="-807" y="2454512"/>
                      <a:pt x="-807" y="2449895"/>
                    </a:cubicBezTo>
                    <a:lnTo>
                      <a:pt x="-807" y="2416443"/>
                    </a:lnTo>
                    <a:cubicBezTo>
                      <a:pt x="-807" y="2411827"/>
                      <a:pt x="2928" y="2408080"/>
                      <a:pt x="7556" y="2408080"/>
                    </a:cubicBezTo>
                    <a:cubicBezTo>
                      <a:pt x="12184" y="2408080"/>
                      <a:pt x="15919" y="2411827"/>
                      <a:pt x="15919" y="2416443"/>
                    </a:cubicBezTo>
                    <a:lnTo>
                      <a:pt x="15919" y="2449895"/>
                    </a:lnTo>
                    <a:cubicBezTo>
                      <a:pt x="15919" y="2454512"/>
                      <a:pt x="12184" y="2458258"/>
                      <a:pt x="7556" y="2458258"/>
                    </a:cubicBezTo>
                    <a:close/>
                    <a:moveTo>
                      <a:pt x="7556" y="2357902"/>
                    </a:moveTo>
                    <a:cubicBezTo>
                      <a:pt x="2928" y="2357902"/>
                      <a:pt x="-807" y="2354156"/>
                      <a:pt x="-807" y="2349539"/>
                    </a:cubicBezTo>
                    <a:lnTo>
                      <a:pt x="-807" y="2316087"/>
                    </a:lnTo>
                    <a:cubicBezTo>
                      <a:pt x="-807" y="2311471"/>
                      <a:pt x="2928" y="2307724"/>
                      <a:pt x="7556" y="2307724"/>
                    </a:cubicBezTo>
                    <a:cubicBezTo>
                      <a:pt x="12184" y="2307724"/>
                      <a:pt x="15919" y="2311471"/>
                      <a:pt x="15919" y="2316087"/>
                    </a:cubicBezTo>
                    <a:lnTo>
                      <a:pt x="15919" y="2349539"/>
                    </a:lnTo>
                    <a:cubicBezTo>
                      <a:pt x="15919" y="2354156"/>
                      <a:pt x="12184" y="2357902"/>
                      <a:pt x="7556" y="2357902"/>
                    </a:cubicBezTo>
                    <a:close/>
                    <a:moveTo>
                      <a:pt x="7556" y="2257546"/>
                    </a:moveTo>
                    <a:cubicBezTo>
                      <a:pt x="2928" y="2257546"/>
                      <a:pt x="-807" y="2253799"/>
                      <a:pt x="-807" y="2249183"/>
                    </a:cubicBezTo>
                    <a:lnTo>
                      <a:pt x="-807" y="2215731"/>
                    </a:lnTo>
                    <a:cubicBezTo>
                      <a:pt x="-807" y="2211115"/>
                      <a:pt x="2928" y="2207368"/>
                      <a:pt x="7556" y="2207368"/>
                    </a:cubicBezTo>
                    <a:cubicBezTo>
                      <a:pt x="12184" y="2207368"/>
                      <a:pt x="15919" y="2211115"/>
                      <a:pt x="15919" y="2215731"/>
                    </a:cubicBezTo>
                    <a:lnTo>
                      <a:pt x="15919" y="2249183"/>
                    </a:lnTo>
                    <a:cubicBezTo>
                      <a:pt x="15919" y="2253799"/>
                      <a:pt x="12184" y="2257546"/>
                      <a:pt x="7556" y="2257546"/>
                    </a:cubicBezTo>
                    <a:close/>
                    <a:moveTo>
                      <a:pt x="7556" y="2157190"/>
                    </a:moveTo>
                    <a:cubicBezTo>
                      <a:pt x="2928" y="2157190"/>
                      <a:pt x="-807" y="2153443"/>
                      <a:pt x="-807" y="2148827"/>
                    </a:cubicBezTo>
                    <a:lnTo>
                      <a:pt x="-807" y="2115375"/>
                    </a:lnTo>
                    <a:cubicBezTo>
                      <a:pt x="-807" y="2110759"/>
                      <a:pt x="2928" y="2107012"/>
                      <a:pt x="7556" y="2107012"/>
                    </a:cubicBezTo>
                    <a:cubicBezTo>
                      <a:pt x="12184" y="2107012"/>
                      <a:pt x="15919" y="2110759"/>
                      <a:pt x="15919" y="2115375"/>
                    </a:cubicBezTo>
                    <a:lnTo>
                      <a:pt x="15919" y="2148827"/>
                    </a:lnTo>
                    <a:cubicBezTo>
                      <a:pt x="15919" y="2153443"/>
                      <a:pt x="12184" y="2157190"/>
                      <a:pt x="7556" y="2157190"/>
                    </a:cubicBezTo>
                    <a:close/>
                    <a:moveTo>
                      <a:pt x="7556" y="2056834"/>
                    </a:moveTo>
                    <a:cubicBezTo>
                      <a:pt x="2928" y="2056834"/>
                      <a:pt x="-807" y="2053087"/>
                      <a:pt x="-807" y="2048471"/>
                    </a:cubicBezTo>
                    <a:lnTo>
                      <a:pt x="-807" y="2015019"/>
                    </a:lnTo>
                    <a:cubicBezTo>
                      <a:pt x="-807" y="2010402"/>
                      <a:pt x="2928" y="2006656"/>
                      <a:pt x="7556" y="2006656"/>
                    </a:cubicBezTo>
                    <a:cubicBezTo>
                      <a:pt x="12184" y="2006656"/>
                      <a:pt x="15919" y="2010402"/>
                      <a:pt x="15919" y="2015019"/>
                    </a:cubicBezTo>
                    <a:lnTo>
                      <a:pt x="15919" y="2048471"/>
                    </a:lnTo>
                    <a:cubicBezTo>
                      <a:pt x="15919" y="2053087"/>
                      <a:pt x="12184" y="2056834"/>
                      <a:pt x="7556" y="2056834"/>
                    </a:cubicBezTo>
                    <a:close/>
                    <a:moveTo>
                      <a:pt x="7556" y="1956478"/>
                    </a:moveTo>
                    <a:cubicBezTo>
                      <a:pt x="2928" y="1956478"/>
                      <a:pt x="-807" y="1952731"/>
                      <a:pt x="-807" y="1948115"/>
                    </a:cubicBezTo>
                    <a:lnTo>
                      <a:pt x="-807" y="1914663"/>
                    </a:lnTo>
                    <a:cubicBezTo>
                      <a:pt x="-807" y="1910046"/>
                      <a:pt x="2928" y="1906300"/>
                      <a:pt x="7556" y="1906300"/>
                    </a:cubicBezTo>
                    <a:cubicBezTo>
                      <a:pt x="12184" y="1906300"/>
                      <a:pt x="15919" y="1910046"/>
                      <a:pt x="15919" y="1914663"/>
                    </a:cubicBezTo>
                    <a:lnTo>
                      <a:pt x="15919" y="1948115"/>
                    </a:lnTo>
                    <a:cubicBezTo>
                      <a:pt x="15919" y="1952731"/>
                      <a:pt x="12184" y="1956478"/>
                      <a:pt x="7556" y="1956478"/>
                    </a:cubicBezTo>
                    <a:close/>
                    <a:moveTo>
                      <a:pt x="7556" y="1856122"/>
                    </a:moveTo>
                    <a:cubicBezTo>
                      <a:pt x="2928" y="1856122"/>
                      <a:pt x="-807" y="1852375"/>
                      <a:pt x="-807" y="1847759"/>
                    </a:cubicBezTo>
                    <a:lnTo>
                      <a:pt x="-807" y="1814306"/>
                    </a:lnTo>
                    <a:cubicBezTo>
                      <a:pt x="-807" y="1809690"/>
                      <a:pt x="2928" y="1805943"/>
                      <a:pt x="7556" y="1805943"/>
                    </a:cubicBezTo>
                    <a:cubicBezTo>
                      <a:pt x="12184" y="1805943"/>
                      <a:pt x="15919" y="1809690"/>
                      <a:pt x="15919" y="1814306"/>
                    </a:cubicBezTo>
                    <a:lnTo>
                      <a:pt x="15919" y="1847759"/>
                    </a:lnTo>
                    <a:cubicBezTo>
                      <a:pt x="15919" y="1852375"/>
                      <a:pt x="12184" y="1856122"/>
                      <a:pt x="7556" y="1856122"/>
                    </a:cubicBezTo>
                    <a:close/>
                    <a:moveTo>
                      <a:pt x="7556" y="1755765"/>
                    </a:moveTo>
                    <a:cubicBezTo>
                      <a:pt x="2928" y="1755765"/>
                      <a:pt x="-807" y="1752019"/>
                      <a:pt x="-807" y="1747402"/>
                    </a:cubicBezTo>
                    <a:lnTo>
                      <a:pt x="-807" y="1713950"/>
                    </a:lnTo>
                    <a:cubicBezTo>
                      <a:pt x="-807" y="1709334"/>
                      <a:pt x="2928" y="1705587"/>
                      <a:pt x="7556" y="1705587"/>
                    </a:cubicBezTo>
                    <a:cubicBezTo>
                      <a:pt x="12184" y="1705587"/>
                      <a:pt x="15919" y="1709334"/>
                      <a:pt x="15919" y="1713950"/>
                    </a:cubicBezTo>
                    <a:lnTo>
                      <a:pt x="15919" y="1747402"/>
                    </a:lnTo>
                    <a:cubicBezTo>
                      <a:pt x="15919" y="1752019"/>
                      <a:pt x="12184" y="1755765"/>
                      <a:pt x="7556" y="1755765"/>
                    </a:cubicBezTo>
                    <a:close/>
                    <a:moveTo>
                      <a:pt x="7556" y="1655409"/>
                    </a:moveTo>
                    <a:cubicBezTo>
                      <a:pt x="2928" y="1655409"/>
                      <a:pt x="-807" y="1651663"/>
                      <a:pt x="-807" y="1647046"/>
                    </a:cubicBezTo>
                    <a:lnTo>
                      <a:pt x="-807" y="1613594"/>
                    </a:lnTo>
                    <a:cubicBezTo>
                      <a:pt x="-807" y="1608978"/>
                      <a:pt x="2928" y="1605231"/>
                      <a:pt x="7556" y="1605231"/>
                    </a:cubicBezTo>
                    <a:cubicBezTo>
                      <a:pt x="12184" y="1605231"/>
                      <a:pt x="15919" y="1608978"/>
                      <a:pt x="15919" y="1613594"/>
                    </a:cubicBezTo>
                    <a:lnTo>
                      <a:pt x="15919" y="1647046"/>
                    </a:lnTo>
                    <a:cubicBezTo>
                      <a:pt x="15919" y="1651663"/>
                      <a:pt x="12184" y="1655409"/>
                      <a:pt x="7556" y="1655409"/>
                    </a:cubicBezTo>
                    <a:close/>
                    <a:moveTo>
                      <a:pt x="7556" y="1555053"/>
                    </a:moveTo>
                    <a:cubicBezTo>
                      <a:pt x="2928" y="1555053"/>
                      <a:pt x="-807" y="1551307"/>
                      <a:pt x="-807" y="1546690"/>
                    </a:cubicBezTo>
                    <a:lnTo>
                      <a:pt x="-807" y="1513238"/>
                    </a:lnTo>
                    <a:cubicBezTo>
                      <a:pt x="-807" y="1508622"/>
                      <a:pt x="2928" y="1504875"/>
                      <a:pt x="7556" y="1504875"/>
                    </a:cubicBezTo>
                    <a:cubicBezTo>
                      <a:pt x="12184" y="1504875"/>
                      <a:pt x="15919" y="1508622"/>
                      <a:pt x="15919" y="1513238"/>
                    </a:cubicBezTo>
                    <a:lnTo>
                      <a:pt x="15919" y="1546690"/>
                    </a:lnTo>
                    <a:cubicBezTo>
                      <a:pt x="15919" y="1551307"/>
                      <a:pt x="12184" y="1555053"/>
                      <a:pt x="7556" y="1555053"/>
                    </a:cubicBezTo>
                    <a:close/>
                    <a:moveTo>
                      <a:pt x="7556" y="1454697"/>
                    </a:moveTo>
                    <a:cubicBezTo>
                      <a:pt x="2928" y="1454697"/>
                      <a:pt x="-807" y="1450950"/>
                      <a:pt x="-807" y="1446334"/>
                    </a:cubicBezTo>
                    <a:lnTo>
                      <a:pt x="-807" y="1412882"/>
                    </a:lnTo>
                    <a:cubicBezTo>
                      <a:pt x="-807" y="1408266"/>
                      <a:pt x="2928" y="1404519"/>
                      <a:pt x="7556" y="1404519"/>
                    </a:cubicBezTo>
                    <a:cubicBezTo>
                      <a:pt x="12184" y="1404519"/>
                      <a:pt x="15919" y="1408266"/>
                      <a:pt x="15919" y="1412882"/>
                    </a:cubicBezTo>
                    <a:lnTo>
                      <a:pt x="15919" y="1446334"/>
                    </a:lnTo>
                    <a:cubicBezTo>
                      <a:pt x="15919" y="1450950"/>
                      <a:pt x="12184" y="1454697"/>
                      <a:pt x="7556" y="1454697"/>
                    </a:cubicBezTo>
                    <a:close/>
                    <a:moveTo>
                      <a:pt x="7556" y="1354341"/>
                    </a:moveTo>
                    <a:cubicBezTo>
                      <a:pt x="2928" y="1354341"/>
                      <a:pt x="-807" y="1350594"/>
                      <a:pt x="-807" y="1345978"/>
                    </a:cubicBezTo>
                    <a:lnTo>
                      <a:pt x="-807" y="1312526"/>
                    </a:lnTo>
                    <a:cubicBezTo>
                      <a:pt x="-807" y="1307909"/>
                      <a:pt x="2928" y="1304163"/>
                      <a:pt x="7556" y="1304163"/>
                    </a:cubicBezTo>
                    <a:cubicBezTo>
                      <a:pt x="12184" y="1304163"/>
                      <a:pt x="15919" y="1307909"/>
                      <a:pt x="15919" y="1312526"/>
                    </a:cubicBezTo>
                    <a:lnTo>
                      <a:pt x="15919" y="1345978"/>
                    </a:lnTo>
                    <a:cubicBezTo>
                      <a:pt x="15919" y="1350594"/>
                      <a:pt x="12184" y="1354341"/>
                      <a:pt x="7556" y="1354341"/>
                    </a:cubicBezTo>
                    <a:close/>
                    <a:moveTo>
                      <a:pt x="7556" y="1253985"/>
                    </a:moveTo>
                    <a:cubicBezTo>
                      <a:pt x="2928" y="1253985"/>
                      <a:pt x="-807" y="1250238"/>
                      <a:pt x="-807" y="1245622"/>
                    </a:cubicBezTo>
                    <a:lnTo>
                      <a:pt x="-807" y="1212170"/>
                    </a:lnTo>
                    <a:cubicBezTo>
                      <a:pt x="-807" y="1207553"/>
                      <a:pt x="2928" y="1203807"/>
                      <a:pt x="7556" y="1203807"/>
                    </a:cubicBezTo>
                    <a:cubicBezTo>
                      <a:pt x="12184" y="1203807"/>
                      <a:pt x="15919" y="1207553"/>
                      <a:pt x="15919" y="1212170"/>
                    </a:cubicBezTo>
                    <a:lnTo>
                      <a:pt x="15919" y="1245622"/>
                    </a:lnTo>
                    <a:cubicBezTo>
                      <a:pt x="15919" y="1250238"/>
                      <a:pt x="12184" y="1253985"/>
                      <a:pt x="7556" y="1253985"/>
                    </a:cubicBezTo>
                    <a:close/>
                    <a:moveTo>
                      <a:pt x="7556" y="1153629"/>
                    </a:moveTo>
                    <a:cubicBezTo>
                      <a:pt x="2928" y="1153629"/>
                      <a:pt x="-807" y="1149882"/>
                      <a:pt x="-807" y="1145266"/>
                    </a:cubicBezTo>
                    <a:lnTo>
                      <a:pt x="-807" y="1111814"/>
                    </a:lnTo>
                    <a:cubicBezTo>
                      <a:pt x="-807" y="1107197"/>
                      <a:pt x="2928" y="1103451"/>
                      <a:pt x="7556" y="1103451"/>
                    </a:cubicBezTo>
                    <a:cubicBezTo>
                      <a:pt x="12184" y="1103451"/>
                      <a:pt x="15919" y="1107197"/>
                      <a:pt x="15919" y="1111814"/>
                    </a:cubicBezTo>
                    <a:lnTo>
                      <a:pt x="15919" y="1145266"/>
                    </a:lnTo>
                    <a:cubicBezTo>
                      <a:pt x="15919" y="1149882"/>
                      <a:pt x="12184" y="1153629"/>
                      <a:pt x="7556" y="1153629"/>
                    </a:cubicBezTo>
                    <a:close/>
                    <a:moveTo>
                      <a:pt x="7556" y="1053273"/>
                    </a:moveTo>
                    <a:cubicBezTo>
                      <a:pt x="2928" y="1053273"/>
                      <a:pt x="-807" y="1049526"/>
                      <a:pt x="-807" y="1044910"/>
                    </a:cubicBezTo>
                    <a:lnTo>
                      <a:pt x="-807" y="1011457"/>
                    </a:lnTo>
                    <a:cubicBezTo>
                      <a:pt x="-807" y="1006841"/>
                      <a:pt x="2928" y="1003094"/>
                      <a:pt x="7556" y="1003094"/>
                    </a:cubicBezTo>
                    <a:cubicBezTo>
                      <a:pt x="12184" y="1003094"/>
                      <a:pt x="15919" y="1006841"/>
                      <a:pt x="15919" y="1011457"/>
                    </a:cubicBezTo>
                    <a:lnTo>
                      <a:pt x="15919" y="1044910"/>
                    </a:lnTo>
                    <a:cubicBezTo>
                      <a:pt x="15919" y="1049526"/>
                      <a:pt x="12184" y="1053273"/>
                      <a:pt x="7556" y="1053273"/>
                    </a:cubicBezTo>
                    <a:close/>
                    <a:moveTo>
                      <a:pt x="7556" y="952916"/>
                    </a:moveTo>
                    <a:cubicBezTo>
                      <a:pt x="2928" y="952916"/>
                      <a:pt x="-807" y="949170"/>
                      <a:pt x="-807" y="944553"/>
                    </a:cubicBezTo>
                    <a:lnTo>
                      <a:pt x="-807" y="911101"/>
                    </a:lnTo>
                    <a:cubicBezTo>
                      <a:pt x="-807" y="906485"/>
                      <a:pt x="2928" y="902738"/>
                      <a:pt x="7556" y="902738"/>
                    </a:cubicBezTo>
                    <a:cubicBezTo>
                      <a:pt x="12184" y="902738"/>
                      <a:pt x="15919" y="906485"/>
                      <a:pt x="15919" y="911101"/>
                    </a:cubicBezTo>
                    <a:lnTo>
                      <a:pt x="15919" y="944553"/>
                    </a:lnTo>
                    <a:cubicBezTo>
                      <a:pt x="15919" y="949170"/>
                      <a:pt x="12184" y="952916"/>
                      <a:pt x="7556" y="952916"/>
                    </a:cubicBezTo>
                    <a:close/>
                    <a:moveTo>
                      <a:pt x="7556" y="852560"/>
                    </a:moveTo>
                    <a:cubicBezTo>
                      <a:pt x="2928" y="852560"/>
                      <a:pt x="-807" y="848814"/>
                      <a:pt x="-807" y="844197"/>
                    </a:cubicBezTo>
                    <a:lnTo>
                      <a:pt x="-807" y="810745"/>
                    </a:lnTo>
                    <a:cubicBezTo>
                      <a:pt x="-807" y="806129"/>
                      <a:pt x="2928" y="802382"/>
                      <a:pt x="7556" y="802382"/>
                    </a:cubicBezTo>
                    <a:cubicBezTo>
                      <a:pt x="12184" y="802382"/>
                      <a:pt x="15919" y="806129"/>
                      <a:pt x="15919" y="810745"/>
                    </a:cubicBezTo>
                    <a:lnTo>
                      <a:pt x="15919" y="844197"/>
                    </a:lnTo>
                    <a:cubicBezTo>
                      <a:pt x="15919" y="848814"/>
                      <a:pt x="12184" y="852560"/>
                      <a:pt x="7556" y="852560"/>
                    </a:cubicBezTo>
                    <a:close/>
                    <a:moveTo>
                      <a:pt x="7556" y="752204"/>
                    </a:moveTo>
                    <a:cubicBezTo>
                      <a:pt x="2928" y="752204"/>
                      <a:pt x="-807" y="748458"/>
                      <a:pt x="-807" y="743841"/>
                    </a:cubicBezTo>
                    <a:lnTo>
                      <a:pt x="-807" y="710389"/>
                    </a:lnTo>
                    <a:cubicBezTo>
                      <a:pt x="-807" y="705773"/>
                      <a:pt x="2928" y="702026"/>
                      <a:pt x="7556" y="702026"/>
                    </a:cubicBezTo>
                    <a:cubicBezTo>
                      <a:pt x="12184" y="702026"/>
                      <a:pt x="15919" y="705773"/>
                      <a:pt x="15919" y="710389"/>
                    </a:cubicBezTo>
                    <a:lnTo>
                      <a:pt x="15919" y="743841"/>
                    </a:lnTo>
                    <a:cubicBezTo>
                      <a:pt x="15919" y="748458"/>
                      <a:pt x="12184" y="752204"/>
                      <a:pt x="7556" y="752204"/>
                    </a:cubicBezTo>
                    <a:close/>
                    <a:moveTo>
                      <a:pt x="7556" y="651848"/>
                    </a:moveTo>
                    <a:cubicBezTo>
                      <a:pt x="2928" y="651848"/>
                      <a:pt x="-807" y="648101"/>
                      <a:pt x="-807" y="643485"/>
                    </a:cubicBezTo>
                    <a:lnTo>
                      <a:pt x="-807" y="610033"/>
                    </a:lnTo>
                    <a:cubicBezTo>
                      <a:pt x="-807" y="605417"/>
                      <a:pt x="2928" y="601670"/>
                      <a:pt x="7556" y="601670"/>
                    </a:cubicBezTo>
                    <a:cubicBezTo>
                      <a:pt x="12184" y="601670"/>
                      <a:pt x="15919" y="605417"/>
                      <a:pt x="15919" y="610033"/>
                    </a:cubicBezTo>
                    <a:lnTo>
                      <a:pt x="15919" y="643485"/>
                    </a:lnTo>
                    <a:cubicBezTo>
                      <a:pt x="15919" y="648101"/>
                      <a:pt x="12184" y="651848"/>
                      <a:pt x="7556" y="651848"/>
                    </a:cubicBezTo>
                    <a:close/>
                    <a:moveTo>
                      <a:pt x="7556" y="551492"/>
                    </a:moveTo>
                    <a:cubicBezTo>
                      <a:pt x="2928" y="551492"/>
                      <a:pt x="-807" y="547745"/>
                      <a:pt x="-807" y="543129"/>
                    </a:cubicBezTo>
                    <a:lnTo>
                      <a:pt x="-807" y="509677"/>
                    </a:lnTo>
                    <a:cubicBezTo>
                      <a:pt x="-807" y="505060"/>
                      <a:pt x="2928" y="501314"/>
                      <a:pt x="7556" y="501314"/>
                    </a:cubicBezTo>
                    <a:cubicBezTo>
                      <a:pt x="12184" y="501314"/>
                      <a:pt x="15919" y="505060"/>
                      <a:pt x="15919" y="509677"/>
                    </a:cubicBezTo>
                    <a:lnTo>
                      <a:pt x="15919" y="543129"/>
                    </a:lnTo>
                    <a:cubicBezTo>
                      <a:pt x="15919" y="547745"/>
                      <a:pt x="12184" y="551492"/>
                      <a:pt x="7556" y="551492"/>
                    </a:cubicBezTo>
                    <a:close/>
                    <a:moveTo>
                      <a:pt x="7556" y="451136"/>
                    </a:moveTo>
                    <a:cubicBezTo>
                      <a:pt x="2928" y="451136"/>
                      <a:pt x="-807" y="447389"/>
                      <a:pt x="-807" y="442773"/>
                    </a:cubicBezTo>
                    <a:lnTo>
                      <a:pt x="-807" y="409321"/>
                    </a:lnTo>
                    <a:cubicBezTo>
                      <a:pt x="-807" y="404704"/>
                      <a:pt x="2928" y="400958"/>
                      <a:pt x="7556" y="400958"/>
                    </a:cubicBezTo>
                    <a:cubicBezTo>
                      <a:pt x="12184" y="400958"/>
                      <a:pt x="15919" y="404704"/>
                      <a:pt x="15919" y="409321"/>
                    </a:cubicBezTo>
                    <a:lnTo>
                      <a:pt x="15919" y="442773"/>
                    </a:lnTo>
                    <a:cubicBezTo>
                      <a:pt x="15919" y="447389"/>
                      <a:pt x="12184" y="451136"/>
                      <a:pt x="7556" y="451136"/>
                    </a:cubicBezTo>
                    <a:close/>
                    <a:moveTo>
                      <a:pt x="7556" y="350780"/>
                    </a:moveTo>
                    <a:cubicBezTo>
                      <a:pt x="2928" y="350780"/>
                      <a:pt x="-807" y="347033"/>
                      <a:pt x="-807" y="342417"/>
                    </a:cubicBezTo>
                    <a:lnTo>
                      <a:pt x="-807" y="308965"/>
                    </a:lnTo>
                    <a:cubicBezTo>
                      <a:pt x="-807" y="304348"/>
                      <a:pt x="2928" y="300602"/>
                      <a:pt x="7556" y="300602"/>
                    </a:cubicBezTo>
                    <a:cubicBezTo>
                      <a:pt x="12184" y="300602"/>
                      <a:pt x="15919" y="304348"/>
                      <a:pt x="15919" y="308965"/>
                    </a:cubicBezTo>
                    <a:lnTo>
                      <a:pt x="15919" y="342417"/>
                    </a:lnTo>
                    <a:cubicBezTo>
                      <a:pt x="15919" y="347033"/>
                      <a:pt x="12184" y="350780"/>
                      <a:pt x="7556" y="350780"/>
                    </a:cubicBezTo>
                    <a:close/>
                    <a:moveTo>
                      <a:pt x="7556" y="250424"/>
                    </a:moveTo>
                    <a:cubicBezTo>
                      <a:pt x="2928" y="250424"/>
                      <a:pt x="-807" y="246677"/>
                      <a:pt x="-807" y="242060"/>
                    </a:cubicBezTo>
                    <a:lnTo>
                      <a:pt x="-807" y="208608"/>
                    </a:lnTo>
                    <a:cubicBezTo>
                      <a:pt x="-807" y="203992"/>
                      <a:pt x="2928" y="200245"/>
                      <a:pt x="7556" y="200245"/>
                    </a:cubicBezTo>
                    <a:cubicBezTo>
                      <a:pt x="12184" y="200245"/>
                      <a:pt x="15919" y="203992"/>
                      <a:pt x="15919" y="208608"/>
                    </a:cubicBezTo>
                    <a:lnTo>
                      <a:pt x="15919" y="242060"/>
                    </a:lnTo>
                    <a:cubicBezTo>
                      <a:pt x="15919" y="246677"/>
                      <a:pt x="12184" y="250424"/>
                      <a:pt x="7556" y="250424"/>
                    </a:cubicBezTo>
                    <a:close/>
                    <a:moveTo>
                      <a:pt x="7556" y="150067"/>
                    </a:moveTo>
                    <a:cubicBezTo>
                      <a:pt x="2928" y="150067"/>
                      <a:pt x="-807" y="146321"/>
                      <a:pt x="-807" y="141704"/>
                    </a:cubicBezTo>
                    <a:lnTo>
                      <a:pt x="-807" y="108252"/>
                    </a:lnTo>
                    <a:cubicBezTo>
                      <a:pt x="-807" y="103636"/>
                      <a:pt x="2928" y="99889"/>
                      <a:pt x="7556" y="99889"/>
                    </a:cubicBezTo>
                    <a:cubicBezTo>
                      <a:pt x="12184" y="99889"/>
                      <a:pt x="15919" y="103636"/>
                      <a:pt x="15919" y="108252"/>
                    </a:cubicBezTo>
                    <a:lnTo>
                      <a:pt x="15919" y="141704"/>
                    </a:lnTo>
                    <a:cubicBezTo>
                      <a:pt x="15919" y="146321"/>
                      <a:pt x="12184" y="150067"/>
                      <a:pt x="7556" y="150067"/>
                    </a:cubicBezTo>
                    <a:close/>
                    <a:moveTo>
                      <a:pt x="7556" y="49711"/>
                    </a:moveTo>
                    <a:cubicBezTo>
                      <a:pt x="2928" y="49711"/>
                      <a:pt x="-807" y="45965"/>
                      <a:pt x="-807" y="41348"/>
                    </a:cubicBezTo>
                    <a:lnTo>
                      <a:pt x="-807" y="7896"/>
                    </a:lnTo>
                    <a:cubicBezTo>
                      <a:pt x="-807" y="3280"/>
                      <a:pt x="2928" y="-467"/>
                      <a:pt x="7556" y="-467"/>
                    </a:cubicBezTo>
                    <a:cubicBezTo>
                      <a:pt x="12184" y="-467"/>
                      <a:pt x="15919" y="3280"/>
                      <a:pt x="15919" y="7896"/>
                    </a:cubicBezTo>
                    <a:lnTo>
                      <a:pt x="15919" y="41348"/>
                    </a:lnTo>
                    <a:cubicBezTo>
                      <a:pt x="15919" y="45965"/>
                      <a:pt x="12184" y="49711"/>
                      <a:pt x="7556" y="49711"/>
                    </a:cubicBezTo>
                    <a:close/>
                  </a:path>
                </a:pathLst>
              </a:custGeom>
              <a:solidFill>
                <a:srgbClr val="30373B"/>
              </a:solidFill>
              <a:ln w="5573" cap="flat">
                <a:noFill/>
                <a:prstDash val="solid"/>
                <a:miter/>
              </a:ln>
            </p:spPr>
            <p:txBody>
              <a:bodyPr rtlCol="0" anchor="ctr"/>
              <a:lstStyle/>
              <a:p>
                <a:endParaRPr lang="en-GB"/>
              </a:p>
            </p:txBody>
          </p:sp>
          <p:sp>
            <p:nvSpPr>
              <p:cNvPr id="200" name="Graphic 6">
                <a:extLst>
                  <a:ext uri="{FF2B5EF4-FFF2-40B4-BE49-F238E27FC236}">
                    <a16:creationId xmlns:a16="http://schemas.microsoft.com/office/drawing/2014/main" id="{947AE37E-2E27-D82F-97A7-D4057B55B4DB}"/>
                  </a:ext>
                </a:extLst>
              </p:cNvPr>
              <p:cNvSpPr/>
              <p:nvPr/>
            </p:nvSpPr>
            <p:spPr>
              <a:xfrm>
                <a:off x="7553297" y="3241807"/>
                <a:ext cx="1224400" cy="194133"/>
              </a:xfrm>
              <a:custGeom>
                <a:avLst/>
                <a:gdLst>
                  <a:gd name="connsiteX0" fmla="*/ 1042730 w 1224400"/>
                  <a:gd name="connsiteY0" fmla="*/ 193667 h 194133"/>
                  <a:gd name="connsiteX1" fmla="*/ 948953 w 1224400"/>
                  <a:gd name="connsiteY1" fmla="*/ 100280 h 194133"/>
                  <a:gd name="connsiteX2" fmla="*/ 870174 w 1224400"/>
                  <a:gd name="connsiteY2" fmla="*/ 16259 h 194133"/>
                  <a:gd name="connsiteX3" fmla="*/ 791450 w 1224400"/>
                  <a:gd name="connsiteY3" fmla="*/ 100280 h 194133"/>
                  <a:gd name="connsiteX4" fmla="*/ 697616 w 1224400"/>
                  <a:gd name="connsiteY4" fmla="*/ 193667 h 194133"/>
                  <a:gd name="connsiteX5" fmla="*/ 603839 w 1224400"/>
                  <a:gd name="connsiteY5" fmla="*/ 100280 h 194133"/>
                  <a:gd name="connsiteX6" fmla="*/ 525116 w 1224400"/>
                  <a:gd name="connsiteY6" fmla="*/ 16259 h 194133"/>
                  <a:gd name="connsiteX7" fmla="*/ 446392 w 1224400"/>
                  <a:gd name="connsiteY7" fmla="*/ 100280 h 194133"/>
                  <a:gd name="connsiteX8" fmla="*/ 352558 w 1224400"/>
                  <a:gd name="connsiteY8" fmla="*/ 193667 h 194133"/>
                  <a:gd name="connsiteX9" fmla="*/ 258782 w 1224400"/>
                  <a:gd name="connsiteY9" fmla="*/ 100280 h 194133"/>
                  <a:gd name="connsiteX10" fmla="*/ 180058 w 1224400"/>
                  <a:gd name="connsiteY10" fmla="*/ 16259 h 194133"/>
                  <a:gd name="connsiteX11" fmla="*/ 101334 w 1224400"/>
                  <a:gd name="connsiteY11" fmla="*/ 100280 h 194133"/>
                  <a:gd name="connsiteX12" fmla="*/ 7556 w 1224400"/>
                  <a:gd name="connsiteY12" fmla="*/ 193667 h 194133"/>
                  <a:gd name="connsiteX13" fmla="*/ -807 w 1224400"/>
                  <a:gd name="connsiteY13" fmla="*/ 185304 h 194133"/>
                  <a:gd name="connsiteX14" fmla="*/ 7556 w 1224400"/>
                  <a:gd name="connsiteY14" fmla="*/ 176941 h 194133"/>
                  <a:gd name="connsiteX15" fmla="*/ 86280 w 1224400"/>
                  <a:gd name="connsiteY15" fmla="*/ 92976 h 194133"/>
                  <a:gd name="connsiteX16" fmla="*/ 180058 w 1224400"/>
                  <a:gd name="connsiteY16" fmla="*/ -467 h 194133"/>
                  <a:gd name="connsiteX17" fmla="*/ 273835 w 1224400"/>
                  <a:gd name="connsiteY17" fmla="*/ 92976 h 194133"/>
                  <a:gd name="connsiteX18" fmla="*/ 352558 w 1224400"/>
                  <a:gd name="connsiteY18" fmla="*/ 176941 h 194133"/>
                  <a:gd name="connsiteX19" fmla="*/ 431338 w 1224400"/>
                  <a:gd name="connsiteY19" fmla="*/ 92976 h 194133"/>
                  <a:gd name="connsiteX20" fmla="*/ 525116 w 1224400"/>
                  <a:gd name="connsiteY20" fmla="*/ -467 h 194133"/>
                  <a:gd name="connsiteX21" fmla="*/ 618893 w 1224400"/>
                  <a:gd name="connsiteY21" fmla="*/ 92976 h 194133"/>
                  <a:gd name="connsiteX22" fmla="*/ 697616 w 1224400"/>
                  <a:gd name="connsiteY22" fmla="*/ 176941 h 194133"/>
                  <a:gd name="connsiteX23" fmla="*/ 776396 w 1224400"/>
                  <a:gd name="connsiteY23" fmla="*/ 92976 h 194133"/>
                  <a:gd name="connsiteX24" fmla="*/ 870174 w 1224400"/>
                  <a:gd name="connsiteY24" fmla="*/ -467 h 194133"/>
                  <a:gd name="connsiteX25" fmla="*/ 964006 w 1224400"/>
                  <a:gd name="connsiteY25" fmla="*/ 92976 h 194133"/>
                  <a:gd name="connsiteX26" fmla="*/ 1042730 w 1224400"/>
                  <a:gd name="connsiteY26" fmla="*/ 176941 h 194133"/>
                  <a:gd name="connsiteX27" fmla="*/ 1121454 w 1224400"/>
                  <a:gd name="connsiteY27" fmla="*/ 92976 h 194133"/>
                  <a:gd name="connsiteX28" fmla="*/ 1215231 w 1224400"/>
                  <a:gd name="connsiteY28" fmla="*/ -467 h 194133"/>
                  <a:gd name="connsiteX29" fmla="*/ 1223594 w 1224400"/>
                  <a:gd name="connsiteY29" fmla="*/ 7896 h 194133"/>
                  <a:gd name="connsiteX30" fmla="*/ 1215231 w 1224400"/>
                  <a:gd name="connsiteY30" fmla="*/ 16259 h 194133"/>
                  <a:gd name="connsiteX31" fmla="*/ 1136507 w 1224400"/>
                  <a:gd name="connsiteY31" fmla="*/ 100280 h 194133"/>
                  <a:gd name="connsiteX32" fmla="*/ 1042730 w 1224400"/>
                  <a:gd name="connsiteY32" fmla="*/ 193667 h 19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24400" h="194133">
                    <a:moveTo>
                      <a:pt x="1042730" y="193667"/>
                    </a:moveTo>
                    <a:cubicBezTo>
                      <a:pt x="994392" y="193667"/>
                      <a:pt x="971255" y="146165"/>
                      <a:pt x="948953" y="100280"/>
                    </a:cubicBezTo>
                    <a:cubicBezTo>
                      <a:pt x="927934" y="57071"/>
                      <a:pt x="908085" y="16259"/>
                      <a:pt x="870174" y="16259"/>
                    </a:cubicBezTo>
                    <a:cubicBezTo>
                      <a:pt x="832261" y="16259"/>
                      <a:pt x="812412" y="57071"/>
                      <a:pt x="791450" y="100280"/>
                    </a:cubicBezTo>
                    <a:cubicBezTo>
                      <a:pt x="769148" y="146165"/>
                      <a:pt x="746011" y="193667"/>
                      <a:pt x="697616" y="193667"/>
                    </a:cubicBezTo>
                    <a:cubicBezTo>
                      <a:pt x="649223" y="193667"/>
                      <a:pt x="626197" y="146165"/>
                      <a:pt x="603839" y="100280"/>
                    </a:cubicBezTo>
                    <a:cubicBezTo>
                      <a:pt x="582876" y="57071"/>
                      <a:pt x="563028" y="16259"/>
                      <a:pt x="525116" y="16259"/>
                    </a:cubicBezTo>
                    <a:cubicBezTo>
                      <a:pt x="487203" y="16259"/>
                      <a:pt x="467355" y="57071"/>
                      <a:pt x="446392" y="100280"/>
                    </a:cubicBezTo>
                    <a:cubicBezTo>
                      <a:pt x="424091" y="146165"/>
                      <a:pt x="400953" y="193667"/>
                      <a:pt x="352558" y="193667"/>
                    </a:cubicBezTo>
                    <a:cubicBezTo>
                      <a:pt x="304165" y="193667"/>
                      <a:pt x="281139" y="146165"/>
                      <a:pt x="258782" y="100280"/>
                    </a:cubicBezTo>
                    <a:cubicBezTo>
                      <a:pt x="237818" y="57071"/>
                      <a:pt x="217970" y="16259"/>
                      <a:pt x="180058" y="16259"/>
                    </a:cubicBezTo>
                    <a:cubicBezTo>
                      <a:pt x="142145" y="16259"/>
                      <a:pt x="122297" y="57071"/>
                      <a:pt x="101334" y="100280"/>
                    </a:cubicBezTo>
                    <a:cubicBezTo>
                      <a:pt x="79033" y="146165"/>
                      <a:pt x="55895" y="193667"/>
                      <a:pt x="7556" y="193667"/>
                    </a:cubicBezTo>
                    <a:cubicBezTo>
                      <a:pt x="2929" y="193667"/>
                      <a:pt x="-807" y="189920"/>
                      <a:pt x="-807" y="185304"/>
                    </a:cubicBezTo>
                    <a:cubicBezTo>
                      <a:pt x="-807" y="180687"/>
                      <a:pt x="2929" y="176941"/>
                      <a:pt x="7556" y="176941"/>
                    </a:cubicBezTo>
                    <a:cubicBezTo>
                      <a:pt x="45413" y="176941"/>
                      <a:pt x="65262" y="136129"/>
                      <a:pt x="86280" y="92976"/>
                    </a:cubicBezTo>
                    <a:cubicBezTo>
                      <a:pt x="108582" y="47035"/>
                      <a:pt x="131719" y="-467"/>
                      <a:pt x="180058" y="-467"/>
                    </a:cubicBezTo>
                    <a:cubicBezTo>
                      <a:pt x="228396" y="-467"/>
                      <a:pt x="251533" y="47035"/>
                      <a:pt x="273835" y="92976"/>
                    </a:cubicBezTo>
                    <a:cubicBezTo>
                      <a:pt x="294854" y="136129"/>
                      <a:pt x="314702" y="176941"/>
                      <a:pt x="352558" y="176941"/>
                    </a:cubicBezTo>
                    <a:cubicBezTo>
                      <a:pt x="390415" y="176941"/>
                      <a:pt x="410319" y="136129"/>
                      <a:pt x="431338" y="92976"/>
                    </a:cubicBezTo>
                    <a:cubicBezTo>
                      <a:pt x="453639" y="47035"/>
                      <a:pt x="476721" y="-467"/>
                      <a:pt x="525116" y="-467"/>
                    </a:cubicBezTo>
                    <a:cubicBezTo>
                      <a:pt x="573509" y="-467"/>
                      <a:pt x="596591" y="47035"/>
                      <a:pt x="618893" y="92976"/>
                    </a:cubicBezTo>
                    <a:cubicBezTo>
                      <a:pt x="639912" y="136129"/>
                      <a:pt x="659760" y="176941"/>
                      <a:pt x="697616" y="176941"/>
                    </a:cubicBezTo>
                    <a:cubicBezTo>
                      <a:pt x="735473" y="176941"/>
                      <a:pt x="755377" y="136129"/>
                      <a:pt x="776396" y="92976"/>
                    </a:cubicBezTo>
                    <a:cubicBezTo>
                      <a:pt x="798697" y="47035"/>
                      <a:pt x="821835" y="-467"/>
                      <a:pt x="870174" y="-467"/>
                    </a:cubicBezTo>
                    <a:cubicBezTo>
                      <a:pt x="918511" y="-467"/>
                      <a:pt x="941649" y="47035"/>
                      <a:pt x="964006" y="92976"/>
                    </a:cubicBezTo>
                    <a:cubicBezTo>
                      <a:pt x="984970" y="136129"/>
                      <a:pt x="1004817" y="176941"/>
                      <a:pt x="1042730" y="176941"/>
                    </a:cubicBezTo>
                    <a:cubicBezTo>
                      <a:pt x="1080643" y="176941"/>
                      <a:pt x="1100491" y="136129"/>
                      <a:pt x="1121454" y="92976"/>
                    </a:cubicBezTo>
                    <a:cubicBezTo>
                      <a:pt x="1143755" y="47035"/>
                      <a:pt x="1166893" y="-467"/>
                      <a:pt x="1215231" y="-467"/>
                    </a:cubicBezTo>
                    <a:cubicBezTo>
                      <a:pt x="1219859" y="-467"/>
                      <a:pt x="1223594" y="3280"/>
                      <a:pt x="1223594" y="7896"/>
                    </a:cubicBezTo>
                    <a:cubicBezTo>
                      <a:pt x="1223594" y="12513"/>
                      <a:pt x="1219859" y="16259"/>
                      <a:pt x="1215231" y="16259"/>
                    </a:cubicBezTo>
                    <a:cubicBezTo>
                      <a:pt x="1177375" y="16259"/>
                      <a:pt x="1157526" y="57071"/>
                      <a:pt x="1136507" y="100280"/>
                    </a:cubicBezTo>
                    <a:cubicBezTo>
                      <a:pt x="1113983" y="146165"/>
                      <a:pt x="1090901" y="193667"/>
                      <a:pt x="1042730" y="193667"/>
                    </a:cubicBezTo>
                    <a:close/>
                  </a:path>
                </a:pathLst>
              </a:custGeom>
              <a:solidFill>
                <a:srgbClr val="30373B"/>
              </a:solidFill>
              <a:ln w="5573" cap="flat">
                <a:noFill/>
                <a:prstDash val="solid"/>
                <a:miter/>
              </a:ln>
            </p:spPr>
            <p:txBody>
              <a:bodyPr rtlCol="0" anchor="ctr"/>
              <a:lstStyle/>
              <a:p>
                <a:endParaRPr lang="en-GB"/>
              </a:p>
            </p:txBody>
          </p:sp>
          <p:sp>
            <p:nvSpPr>
              <p:cNvPr id="201" name="Graphic 6">
                <a:extLst>
                  <a:ext uri="{FF2B5EF4-FFF2-40B4-BE49-F238E27FC236}">
                    <a16:creationId xmlns:a16="http://schemas.microsoft.com/office/drawing/2014/main" id="{84718D33-3917-5443-C2C9-3016FB33AAEE}"/>
                  </a:ext>
                </a:extLst>
              </p:cNvPr>
              <p:cNvSpPr/>
              <p:nvPr/>
            </p:nvSpPr>
            <p:spPr>
              <a:xfrm>
                <a:off x="5718453" y="6184359"/>
                <a:ext cx="299786" cy="16726"/>
              </a:xfrm>
              <a:custGeom>
                <a:avLst/>
                <a:gdLst>
                  <a:gd name="connsiteX0" fmla="*/ 290617 w 299786"/>
                  <a:gd name="connsiteY0" fmla="*/ 16259 h 16726"/>
                  <a:gd name="connsiteX1" fmla="*/ 7556 w 299786"/>
                  <a:gd name="connsiteY1" fmla="*/ 16259 h 16726"/>
                  <a:gd name="connsiteX2" fmla="*/ -807 w 299786"/>
                  <a:gd name="connsiteY2" fmla="*/ 7896 h 16726"/>
                  <a:gd name="connsiteX3" fmla="*/ 7556 w 299786"/>
                  <a:gd name="connsiteY3" fmla="*/ -467 h 16726"/>
                  <a:gd name="connsiteX4" fmla="*/ 290617 w 299786"/>
                  <a:gd name="connsiteY4" fmla="*/ -467 h 16726"/>
                  <a:gd name="connsiteX5" fmla="*/ 298980 w 299786"/>
                  <a:gd name="connsiteY5" fmla="*/ 7896 h 16726"/>
                  <a:gd name="connsiteX6" fmla="*/ 290617 w 299786"/>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786" h="16726">
                    <a:moveTo>
                      <a:pt x="290617" y="16259"/>
                    </a:moveTo>
                    <a:lnTo>
                      <a:pt x="7556" y="16259"/>
                    </a:lnTo>
                    <a:cubicBezTo>
                      <a:pt x="2940" y="16259"/>
                      <a:pt x="-807" y="12524"/>
                      <a:pt x="-807" y="7896"/>
                    </a:cubicBezTo>
                    <a:cubicBezTo>
                      <a:pt x="-807" y="3269"/>
                      <a:pt x="2940" y="-467"/>
                      <a:pt x="7556" y="-467"/>
                    </a:cubicBezTo>
                    <a:lnTo>
                      <a:pt x="290617" y="-467"/>
                    </a:lnTo>
                    <a:cubicBezTo>
                      <a:pt x="295233" y="-467"/>
                      <a:pt x="298980" y="3269"/>
                      <a:pt x="298980" y="7896"/>
                    </a:cubicBezTo>
                    <a:cubicBezTo>
                      <a:pt x="298980" y="12524"/>
                      <a:pt x="295233" y="16259"/>
                      <a:pt x="290617" y="16259"/>
                    </a:cubicBezTo>
                    <a:close/>
                  </a:path>
                </a:pathLst>
              </a:custGeom>
              <a:solidFill>
                <a:srgbClr val="30373B"/>
              </a:solidFill>
              <a:ln w="5573" cap="flat">
                <a:noFill/>
                <a:prstDash val="solid"/>
                <a:miter/>
              </a:ln>
            </p:spPr>
            <p:txBody>
              <a:bodyPr rtlCol="0" anchor="ctr"/>
              <a:lstStyle/>
              <a:p>
                <a:endParaRPr lang="en-GB"/>
              </a:p>
            </p:txBody>
          </p:sp>
          <p:sp>
            <p:nvSpPr>
              <p:cNvPr id="202" name="Graphic 6">
                <a:extLst>
                  <a:ext uri="{FF2B5EF4-FFF2-40B4-BE49-F238E27FC236}">
                    <a16:creationId xmlns:a16="http://schemas.microsoft.com/office/drawing/2014/main" id="{DF89199F-4735-4A23-F7C2-5AA2E10E491E}"/>
                  </a:ext>
                </a:extLst>
              </p:cNvPr>
              <p:cNvSpPr/>
              <p:nvPr/>
            </p:nvSpPr>
            <p:spPr>
              <a:xfrm>
                <a:off x="5828064" y="6109316"/>
                <a:ext cx="190174" cy="16726"/>
              </a:xfrm>
              <a:custGeom>
                <a:avLst/>
                <a:gdLst>
                  <a:gd name="connsiteX0" fmla="*/ 181005 w 190174"/>
                  <a:gd name="connsiteY0" fmla="*/ 16259 h 16726"/>
                  <a:gd name="connsiteX1" fmla="*/ 7556 w 190174"/>
                  <a:gd name="connsiteY1" fmla="*/ 16259 h 16726"/>
                  <a:gd name="connsiteX2" fmla="*/ -807 w 190174"/>
                  <a:gd name="connsiteY2" fmla="*/ 7896 h 16726"/>
                  <a:gd name="connsiteX3" fmla="*/ 7556 w 190174"/>
                  <a:gd name="connsiteY3" fmla="*/ -467 h 16726"/>
                  <a:gd name="connsiteX4" fmla="*/ 181005 w 190174"/>
                  <a:gd name="connsiteY4" fmla="*/ -467 h 16726"/>
                  <a:gd name="connsiteX5" fmla="*/ 189368 w 190174"/>
                  <a:gd name="connsiteY5" fmla="*/ 7896 h 16726"/>
                  <a:gd name="connsiteX6" fmla="*/ 181005 w 190174"/>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74" h="16726">
                    <a:moveTo>
                      <a:pt x="181005" y="16259"/>
                    </a:moveTo>
                    <a:lnTo>
                      <a:pt x="7556" y="16259"/>
                    </a:lnTo>
                    <a:cubicBezTo>
                      <a:pt x="2940" y="16259"/>
                      <a:pt x="-807" y="12523"/>
                      <a:pt x="-807" y="7896"/>
                    </a:cubicBezTo>
                    <a:cubicBezTo>
                      <a:pt x="-807" y="3269"/>
                      <a:pt x="2940" y="-467"/>
                      <a:pt x="7556" y="-467"/>
                    </a:cubicBezTo>
                    <a:lnTo>
                      <a:pt x="181005" y="-467"/>
                    </a:lnTo>
                    <a:cubicBezTo>
                      <a:pt x="185622" y="-467"/>
                      <a:pt x="189368" y="3269"/>
                      <a:pt x="189368" y="7896"/>
                    </a:cubicBezTo>
                    <a:cubicBezTo>
                      <a:pt x="189368" y="12523"/>
                      <a:pt x="185622" y="16259"/>
                      <a:pt x="181005" y="16259"/>
                    </a:cubicBezTo>
                    <a:close/>
                  </a:path>
                </a:pathLst>
              </a:custGeom>
              <a:solidFill>
                <a:srgbClr val="30373B"/>
              </a:solidFill>
              <a:ln w="5573" cap="flat">
                <a:noFill/>
                <a:prstDash val="solid"/>
                <a:miter/>
              </a:ln>
            </p:spPr>
            <p:txBody>
              <a:bodyPr rtlCol="0" anchor="ctr"/>
              <a:lstStyle/>
              <a:p>
                <a:endParaRPr lang="en-GB"/>
              </a:p>
            </p:txBody>
          </p:sp>
        </p:grpSp>
      </p:grpSp>
      <p:sp>
        <p:nvSpPr>
          <p:cNvPr id="2" name="TextBox 1">
            <a:extLst>
              <a:ext uri="{FF2B5EF4-FFF2-40B4-BE49-F238E27FC236}">
                <a16:creationId xmlns:a16="http://schemas.microsoft.com/office/drawing/2014/main" id="{6031A85D-62B0-6940-6C9F-8008E5EFB8C8}"/>
              </a:ext>
            </a:extLst>
          </p:cNvPr>
          <p:cNvSpPr txBox="1"/>
          <p:nvPr/>
        </p:nvSpPr>
        <p:spPr>
          <a:xfrm>
            <a:off x="1132172" y="1521526"/>
            <a:ext cx="6419070" cy="5447645"/>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da-DK" sz="2400" dirty="0">
                <a:solidFill>
                  <a:schemeClr val="bg1"/>
                </a:solidFill>
              </a:rPr>
              <a:t>Udarbejdelse af Strategier, Planer</a:t>
            </a:r>
          </a:p>
          <a:p>
            <a:pPr marL="342900" indent="-342900">
              <a:buFont typeface="Arial" panose="020B0604020202020204" pitchFamily="34" charset="0"/>
              <a:buChar char="•"/>
            </a:pPr>
            <a:r>
              <a:rPr lang="da-DK" sz="2400" dirty="0">
                <a:solidFill>
                  <a:schemeClr val="bg1"/>
                </a:solidFill>
              </a:rPr>
              <a:t>Review og godkendelse af (User-stories, acceptkriterier, use-cases)</a:t>
            </a:r>
          </a:p>
          <a:p>
            <a:pPr marL="342900" indent="-342900">
              <a:buFont typeface="Arial" panose="020B0604020202020204" pitchFamily="34" charset="0"/>
              <a:buChar char="•"/>
            </a:pPr>
            <a:r>
              <a:rPr lang="da-DK" sz="2400" dirty="0">
                <a:solidFill>
                  <a:schemeClr val="bg1"/>
                </a:solidFill>
              </a:rPr>
              <a:t>Review og godkendelse af Testflows, Test-cases,  automatiserede test-scripts</a:t>
            </a:r>
          </a:p>
          <a:p>
            <a:pPr marL="342900" indent="-342900">
              <a:buFont typeface="Arial" panose="020B0604020202020204" pitchFamily="34" charset="0"/>
              <a:buChar char="•"/>
            </a:pPr>
            <a:r>
              <a:rPr lang="da-DK" sz="2400" dirty="0">
                <a:solidFill>
                  <a:schemeClr val="bg1"/>
                </a:solidFill>
              </a:rPr>
              <a:t>Levere Afprøvede metoder (</a:t>
            </a:r>
            <a:r>
              <a:rPr lang="da-DK" sz="2400" dirty="0" err="1">
                <a:solidFill>
                  <a:schemeClr val="bg1"/>
                </a:solidFill>
              </a:rPr>
              <a:t>reviews</a:t>
            </a:r>
            <a:r>
              <a:rPr lang="da-DK" sz="2400" dirty="0">
                <a:solidFill>
                  <a:schemeClr val="bg1"/>
                </a:solidFill>
              </a:rPr>
              <a:t>,  ux-tests, fejlhåndtering) til universiteterne</a:t>
            </a:r>
          </a:p>
          <a:p>
            <a:pPr marL="342900" indent="-342900">
              <a:buFont typeface="Arial" panose="020B0604020202020204" pitchFamily="34" charset="0"/>
              <a:buChar char="•"/>
            </a:pPr>
            <a:r>
              <a:rPr lang="da-DK" sz="2400" dirty="0">
                <a:solidFill>
                  <a:schemeClr val="bg1"/>
                </a:solidFill>
              </a:rPr>
              <a:t>Levere Strukturer og værktøjer (Jira, PRA m.m.) til universiteterne</a:t>
            </a:r>
          </a:p>
          <a:p>
            <a:pPr marL="342900" indent="-342900">
              <a:buFont typeface="Arial" panose="020B0604020202020204" pitchFamily="34" charset="0"/>
              <a:buChar char="•"/>
            </a:pPr>
            <a:r>
              <a:rPr lang="da-DK" sz="2400" dirty="0">
                <a:solidFill>
                  <a:schemeClr val="bg1"/>
                </a:solidFill>
              </a:rPr>
              <a:t>Andet:  afledte produkter som fx personaer, brugerrejser, omsætning fra principper til målbare krav m.m.</a:t>
            </a:r>
          </a:p>
          <a:p>
            <a:endParaRPr lang="da-DK" sz="1400" dirty="0">
              <a:solidFill>
                <a:schemeClr val="bg1"/>
              </a:solidFill>
            </a:endParaRPr>
          </a:p>
          <a:p>
            <a:endParaRPr lang="da-DK" sz="1400" dirty="0">
              <a:solidFill>
                <a:schemeClr val="bg1"/>
              </a:solidFill>
            </a:endParaRPr>
          </a:p>
          <a:p>
            <a:br>
              <a:rPr lang="da-DK" sz="1400" dirty="0">
                <a:solidFill>
                  <a:schemeClr val="bg1"/>
                </a:solidFill>
              </a:rPr>
            </a:br>
            <a:endParaRPr lang="da-DK" dirty="0">
              <a:solidFill>
                <a:schemeClr val="bg1"/>
              </a:solidFill>
            </a:endParaRPr>
          </a:p>
        </p:txBody>
      </p:sp>
    </p:spTree>
    <p:extLst>
      <p:ext uri="{BB962C8B-B14F-4D97-AF65-F5344CB8AC3E}">
        <p14:creationId xmlns:p14="http://schemas.microsoft.com/office/powerpoint/2010/main" val="30558113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FD16CE2B-389C-004B-349A-C26295F05869}"/>
              </a:ext>
            </a:extLst>
          </p:cNvPr>
          <p:cNvSpPr>
            <a:spLocks noGrp="1"/>
          </p:cNvSpPr>
          <p:nvPr>
            <p:ph type="sldNum" sz="quarter" idx="4"/>
          </p:nvPr>
        </p:nvSpPr>
        <p:spPr/>
        <p:txBody>
          <a:bodyPr/>
          <a:lstStyle/>
          <a:p>
            <a:fld id="{39DF810D-F77C-4BB2-BE6A-BDC67BB44902}" type="slidenum">
              <a:rPr lang="da-DK" smtClean="0"/>
              <a:pPr/>
              <a:t>5</a:t>
            </a:fld>
            <a:endParaRPr lang="da-DK"/>
          </a:p>
        </p:txBody>
      </p:sp>
      <p:sp>
        <p:nvSpPr>
          <p:cNvPr id="7" name="Rektangel 6">
            <a:extLst>
              <a:ext uri="{FF2B5EF4-FFF2-40B4-BE49-F238E27FC236}">
                <a16:creationId xmlns:a16="http://schemas.microsoft.com/office/drawing/2014/main" id="{297F5A6C-1D14-4603-0C04-6D01E00C6646}"/>
              </a:ext>
            </a:extLst>
          </p:cNvPr>
          <p:cNvSpPr/>
          <p:nvPr/>
        </p:nvSpPr>
        <p:spPr>
          <a:xfrm>
            <a:off x="-125506" y="0"/>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a-DK" dirty="0">
              <a:solidFill>
                <a:schemeClr val="bg1"/>
              </a:solidFill>
              <a:cs typeface="Arial"/>
            </a:endParaRPr>
          </a:p>
        </p:txBody>
      </p:sp>
      <p:sp>
        <p:nvSpPr>
          <p:cNvPr id="9" name="Title 5">
            <a:extLst>
              <a:ext uri="{FF2B5EF4-FFF2-40B4-BE49-F238E27FC236}">
                <a16:creationId xmlns:a16="http://schemas.microsoft.com/office/drawing/2014/main" id="{89ADDDCC-48D0-A25D-DEFB-F331C056B171}"/>
              </a:ext>
            </a:extLst>
          </p:cNvPr>
          <p:cNvSpPr txBox="1">
            <a:spLocks/>
          </p:cNvSpPr>
          <p:nvPr/>
        </p:nvSpPr>
        <p:spPr>
          <a:xfrm>
            <a:off x="930464" y="406069"/>
            <a:ext cx="10331071" cy="575542"/>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4400" dirty="0">
                <a:solidFill>
                  <a:schemeClr val="bg1"/>
                </a:solidFill>
                <a:latin typeface="+mn-lt"/>
              </a:rPr>
              <a:t>Testaktiviteter og niveauer i designfasen</a:t>
            </a:r>
            <a:endParaRPr lang="nb-NO" sz="4400" dirty="0">
              <a:solidFill>
                <a:schemeClr val="bg1"/>
              </a:solidFill>
              <a:latin typeface="+mn-lt"/>
            </a:endParaRPr>
          </a:p>
        </p:txBody>
      </p:sp>
      <p:sp>
        <p:nvSpPr>
          <p:cNvPr id="2" name="TextBox 1">
            <a:extLst>
              <a:ext uri="{FF2B5EF4-FFF2-40B4-BE49-F238E27FC236}">
                <a16:creationId xmlns:a16="http://schemas.microsoft.com/office/drawing/2014/main" id="{6031A85D-62B0-6940-6C9F-8008E5EFB8C8}"/>
              </a:ext>
            </a:extLst>
          </p:cNvPr>
          <p:cNvSpPr txBox="1"/>
          <p:nvPr/>
        </p:nvSpPr>
        <p:spPr>
          <a:xfrm>
            <a:off x="626373" y="1654544"/>
            <a:ext cx="6419070" cy="5447645"/>
          </a:xfrm>
          <a:prstGeom prst="rect">
            <a:avLst/>
          </a:prstGeom>
          <a:noFill/>
        </p:spPr>
        <p:txBody>
          <a:bodyPr wrap="square" lIns="91440" tIns="45720" rIns="91440" bIns="45720" rtlCol="0" anchor="t">
            <a:spAutoFit/>
          </a:bodyPr>
          <a:lstStyle/>
          <a:p>
            <a:r>
              <a:rPr lang="da-DK" sz="2400" dirty="0">
                <a:solidFill>
                  <a:schemeClr val="bg1"/>
                </a:solidFill>
              </a:rPr>
              <a:t>Formelle test i designfasen</a:t>
            </a:r>
          </a:p>
          <a:p>
            <a:pPr marL="342900" indent="-342900">
              <a:buFont typeface="Arial" panose="020B0604020202020204" pitchFamily="34" charset="0"/>
              <a:buChar char="•"/>
            </a:pPr>
            <a:r>
              <a:rPr lang="da-DK" sz="2400" dirty="0">
                <a:solidFill>
                  <a:schemeClr val="bg1"/>
                </a:solidFill>
              </a:rPr>
              <a:t>R1, R2,R3, SIT, UAT </a:t>
            </a:r>
          </a:p>
          <a:p>
            <a:pPr marL="342900" indent="-342900">
              <a:buFont typeface="Arial" panose="020B0604020202020204" pitchFamily="34" charset="0"/>
              <a:buChar char="•"/>
            </a:pPr>
            <a:r>
              <a:rPr lang="da-DK" sz="2400" dirty="0">
                <a:solidFill>
                  <a:schemeClr val="bg1"/>
                </a:solidFill>
              </a:rPr>
              <a:t>planlægge, forberede, formidle, træne, eksekvere, afrapportere alle tests</a:t>
            </a:r>
          </a:p>
          <a:p>
            <a:pPr marL="342900" indent="-342900">
              <a:buFont typeface="Arial" panose="020B0604020202020204" pitchFamily="34" charset="0"/>
              <a:buChar char="•"/>
            </a:pPr>
            <a:r>
              <a:rPr lang="da-DK" sz="2400" dirty="0">
                <a:solidFill>
                  <a:schemeClr val="bg1"/>
                </a:solidFill>
              </a:rPr>
              <a:t>Review og godkendelse af (User-stories), acceptkriterier, use-cases, test-cases</a:t>
            </a:r>
            <a:endParaRPr lang="da-DK" sz="2400" dirty="0">
              <a:solidFill>
                <a:schemeClr val="bg1"/>
              </a:solidFill>
              <a:cs typeface="Arial"/>
            </a:endParaRPr>
          </a:p>
          <a:p>
            <a:endParaRPr lang="da-DK" sz="2400" dirty="0">
              <a:solidFill>
                <a:schemeClr val="bg1"/>
              </a:solidFill>
            </a:endParaRPr>
          </a:p>
          <a:p>
            <a:pPr marL="342900" indent="-342900">
              <a:buFont typeface="Arial" panose="020B0604020202020204" pitchFamily="34" charset="0"/>
              <a:buChar char="•"/>
            </a:pPr>
            <a:endParaRPr lang="da-DK" sz="2400" dirty="0">
              <a:solidFill>
                <a:schemeClr val="bg1"/>
              </a:solidFill>
            </a:endParaRPr>
          </a:p>
          <a:p>
            <a:pPr marL="342900" indent="-342900">
              <a:buFont typeface="Arial" panose="020B0604020202020204" pitchFamily="34" charset="0"/>
              <a:buChar char="•"/>
            </a:pPr>
            <a:endParaRPr lang="da-DK" sz="2400" dirty="0">
              <a:solidFill>
                <a:schemeClr val="bg1"/>
              </a:solidFill>
            </a:endParaRPr>
          </a:p>
          <a:p>
            <a:endParaRPr lang="da-DK" sz="2400" dirty="0">
              <a:solidFill>
                <a:schemeClr val="bg1"/>
              </a:solidFill>
            </a:endParaRPr>
          </a:p>
          <a:p>
            <a:pPr marL="800100" lvl="1" indent="-342900">
              <a:buFont typeface="Arial" panose="020B0604020202020204" pitchFamily="34" charset="0"/>
              <a:buChar char="•"/>
            </a:pPr>
            <a:endParaRPr lang="da-DK" sz="2400" dirty="0">
              <a:solidFill>
                <a:schemeClr val="bg1"/>
              </a:solidFill>
            </a:endParaRPr>
          </a:p>
          <a:p>
            <a:pPr lvl="1"/>
            <a:endParaRPr lang="da-DK" sz="2400" dirty="0">
              <a:solidFill>
                <a:schemeClr val="bg1"/>
              </a:solidFill>
            </a:endParaRPr>
          </a:p>
          <a:p>
            <a:endParaRPr lang="da-DK" sz="1400" dirty="0">
              <a:solidFill>
                <a:schemeClr val="bg1"/>
              </a:solidFill>
            </a:endParaRPr>
          </a:p>
          <a:p>
            <a:endParaRPr lang="da-DK" sz="1400" dirty="0">
              <a:solidFill>
                <a:schemeClr val="bg1"/>
              </a:solidFill>
            </a:endParaRPr>
          </a:p>
          <a:p>
            <a:br>
              <a:rPr lang="da-DK" sz="1400" dirty="0">
                <a:solidFill>
                  <a:schemeClr val="bg1"/>
                </a:solidFill>
              </a:rPr>
            </a:br>
            <a:endParaRPr lang="da-DK" dirty="0">
              <a:solidFill>
                <a:schemeClr val="bg1"/>
              </a:solidFill>
            </a:endParaRPr>
          </a:p>
        </p:txBody>
      </p:sp>
      <p:sp>
        <p:nvSpPr>
          <p:cNvPr id="6" name="TextBox 5">
            <a:extLst>
              <a:ext uri="{FF2B5EF4-FFF2-40B4-BE49-F238E27FC236}">
                <a16:creationId xmlns:a16="http://schemas.microsoft.com/office/drawing/2014/main" id="{E66657C3-AAE4-4DCE-7576-F53C1B0E18D2}"/>
              </a:ext>
            </a:extLst>
          </p:cNvPr>
          <p:cNvSpPr txBox="1"/>
          <p:nvPr/>
        </p:nvSpPr>
        <p:spPr>
          <a:xfrm>
            <a:off x="7415784" y="1652029"/>
            <a:ext cx="4644448" cy="2585323"/>
          </a:xfrm>
          <a:prstGeom prst="rect">
            <a:avLst/>
          </a:prstGeom>
          <a:noFill/>
        </p:spPr>
        <p:txBody>
          <a:bodyPr wrap="square" lIns="91440" tIns="45720" rIns="91440" bIns="45720" rtlCol="0" anchor="t">
            <a:spAutoFit/>
          </a:bodyPr>
          <a:lstStyle/>
          <a:p>
            <a:r>
              <a:rPr lang="da-DK" sz="2400" dirty="0">
                <a:solidFill>
                  <a:schemeClr val="bg1"/>
                </a:solidFill>
              </a:rPr>
              <a:t>Supplerende test i designfasen</a:t>
            </a:r>
          </a:p>
          <a:p>
            <a:pPr marL="800100" lvl="1" indent="-342900">
              <a:buFont typeface="Arial" panose="020B0604020202020204" pitchFamily="34" charset="0"/>
              <a:buChar char="•"/>
            </a:pPr>
            <a:r>
              <a:rPr lang="da-DK" sz="2400" dirty="0">
                <a:solidFill>
                  <a:schemeClr val="bg1"/>
                </a:solidFill>
              </a:rPr>
              <a:t>UX-tests i sprints</a:t>
            </a:r>
          </a:p>
          <a:p>
            <a:pPr marL="800100" lvl="1" indent="-342900">
              <a:buFont typeface="Arial" panose="020B0604020202020204" pitchFamily="34" charset="0"/>
              <a:buChar char="•"/>
            </a:pPr>
            <a:r>
              <a:rPr lang="da-DK" sz="2400" dirty="0">
                <a:solidFill>
                  <a:schemeClr val="bg1"/>
                </a:solidFill>
              </a:rPr>
              <a:t>Unittest i sprints</a:t>
            </a:r>
          </a:p>
          <a:p>
            <a:pPr marL="800100" lvl="1" indent="-342900">
              <a:buFont typeface="Arial" panose="020B0604020202020204" pitchFamily="34" charset="0"/>
              <a:buChar char="•"/>
            </a:pPr>
            <a:r>
              <a:rPr lang="da-DK" sz="2400" dirty="0">
                <a:solidFill>
                  <a:schemeClr val="bg1"/>
                </a:solidFill>
              </a:rPr>
              <a:t>Supplerende UX tests</a:t>
            </a:r>
          </a:p>
          <a:p>
            <a:pPr marL="800100" lvl="1" indent="-342900">
              <a:buFont typeface="Arial" panose="020B0604020202020204" pitchFamily="34" charset="0"/>
              <a:buChar char="•"/>
            </a:pPr>
            <a:r>
              <a:rPr lang="da-DK" sz="2400" dirty="0">
                <a:solidFill>
                  <a:schemeClr val="bg1"/>
                </a:solidFill>
              </a:rPr>
              <a:t>Eksplorative afprøvninger</a:t>
            </a:r>
            <a:endParaRPr lang="da-DK" sz="2400" dirty="0">
              <a:solidFill>
                <a:schemeClr val="bg1"/>
              </a:solidFill>
              <a:cs typeface="Arial"/>
            </a:endParaRPr>
          </a:p>
          <a:p>
            <a:pPr marL="800100" lvl="1" indent="-342900">
              <a:buFont typeface="Arial" panose="020B0604020202020204" pitchFamily="34" charset="0"/>
              <a:buChar char="•"/>
            </a:pPr>
            <a:endParaRPr lang="da-DK" sz="2400" dirty="0">
              <a:solidFill>
                <a:schemeClr val="bg1"/>
              </a:solidFill>
            </a:endParaRPr>
          </a:p>
          <a:p>
            <a:endParaRPr lang="da-DK" dirty="0"/>
          </a:p>
        </p:txBody>
      </p:sp>
      <p:pic>
        <p:nvPicPr>
          <p:cNvPr id="3" name="Picture 2" descr="A blue rectangle with white text&#10;&#10;AI-generated content may be incorrect.">
            <a:extLst>
              <a:ext uri="{FF2B5EF4-FFF2-40B4-BE49-F238E27FC236}">
                <a16:creationId xmlns:a16="http://schemas.microsoft.com/office/drawing/2014/main" id="{421929D0-7F3F-D8E9-01F6-40D37DDA41D4}"/>
              </a:ext>
            </a:extLst>
          </p:cNvPr>
          <p:cNvPicPr>
            <a:picLocks noChangeAspect="1"/>
          </p:cNvPicPr>
          <p:nvPr/>
        </p:nvPicPr>
        <p:blipFill>
          <a:blip r:embed="rId2"/>
          <a:stretch>
            <a:fillRect/>
          </a:stretch>
        </p:blipFill>
        <p:spPr>
          <a:xfrm>
            <a:off x="456329" y="4192029"/>
            <a:ext cx="11280386" cy="1011427"/>
          </a:xfrm>
          <a:prstGeom prst="rect">
            <a:avLst/>
          </a:prstGeom>
        </p:spPr>
      </p:pic>
    </p:spTree>
    <p:extLst>
      <p:ext uri="{BB962C8B-B14F-4D97-AF65-F5344CB8AC3E}">
        <p14:creationId xmlns:p14="http://schemas.microsoft.com/office/powerpoint/2010/main" val="1614390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FD16CE2B-389C-004B-349A-C26295F05869}"/>
              </a:ext>
            </a:extLst>
          </p:cNvPr>
          <p:cNvSpPr>
            <a:spLocks noGrp="1"/>
          </p:cNvSpPr>
          <p:nvPr>
            <p:ph type="sldNum" sz="quarter" idx="4"/>
          </p:nvPr>
        </p:nvSpPr>
        <p:spPr/>
        <p:txBody>
          <a:bodyPr/>
          <a:lstStyle/>
          <a:p>
            <a:fld id="{39DF810D-F77C-4BB2-BE6A-BDC67BB44902}" type="slidenum">
              <a:rPr lang="da-DK" smtClean="0"/>
              <a:pPr/>
              <a:t>6</a:t>
            </a:fld>
            <a:endParaRPr lang="da-DK"/>
          </a:p>
        </p:txBody>
      </p:sp>
      <p:sp>
        <p:nvSpPr>
          <p:cNvPr id="7" name="Rektangel 6">
            <a:extLst>
              <a:ext uri="{FF2B5EF4-FFF2-40B4-BE49-F238E27FC236}">
                <a16:creationId xmlns:a16="http://schemas.microsoft.com/office/drawing/2014/main" id="{297F5A6C-1D14-4603-0C04-6D01E00C6646}"/>
              </a:ext>
            </a:extLst>
          </p:cNvPr>
          <p:cNvSpPr/>
          <p:nvPr/>
        </p:nvSpPr>
        <p:spPr>
          <a:xfrm>
            <a:off x="0" y="-6543"/>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a-DK" dirty="0">
              <a:solidFill>
                <a:schemeClr val="bg1"/>
              </a:solidFill>
              <a:cs typeface="Arial"/>
            </a:endParaRPr>
          </a:p>
        </p:txBody>
      </p:sp>
      <p:sp>
        <p:nvSpPr>
          <p:cNvPr id="9" name="Title 5">
            <a:extLst>
              <a:ext uri="{FF2B5EF4-FFF2-40B4-BE49-F238E27FC236}">
                <a16:creationId xmlns:a16="http://schemas.microsoft.com/office/drawing/2014/main" id="{89ADDDCC-48D0-A25D-DEFB-F331C056B171}"/>
              </a:ext>
            </a:extLst>
          </p:cNvPr>
          <p:cNvSpPr txBox="1">
            <a:spLocks/>
          </p:cNvSpPr>
          <p:nvPr/>
        </p:nvSpPr>
        <p:spPr>
          <a:xfrm>
            <a:off x="1110780" y="733009"/>
            <a:ext cx="10331071" cy="627864"/>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4800" dirty="0">
                <a:solidFill>
                  <a:schemeClr val="bg1"/>
                </a:solidFill>
                <a:latin typeface="+mn-lt"/>
              </a:rPr>
              <a:t>Testtyper og indhold</a:t>
            </a:r>
            <a:endParaRPr lang="nb-NO" sz="4800" dirty="0">
              <a:solidFill>
                <a:schemeClr val="bg1"/>
              </a:solidFill>
              <a:latin typeface="+mn-lt"/>
            </a:endParaRPr>
          </a:p>
        </p:txBody>
      </p:sp>
      <p:grpSp>
        <p:nvGrpSpPr>
          <p:cNvPr id="104" name="Group 103">
            <a:extLst>
              <a:ext uri="{FF2B5EF4-FFF2-40B4-BE49-F238E27FC236}">
                <a16:creationId xmlns:a16="http://schemas.microsoft.com/office/drawing/2014/main" id="{9EE2FA64-324F-3584-E0BE-9E8098D95803}"/>
              </a:ext>
            </a:extLst>
          </p:cNvPr>
          <p:cNvGrpSpPr/>
          <p:nvPr/>
        </p:nvGrpSpPr>
        <p:grpSpPr>
          <a:xfrm>
            <a:off x="7569141" y="1832760"/>
            <a:ext cx="4554050" cy="4063084"/>
            <a:chOff x="5088160" y="2252854"/>
            <a:chExt cx="4554050" cy="4063084"/>
          </a:xfrm>
        </p:grpSpPr>
        <p:grpSp>
          <p:nvGrpSpPr>
            <p:cNvPr id="105" name="Group 104">
              <a:extLst>
                <a:ext uri="{FF2B5EF4-FFF2-40B4-BE49-F238E27FC236}">
                  <a16:creationId xmlns:a16="http://schemas.microsoft.com/office/drawing/2014/main" id="{B6CB8F35-B392-0BC9-1DD7-E9A24702FEDB}"/>
                </a:ext>
              </a:extLst>
            </p:cNvPr>
            <p:cNvGrpSpPr/>
            <p:nvPr/>
          </p:nvGrpSpPr>
          <p:grpSpPr>
            <a:xfrm>
              <a:off x="5507648" y="3152769"/>
              <a:ext cx="3209500" cy="3163169"/>
              <a:chOff x="5507648" y="3152769"/>
              <a:chExt cx="3209500" cy="3163169"/>
            </a:xfrm>
          </p:grpSpPr>
          <p:sp>
            <p:nvSpPr>
              <p:cNvPr id="203" name="Graphic 6">
                <a:extLst>
                  <a:ext uri="{FF2B5EF4-FFF2-40B4-BE49-F238E27FC236}">
                    <a16:creationId xmlns:a16="http://schemas.microsoft.com/office/drawing/2014/main" id="{148CE5D1-2EA4-784F-EE8D-1119D4345314}"/>
                  </a:ext>
                </a:extLst>
              </p:cNvPr>
              <p:cNvSpPr/>
              <p:nvPr/>
            </p:nvSpPr>
            <p:spPr>
              <a:xfrm>
                <a:off x="7508973"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579"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579"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4" name="Graphic 6">
                <a:extLst>
                  <a:ext uri="{FF2B5EF4-FFF2-40B4-BE49-F238E27FC236}">
                    <a16:creationId xmlns:a16="http://schemas.microsoft.com/office/drawing/2014/main" id="{A69D2D2C-6EA1-6D4A-918A-D1B645F0357E}"/>
                  </a:ext>
                </a:extLst>
              </p:cNvPr>
              <p:cNvSpPr/>
              <p:nvPr/>
            </p:nvSpPr>
            <p:spPr>
              <a:xfrm>
                <a:off x="5907457" y="3152769"/>
                <a:ext cx="1208175" cy="477026"/>
              </a:xfrm>
              <a:custGeom>
                <a:avLst/>
                <a:gdLst>
                  <a:gd name="connsiteX0" fmla="*/ 1207369 w 1208175"/>
                  <a:gd name="connsiteY0" fmla="*/ 86899 h 477026"/>
                  <a:gd name="connsiteX1" fmla="*/ 1207369 w 1208175"/>
                  <a:gd name="connsiteY1" fmla="*/ 389193 h 477026"/>
                  <a:gd name="connsiteX2" fmla="*/ 1129705 w 1208175"/>
                  <a:gd name="connsiteY2" fmla="*/ 476559 h 477026"/>
                  <a:gd name="connsiteX3" fmla="*/ 76858 w 1208175"/>
                  <a:gd name="connsiteY3" fmla="*/ 476559 h 477026"/>
                  <a:gd name="connsiteX4" fmla="*/ -807 w 1208175"/>
                  <a:gd name="connsiteY4" fmla="*/ 389193 h 477026"/>
                  <a:gd name="connsiteX5" fmla="*/ -807 w 1208175"/>
                  <a:gd name="connsiteY5" fmla="*/ 86899 h 477026"/>
                  <a:gd name="connsiteX6" fmla="*/ 76858 w 1208175"/>
                  <a:gd name="connsiteY6" fmla="*/ -467 h 477026"/>
                  <a:gd name="connsiteX7" fmla="*/ 1129705 w 1208175"/>
                  <a:gd name="connsiteY7" fmla="*/ -467 h 477026"/>
                  <a:gd name="connsiteX8" fmla="*/ 1207369 w 1208175"/>
                  <a:gd name="connsiteY8" fmla="*/ 86899 h 4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175" h="477026">
                    <a:moveTo>
                      <a:pt x="1207369" y="86899"/>
                    </a:moveTo>
                    <a:lnTo>
                      <a:pt x="1207369" y="389193"/>
                    </a:lnTo>
                    <a:cubicBezTo>
                      <a:pt x="1207369" y="437476"/>
                      <a:pt x="1172635" y="476559"/>
                      <a:pt x="1129705" y="476559"/>
                    </a:cubicBezTo>
                    <a:lnTo>
                      <a:pt x="76858" y="476559"/>
                    </a:lnTo>
                    <a:cubicBezTo>
                      <a:pt x="33983" y="476559"/>
                      <a:pt x="-807" y="437532"/>
                      <a:pt x="-807" y="389193"/>
                    </a:cubicBezTo>
                    <a:lnTo>
                      <a:pt x="-807" y="86899"/>
                    </a:lnTo>
                    <a:cubicBezTo>
                      <a:pt x="-807" y="38672"/>
                      <a:pt x="33983" y="-467"/>
                      <a:pt x="76858" y="-467"/>
                    </a:cubicBezTo>
                    <a:lnTo>
                      <a:pt x="1129705" y="-467"/>
                    </a:lnTo>
                    <a:cubicBezTo>
                      <a:pt x="1172635" y="-411"/>
                      <a:pt x="1207369" y="38728"/>
                      <a:pt x="1207369" y="86899"/>
                    </a:cubicBezTo>
                    <a:close/>
                  </a:path>
                </a:pathLst>
              </a:custGeom>
              <a:solidFill>
                <a:schemeClr val="accent2"/>
              </a:solidFill>
              <a:ln w="5573" cap="flat">
                <a:noFill/>
                <a:prstDash val="solid"/>
                <a:miter/>
              </a:ln>
            </p:spPr>
            <p:txBody>
              <a:bodyPr rtlCol="0" anchor="ctr"/>
              <a:lstStyle/>
              <a:p>
                <a:endParaRPr lang="en-GB"/>
              </a:p>
            </p:txBody>
          </p:sp>
          <p:sp>
            <p:nvSpPr>
              <p:cNvPr id="205" name="Graphic 6">
                <a:extLst>
                  <a:ext uri="{FF2B5EF4-FFF2-40B4-BE49-F238E27FC236}">
                    <a16:creationId xmlns:a16="http://schemas.microsoft.com/office/drawing/2014/main" id="{C7C48635-E34C-5020-CF88-1A69F6D16B34}"/>
                  </a:ext>
                </a:extLst>
              </p:cNvPr>
              <p:cNvSpPr/>
              <p:nvPr/>
            </p:nvSpPr>
            <p:spPr>
              <a:xfrm>
                <a:off x="8131627" y="3835803"/>
                <a:ext cx="325711" cy="325711"/>
              </a:xfrm>
              <a:custGeom>
                <a:avLst/>
                <a:gdLst>
                  <a:gd name="connsiteX0" fmla="*/ 249943 w 325711"/>
                  <a:gd name="connsiteY0" fmla="*/ 0 h 325711"/>
                  <a:gd name="connsiteX1" fmla="*/ 325712 w 325711"/>
                  <a:gd name="connsiteY1" fmla="*/ 0 h 325711"/>
                  <a:gd name="connsiteX2" fmla="*/ 325712 w 325711"/>
                  <a:gd name="connsiteY2" fmla="*/ 325711 h 325711"/>
                  <a:gd name="connsiteX3" fmla="*/ 249943 w 325711"/>
                  <a:gd name="connsiteY3" fmla="*/ 325711 h 325711"/>
                  <a:gd name="connsiteX4" fmla="*/ 75769 w 325711"/>
                  <a:gd name="connsiteY4" fmla="*/ 325711 h 325711"/>
                  <a:gd name="connsiteX5" fmla="*/ 0 w 325711"/>
                  <a:gd name="connsiteY5" fmla="*/ 325711 h 325711"/>
                  <a:gd name="connsiteX6" fmla="*/ 0 w 325711"/>
                  <a:gd name="connsiteY6" fmla="*/ 0 h 325711"/>
                  <a:gd name="connsiteX7" fmla="*/ 75769 w 325711"/>
                  <a:gd name="connsiteY7" fmla="*/ 0 h 32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11" h="325711">
                    <a:moveTo>
                      <a:pt x="249943" y="0"/>
                    </a:moveTo>
                    <a:cubicBezTo>
                      <a:pt x="291789" y="0"/>
                      <a:pt x="325712" y="0"/>
                      <a:pt x="325712" y="0"/>
                    </a:cubicBezTo>
                    <a:lnTo>
                      <a:pt x="325712" y="325711"/>
                    </a:lnTo>
                    <a:cubicBezTo>
                      <a:pt x="325712" y="325711"/>
                      <a:pt x="291789" y="325711"/>
                      <a:pt x="249943" y="325711"/>
                    </a:cubicBezTo>
                    <a:lnTo>
                      <a:pt x="75769" y="325711"/>
                    </a:lnTo>
                    <a:cubicBezTo>
                      <a:pt x="33923" y="325711"/>
                      <a:pt x="0" y="325711"/>
                      <a:pt x="0" y="325711"/>
                    </a:cubicBezTo>
                    <a:lnTo>
                      <a:pt x="0" y="0"/>
                    </a:lnTo>
                    <a:cubicBezTo>
                      <a:pt x="0" y="0"/>
                      <a:pt x="33923" y="0"/>
                      <a:pt x="75769" y="0"/>
                    </a:cubicBezTo>
                    <a:close/>
                  </a:path>
                </a:pathLst>
              </a:custGeom>
              <a:solidFill>
                <a:schemeClr val="accent2"/>
              </a:solidFill>
              <a:ln w="5573" cap="flat">
                <a:noFill/>
                <a:prstDash val="solid"/>
                <a:miter/>
              </a:ln>
            </p:spPr>
            <p:txBody>
              <a:bodyPr rtlCol="0" anchor="ctr"/>
              <a:lstStyle/>
              <a:p>
                <a:endParaRPr lang="en-GB"/>
              </a:p>
            </p:txBody>
          </p:sp>
          <p:sp>
            <p:nvSpPr>
              <p:cNvPr id="206" name="Graphic 6">
                <a:extLst>
                  <a:ext uri="{FF2B5EF4-FFF2-40B4-BE49-F238E27FC236}">
                    <a16:creationId xmlns:a16="http://schemas.microsoft.com/office/drawing/2014/main" id="{D85DE4EF-D8B0-1B1D-3C3E-119C8B2BA794}"/>
                  </a:ext>
                </a:extLst>
              </p:cNvPr>
              <p:cNvSpPr/>
              <p:nvPr/>
            </p:nvSpPr>
            <p:spPr>
              <a:xfrm>
                <a:off x="7522020" y="4946244"/>
                <a:ext cx="435991" cy="435991"/>
              </a:xfrm>
              <a:custGeom>
                <a:avLst/>
                <a:gdLst>
                  <a:gd name="connsiteX0" fmla="*/ 435992 w 435991"/>
                  <a:gd name="connsiteY0" fmla="*/ 217996 h 435991"/>
                  <a:gd name="connsiteX1" fmla="*/ 217996 w 435991"/>
                  <a:gd name="connsiteY1" fmla="*/ 435991 h 435991"/>
                  <a:gd name="connsiteX2" fmla="*/ 0 w 435991"/>
                  <a:gd name="connsiteY2" fmla="*/ 217996 h 435991"/>
                  <a:gd name="connsiteX3" fmla="*/ 217996 w 435991"/>
                  <a:gd name="connsiteY3" fmla="*/ 0 h 435991"/>
                  <a:gd name="connsiteX4" fmla="*/ 435992 w 435991"/>
                  <a:gd name="connsiteY4" fmla="*/ 217996 h 435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91" h="435991">
                    <a:moveTo>
                      <a:pt x="435992" y="217996"/>
                    </a:moveTo>
                    <a:cubicBezTo>
                      <a:pt x="435992" y="338392"/>
                      <a:pt x="338392" y="435991"/>
                      <a:pt x="217996" y="435991"/>
                    </a:cubicBezTo>
                    <a:cubicBezTo>
                      <a:pt x="97600" y="435991"/>
                      <a:pt x="0" y="338391"/>
                      <a:pt x="0" y="217996"/>
                    </a:cubicBezTo>
                    <a:cubicBezTo>
                      <a:pt x="0" y="97600"/>
                      <a:pt x="97600" y="0"/>
                      <a:pt x="217996" y="0"/>
                    </a:cubicBezTo>
                    <a:cubicBezTo>
                      <a:pt x="338392" y="0"/>
                      <a:pt x="435992" y="97600"/>
                      <a:pt x="435992" y="217996"/>
                    </a:cubicBezTo>
                    <a:close/>
                  </a:path>
                </a:pathLst>
              </a:custGeom>
              <a:solidFill>
                <a:schemeClr val="accent2"/>
              </a:solidFill>
              <a:ln w="5573" cap="flat">
                <a:noFill/>
                <a:prstDash val="solid"/>
                <a:miter/>
              </a:ln>
            </p:spPr>
            <p:txBody>
              <a:bodyPr rtlCol="0" anchor="ctr"/>
              <a:lstStyle/>
              <a:p>
                <a:endParaRPr lang="en-GB"/>
              </a:p>
            </p:txBody>
          </p:sp>
          <p:sp>
            <p:nvSpPr>
              <p:cNvPr id="207" name="Graphic 6">
                <a:extLst>
                  <a:ext uri="{FF2B5EF4-FFF2-40B4-BE49-F238E27FC236}">
                    <a16:creationId xmlns:a16="http://schemas.microsoft.com/office/drawing/2014/main" id="{7B794C1F-8F0A-E7A6-0085-07A765D88323}"/>
                  </a:ext>
                </a:extLst>
              </p:cNvPr>
              <p:cNvSpPr/>
              <p:nvPr/>
            </p:nvSpPr>
            <p:spPr>
              <a:xfrm>
                <a:off x="8395842" y="5369370"/>
                <a:ext cx="292649" cy="338353"/>
              </a:xfrm>
              <a:custGeom>
                <a:avLst/>
                <a:gdLst>
                  <a:gd name="connsiteX0" fmla="*/ 287495 w 292649"/>
                  <a:gd name="connsiteY0" fmla="*/ 238813 h 338353"/>
                  <a:gd name="connsiteX1" fmla="*/ 174259 w 292649"/>
                  <a:gd name="connsiteY1" fmla="*/ 203409 h 338353"/>
                  <a:gd name="connsiteX2" fmla="*/ 189034 w 292649"/>
                  <a:gd name="connsiteY2" fmla="*/ 125355 h 338353"/>
                  <a:gd name="connsiteX3" fmla="*/ 291843 w 292649"/>
                  <a:gd name="connsiteY3" fmla="*/ 133495 h 338353"/>
                  <a:gd name="connsiteX4" fmla="*/ 291843 w 292649"/>
                  <a:gd name="connsiteY4" fmla="*/ 105228 h 338353"/>
                  <a:gd name="connsiteX5" fmla="*/ 282533 w 292649"/>
                  <a:gd name="connsiteY5" fmla="*/ 87665 h 338353"/>
                  <a:gd name="connsiteX6" fmla="*/ 157143 w 292649"/>
                  <a:gd name="connsiteY6" fmla="*/ 3088 h 338353"/>
                  <a:gd name="connsiteX7" fmla="*/ 133950 w 292649"/>
                  <a:gd name="connsiteY7" fmla="*/ 3088 h 338353"/>
                  <a:gd name="connsiteX8" fmla="*/ 8560 w 292649"/>
                  <a:gd name="connsiteY8" fmla="*/ 87665 h 338353"/>
                  <a:gd name="connsiteX9" fmla="*/ -807 w 292649"/>
                  <a:gd name="connsiteY9" fmla="*/ 105228 h 338353"/>
                  <a:gd name="connsiteX10" fmla="*/ -807 w 292649"/>
                  <a:gd name="connsiteY10" fmla="*/ 232178 h 338353"/>
                  <a:gd name="connsiteX11" fmla="*/ 8560 w 292649"/>
                  <a:gd name="connsiteY11" fmla="*/ 249741 h 338353"/>
                  <a:gd name="connsiteX12" fmla="*/ 133950 w 292649"/>
                  <a:gd name="connsiteY12" fmla="*/ 334374 h 338353"/>
                  <a:gd name="connsiteX13" fmla="*/ 145490 w 292649"/>
                  <a:gd name="connsiteY13" fmla="*/ 337887 h 338353"/>
                  <a:gd name="connsiteX14" fmla="*/ 157143 w 292649"/>
                  <a:gd name="connsiteY14" fmla="*/ 334374 h 338353"/>
                  <a:gd name="connsiteX15" fmla="*/ 282533 w 292649"/>
                  <a:gd name="connsiteY15" fmla="*/ 249741 h 338353"/>
                  <a:gd name="connsiteX16" fmla="*/ 291397 w 292649"/>
                  <a:gd name="connsiteY16" fmla="*/ 236081 h 33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649" h="338353">
                    <a:moveTo>
                      <a:pt x="287495" y="238813"/>
                    </a:moveTo>
                    <a:lnTo>
                      <a:pt x="174259" y="203409"/>
                    </a:lnTo>
                    <a:lnTo>
                      <a:pt x="189034" y="125355"/>
                    </a:lnTo>
                    <a:lnTo>
                      <a:pt x="291843" y="133495"/>
                    </a:lnTo>
                    <a:lnTo>
                      <a:pt x="291843" y="105228"/>
                    </a:lnTo>
                    <a:cubicBezTo>
                      <a:pt x="291843" y="98203"/>
                      <a:pt x="288331" y="91624"/>
                      <a:pt x="282533" y="87665"/>
                    </a:cubicBezTo>
                    <a:lnTo>
                      <a:pt x="157143" y="3088"/>
                    </a:lnTo>
                    <a:cubicBezTo>
                      <a:pt x="150118" y="-1652"/>
                      <a:pt x="140975" y="-1652"/>
                      <a:pt x="133950" y="3088"/>
                    </a:cubicBezTo>
                    <a:lnTo>
                      <a:pt x="8560" y="87665"/>
                    </a:lnTo>
                    <a:cubicBezTo>
                      <a:pt x="2706" y="91569"/>
                      <a:pt x="-807" y="98203"/>
                      <a:pt x="-807" y="105228"/>
                    </a:cubicBezTo>
                    <a:lnTo>
                      <a:pt x="-807" y="232178"/>
                    </a:lnTo>
                    <a:cubicBezTo>
                      <a:pt x="-807" y="239203"/>
                      <a:pt x="2706" y="245838"/>
                      <a:pt x="8560" y="249741"/>
                    </a:cubicBezTo>
                    <a:lnTo>
                      <a:pt x="133950" y="334374"/>
                    </a:lnTo>
                    <a:cubicBezTo>
                      <a:pt x="137350" y="336660"/>
                      <a:pt x="141365" y="337887"/>
                      <a:pt x="145490" y="337887"/>
                    </a:cubicBezTo>
                    <a:cubicBezTo>
                      <a:pt x="149617" y="337887"/>
                      <a:pt x="153687" y="336660"/>
                      <a:pt x="157143" y="334374"/>
                    </a:cubicBezTo>
                    <a:lnTo>
                      <a:pt x="282533" y="249741"/>
                    </a:lnTo>
                    <a:cubicBezTo>
                      <a:pt x="287216" y="246563"/>
                      <a:pt x="290394" y="241656"/>
                      <a:pt x="291397" y="236081"/>
                    </a:cubicBezTo>
                    <a:close/>
                  </a:path>
                </a:pathLst>
              </a:custGeom>
              <a:solidFill>
                <a:schemeClr val="accent2"/>
              </a:solidFill>
              <a:ln w="5573" cap="flat">
                <a:noFill/>
                <a:prstDash val="solid"/>
                <a:miter/>
              </a:ln>
            </p:spPr>
            <p:txBody>
              <a:bodyPr rtlCol="0" anchor="ctr"/>
              <a:lstStyle/>
              <a:p>
                <a:endParaRPr lang="en-GB"/>
              </a:p>
            </p:txBody>
          </p:sp>
          <p:sp>
            <p:nvSpPr>
              <p:cNvPr id="208" name="Graphic 6">
                <a:extLst>
                  <a:ext uri="{FF2B5EF4-FFF2-40B4-BE49-F238E27FC236}">
                    <a16:creationId xmlns:a16="http://schemas.microsoft.com/office/drawing/2014/main" id="{B872DF55-6743-A3C0-C18F-2766839F234E}"/>
                  </a:ext>
                </a:extLst>
              </p:cNvPr>
              <p:cNvSpPr/>
              <p:nvPr/>
            </p:nvSpPr>
            <p:spPr>
              <a:xfrm>
                <a:off x="5507648" y="6090694"/>
                <a:ext cx="485724" cy="225244"/>
              </a:xfrm>
              <a:custGeom>
                <a:avLst/>
                <a:gdLst>
                  <a:gd name="connsiteX0" fmla="*/ -806 w 485724"/>
                  <a:gd name="connsiteY0" fmla="*/ 176383 h 225244"/>
                  <a:gd name="connsiteX1" fmla="*/ 45235 w 485724"/>
                  <a:gd name="connsiteY1" fmla="*/ 222881 h 225244"/>
                  <a:gd name="connsiteX2" fmla="*/ 78029 w 485724"/>
                  <a:gd name="connsiteY2" fmla="*/ 209500 h 225244"/>
                  <a:gd name="connsiteX3" fmla="*/ 110924 w 485724"/>
                  <a:gd name="connsiteY3" fmla="*/ 176940 h 225244"/>
                  <a:gd name="connsiteX4" fmla="*/ 143484 w 485724"/>
                  <a:gd name="connsiteY4" fmla="*/ 209835 h 225244"/>
                  <a:gd name="connsiteX5" fmla="*/ 176100 w 485724"/>
                  <a:gd name="connsiteY5" fmla="*/ 223550 h 225244"/>
                  <a:gd name="connsiteX6" fmla="*/ 437806 w 485724"/>
                  <a:gd name="connsiteY6" fmla="*/ 224777 h 225244"/>
                  <a:gd name="connsiteX7" fmla="*/ 484249 w 485724"/>
                  <a:gd name="connsiteY7" fmla="*/ 178725 h 225244"/>
                  <a:gd name="connsiteX8" fmla="*/ 484918 w 485724"/>
                  <a:gd name="connsiteY8" fmla="*/ 47871 h 225244"/>
                  <a:gd name="connsiteX9" fmla="*/ 438866 w 485724"/>
                  <a:gd name="connsiteY9" fmla="*/ 1428 h 225244"/>
                  <a:gd name="connsiteX10" fmla="*/ 177159 w 485724"/>
                  <a:gd name="connsiteY10" fmla="*/ 146 h 225244"/>
                  <a:gd name="connsiteX11" fmla="*/ 144432 w 485724"/>
                  <a:gd name="connsiteY11" fmla="*/ 13527 h 225244"/>
                  <a:gd name="connsiteX12" fmla="*/ 111537 w 485724"/>
                  <a:gd name="connsiteY12" fmla="*/ 46087 h 225244"/>
                  <a:gd name="connsiteX13" fmla="*/ 78921 w 485724"/>
                  <a:gd name="connsiteY13" fmla="*/ 13192 h 225244"/>
                  <a:gd name="connsiteX14" fmla="*/ 28743 w 485724"/>
                  <a:gd name="connsiteY14" fmla="*/ 2934 h 225244"/>
                  <a:gd name="connsiteX15" fmla="*/ 13690 w 485724"/>
                  <a:gd name="connsiteY15" fmla="*/ 12914 h 225244"/>
                  <a:gd name="connsiteX16" fmla="*/ -25 w 485724"/>
                  <a:gd name="connsiteY16" fmla="*/ 45530 h 2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5724" h="225244">
                    <a:moveTo>
                      <a:pt x="-806" y="176383"/>
                    </a:moveTo>
                    <a:cubicBezTo>
                      <a:pt x="-934" y="201917"/>
                      <a:pt x="19678" y="222769"/>
                      <a:pt x="45235" y="222881"/>
                    </a:cubicBezTo>
                    <a:cubicBezTo>
                      <a:pt x="57507" y="222937"/>
                      <a:pt x="69304" y="218142"/>
                      <a:pt x="78029" y="209500"/>
                    </a:cubicBezTo>
                    <a:lnTo>
                      <a:pt x="110924" y="176940"/>
                    </a:lnTo>
                    <a:lnTo>
                      <a:pt x="143484" y="209835"/>
                    </a:lnTo>
                    <a:cubicBezTo>
                      <a:pt x="152120" y="218533"/>
                      <a:pt x="163845" y="223438"/>
                      <a:pt x="176100" y="223550"/>
                    </a:cubicBezTo>
                    <a:lnTo>
                      <a:pt x="437806" y="224777"/>
                    </a:lnTo>
                    <a:cubicBezTo>
                      <a:pt x="463341" y="224888"/>
                      <a:pt x="484126" y="204259"/>
                      <a:pt x="484249" y="178725"/>
                    </a:cubicBezTo>
                    <a:lnTo>
                      <a:pt x="484918" y="47871"/>
                    </a:lnTo>
                    <a:cubicBezTo>
                      <a:pt x="485013" y="22336"/>
                      <a:pt x="464400" y="1540"/>
                      <a:pt x="438866" y="1428"/>
                    </a:cubicBezTo>
                    <a:lnTo>
                      <a:pt x="177159" y="146"/>
                    </a:lnTo>
                    <a:cubicBezTo>
                      <a:pt x="164910" y="90"/>
                      <a:pt x="153146" y="4941"/>
                      <a:pt x="144432" y="13527"/>
                    </a:cubicBezTo>
                    <a:lnTo>
                      <a:pt x="111537" y="46087"/>
                    </a:lnTo>
                    <a:lnTo>
                      <a:pt x="78921" y="13192"/>
                    </a:lnTo>
                    <a:cubicBezTo>
                      <a:pt x="65797" y="-21"/>
                      <a:pt x="46004" y="-4091"/>
                      <a:pt x="28743" y="2934"/>
                    </a:cubicBezTo>
                    <a:cubicBezTo>
                      <a:pt x="23112" y="5220"/>
                      <a:pt x="17989" y="8621"/>
                      <a:pt x="13690" y="12914"/>
                    </a:cubicBezTo>
                    <a:cubicBezTo>
                      <a:pt x="4959" y="21500"/>
                      <a:pt x="19" y="33263"/>
                      <a:pt x="-25" y="45530"/>
                    </a:cubicBezTo>
                    <a:close/>
                  </a:path>
                </a:pathLst>
              </a:custGeom>
              <a:solidFill>
                <a:schemeClr val="accent2"/>
              </a:solidFill>
              <a:ln w="5573" cap="flat">
                <a:noFill/>
                <a:prstDash val="solid"/>
                <a:miter/>
              </a:ln>
            </p:spPr>
            <p:txBody>
              <a:bodyPr rtlCol="0" anchor="ctr"/>
              <a:lstStyle/>
              <a:p>
                <a:endParaRPr lang="en-GB"/>
              </a:p>
            </p:txBody>
          </p:sp>
        </p:grpSp>
        <p:grpSp>
          <p:nvGrpSpPr>
            <p:cNvPr id="106" name="Group 105">
              <a:extLst>
                <a:ext uri="{FF2B5EF4-FFF2-40B4-BE49-F238E27FC236}">
                  <a16:creationId xmlns:a16="http://schemas.microsoft.com/office/drawing/2014/main" id="{7BF449A1-D5CD-24B7-7654-166378883C8D}"/>
                </a:ext>
              </a:extLst>
            </p:cNvPr>
            <p:cNvGrpSpPr/>
            <p:nvPr/>
          </p:nvGrpSpPr>
          <p:grpSpPr>
            <a:xfrm>
              <a:off x="5088160" y="2252854"/>
              <a:ext cx="4554050" cy="4023387"/>
              <a:chOff x="5088160" y="2252854"/>
              <a:chExt cx="4554050" cy="4023387"/>
            </a:xfrm>
          </p:grpSpPr>
          <p:sp>
            <p:nvSpPr>
              <p:cNvPr id="107" name="Graphic 6">
                <a:extLst>
                  <a:ext uri="{FF2B5EF4-FFF2-40B4-BE49-F238E27FC236}">
                    <a16:creationId xmlns:a16="http://schemas.microsoft.com/office/drawing/2014/main" id="{ACBB701D-9C4A-0A5F-B37E-BE186E16DB1A}"/>
                  </a:ext>
                </a:extLst>
              </p:cNvPr>
              <p:cNvSpPr/>
              <p:nvPr/>
            </p:nvSpPr>
            <p:spPr>
              <a:xfrm>
                <a:off x="6175301" y="5778799"/>
                <a:ext cx="68023" cy="497392"/>
              </a:xfrm>
              <a:custGeom>
                <a:avLst/>
                <a:gdLst>
                  <a:gd name="connsiteX0" fmla="*/ 7272 w 68023"/>
                  <a:gd name="connsiteY0" fmla="*/ 496920 h 497392"/>
                  <a:gd name="connsiteX1" fmla="*/ 6603 w 68023"/>
                  <a:gd name="connsiteY1" fmla="*/ 496920 h 497392"/>
                  <a:gd name="connsiteX2" fmla="*/ -756 w 68023"/>
                  <a:gd name="connsiteY2" fmla="*/ 487776 h 497392"/>
                  <a:gd name="connsiteX3" fmla="*/ -756 w 68023"/>
                  <a:gd name="connsiteY3" fmla="*/ 487664 h 497392"/>
                  <a:gd name="connsiteX4" fmla="*/ 47582 w 68023"/>
                  <a:gd name="connsiteY4" fmla="*/ 66894 h 497392"/>
                  <a:gd name="connsiteX5" fmla="*/ 50481 w 68023"/>
                  <a:gd name="connsiteY5" fmla="*/ 7516 h 497392"/>
                  <a:gd name="connsiteX6" fmla="*/ 59290 w 68023"/>
                  <a:gd name="connsiteY6" fmla="*/ -457 h 497392"/>
                  <a:gd name="connsiteX7" fmla="*/ 67207 w 68023"/>
                  <a:gd name="connsiteY7" fmla="*/ 8353 h 497392"/>
                  <a:gd name="connsiteX8" fmla="*/ 64308 w 68023"/>
                  <a:gd name="connsiteY8" fmla="*/ 68287 h 497392"/>
                  <a:gd name="connsiteX9" fmla="*/ 15914 w 68023"/>
                  <a:gd name="connsiteY9" fmla="*/ 489560 h 497392"/>
                  <a:gd name="connsiteX10" fmla="*/ 7272 w 68023"/>
                  <a:gd name="connsiteY10" fmla="*/ 496920 h 49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23" h="497392">
                    <a:moveTo>
                      <a:pt x="7272" y="496920"/>
                    </a:moveTo>
                    <a:lnTo>
                      <a:pt x="6603" y="496920"/>
                    </a:lnTo>
                    <a:cubicBezTo>
                      <a:pt x="2032" y="496417"/>
                      <a:pt x="-1258" y="492347"/>
                      <a:pt x="-756" y="487776"/>
                    </a:cubicBezTo>
                    <a:cubicBezTo>
                      <a:pt x="-756" y="487720"/>
                      <a:pt x="-756" y="487720"/>
                      <a:pt x="-756" y="487664"/>
                    </a:cubicBezTo>
                    <a:lnTo>
                      <a:pt x="47582" y="66894"/>
                    </a:lnTo>
                    <a:lnTo>
                      <a:pt x="50481" y="7516"/>
                    </a:lnTo>
                    <a:cubicBezTo>
                      <a:pt x="50704" y="2888"/>
                      <a:pt x="54663" y="-679"/>
                      <a:pt x="59290" y="-457"/>
                    </a:cubicBezTo>
                    <a:cubicBezTo>
                      <a:pt x="63862" y="-178"/>
                      <a:pt x="67430" y="3725"/>
                      <a:pt x="67207" y="8353"/>
                    </a:cubicBezTo>
                    <a:lnTo>
                      <a:pt x="64308" y="68287"/>
                    </a:lnTo>
                    <a:lnTo>
                      <a:pt x="15914" y="489560"/>
                    </a:lnTo>
                    <a:cubicBezTo>
                      <a:pt x="15413" y="493909"/>
                      <a:pt x="11621" y="497086"/>
                      <a:pt x="7272" y="496920"/>
                    </a:cubicBezTo>
                    <a:close/>
                  </a:path>
                </a:pathLst>
              </a:custGeom>
              <a:solidFill>
                <a:srgbClr val="30373B"/>
              </a:solidFill>
              <a:ln w="5573" cap="flat">
                <a:noFill/>
                <a:prstDash val="solid"/>
                <a:miter/>
              </a:ln>
            </p:spPr>
            <p:txBody>
              <a:bodyPr rtlCol="0" anchor="ctr"/>
              <a:lstStyle/>
              <a:p>
                <a:endParaRPr lang="en-GB"/>
              </a:p>
            </p:txBody>
          </p:sp>
          <p:sp>
            <p:nvSpPr>
              <p:cNvPr id="108" name="Graphic 6">
                <a:extLst>
                  <a:ext uri="{FF2B5EF4-FFF2-40B4-BE49-F238E27FC236}">
                    <a16:creationId xmlns:a16="http://schemas.microsoft.com/office/drawing/2014/main" id="{B2317B86-2716-6BFF-3571-8135CD4F2156}"/>
                  </a:ext>
                </a:extLst>
              </p:cNvPr>
              <p:cNvSpPr/>
              <p:nvPr/>
            </p:nvSpPr>
            <p:spPr>
              <a:xfrm>
                <a:off x="6174031" y="5582446"/>
                <a:ext cx="309926" cy="192429"/>
              </a:xfrm>
              <a:custGeom>
                <a:avLst/>
                <a:gdLst>
                  <a:gd name="connsiteX0" fmla="*/ 279336 w 309926"/>
                  <a:gd name="connsiteY0" fmla="*/ 191938 h 192429"/>
                  <a:gd name="connsiteX1" fmla="*/ 205241 w 309926"/>
                  <a:gd name="connsiteY1" fmla="*/ 166738 h 192429"/>
                  <a:gd name="connsiteX2" fmla="*/ 130363 w 309926"/>
                  <a:gd name="connsiteY2" fmla="*/ 136241 h 192429"/>
                  <a:gd name="connsiteX3" fmla="*/ 125401 w 309926"/>
                  <a:gd name="connsiteY3" fmla="*/ 125480 h 192429"/>
                  <a:gd name="connsiteX4" fmla="*/ 135549 w 309926"/>
                  <a:gd name="connsiteY4" fmla="*/ 120351 h 192429"/>
                  <a:gd name="connsiteX5" fmla="*/ 212098 w 309926"/>
                  <a:gd name="connsiteY5" fmla="*/ 151461 h 192429"/>
                  <a:gd name="connsiteX6" fmla="*/ 287365 w 309926"/>
                  <a:gd name="connsiteY6" fmla="*/ 172982 h 192429"/>
                  <a:gd name="connsiteX7" fmla="*/ 288424 w 309926"/>
                  <a:gd name="connsiteY7" fmla="*/ 122804 h 192429"/>
                  <a:gd name="connsiteX8" fmla="*/ 284912 w 309926"/>
                  <a:gd name="connsiteY8" fmla="*/ 105576 h 192429"/>
                  <a:gd name="connsiteX9" fmla="*/ 207192 w 309926"/>
                  <a:gd name="connsiteY9" fmla="*/ 16371 h 192429"/>
                  <a:gd name="connsiteX10" fmla="*/ 118878 w 309926"/>
                  <a:gd name="connsiteY10" fmla="*/ 16371 h 192429"/>
                  <a:gd name="connsiteX11" fmla="*/ 24599 w 309926"/>
                  <a:gd name="connsiteY11" fmla="*/ 82049 h 192429"/>
                  <a:gd name="connsiteX12" fmla="*/ 22146 w 309926"/>
                  <a:gd name="connsiteY12" fmla="*/ 164006 h 192429"/>
                  <a:gd name="connsiteX13" fmla="*/ 131256 w 309926"/>
                  <a:gd name="connsiteY13" fmla="*/ 37055 h 192429"/>
                  <a:gd name="connsiteX14" fmla="*/ 142406 w 309926"/>
                  <a:gd name="connsiteY14" fmla="*/ 33543 h 192429"/>
                  <a:gd name="connsiteX15" fmla="*/ 145919 w 309926"/>
                  <a:gd name="connsiteY15" fmla="*/ 44693 h 192429"/>
                  <a:gd name="connsiteX16" fmla="*/ 145919 w 309926"/>
                  <a:gd name="connsiteY16" fmla="*/ 44693 h 192429"/>
                  <a:gd name="connsiteX17" fmla="*/ 80687 w 309926"/>
                  <a:gd name="connsiteY17" fmla="*/ 141370 h 192429"/>
                  <a:gd name="connsiteX18" fmla="*/ 16236 w 309926"/>
                  <a:gd name="connsiteY18" fmla="*/ 179617 h 192429"/>
                  <a:gd name="connsiteX19" fmla="*/ 8208 w 309926"/>
                  <a:gd name="connsiteY19" fmla="*/ 78201 h 192429"/>
                  <a:gd name="connsiteX20" fmla="*/ 118767 w 309926"/>
                  <a:gd name="connsiteY20" fmla="*/ -467 h 192429"/>
                  <a:gd name="connsiteX21" fmla="*/ 207080 w 309926"/>
                  <a:gd name="connsiteY21" fmla="*/ -467 h 192429"/>
                  <a:gd name="connsiteX22" fmla="*/ 301192 w 309926"/>
                  <a:gd name="connsiteY22" fmla="*/ 102343 h 192429"/>
                  <a:gd name="connsiteX23" fmla="*/ 304704 w 309926"/>
                  <a:gd name="connsiteY23" fmla="*/ 119459 h 192429"/>
                  <a:gd name="connsiteX24" fmla="*/ 297735 w 309926"/>
                  <a:gd name="connsiteY24" fmla="*/ 186028 h 192429"/>
                  <a:gd name="connsiteX25" fmla="*/ 279336 w 309926"/>
                  <a:gd name="connsiteY25" fmla="*/ 191938 h 19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9926" h="192429">
                    <a:moveTo>
                      <a:pt x="279336" y="191938"/>
                    </a:moveTo>
                    <a:cubicBezTo>
                      <a:pt x="261161" y="191938"/>
                      <a:pt x="236295" y="180788"/>
                      <a:pt x="205241" y="166738"/>
                    </a:cubicBezTo>
                    <a:cubicBezTo>
                      <a:pt x="180820" y="155253"/>
                      <a:pt x="155843" y="145049"/>
                      <a:pt x="130363" y="136241"/>
                    </a:cubicBezTo>
                    <a:cubicBezTo>
                      <a:pt x="126014" y="134624"/>
                      <a:pt x="123785" y="129829"/>
                      <a:pt x="125401" y="125480"/>
                    </a:cubicBezTo>
                    <a:cubicBezTo>
                      <a:pt x="126907" y="121410"/>
                      <a:pt x="131367" y="119124"/>
                      <a:pt x="135549" y="120351"/>
                    </a:cubicBezTo>
                    <a:cubicBezTo>
                      <a:pt x="161585" y="129327"/>
                      <a:pt x="187176" y="139753"/>
                      <a:pt x="212098" y="151461"/>
                    </a:cubicBezTo>
                    <a:cubicBezTo>
                      <a:pt x="245550" y="166626"/>
                      <a:pt x="277497" y="180955"/>
                      <a:pt x="287365" y="172982"/>
                    </a:cubicBezTo>
                    <a:cubicBezTo>
                      <a:pt x="291045" y="170083"/>
                      <a:pt x="296062" y="159601"/>
                      <a:pt x="288424" y="122804"/>
                    </a:cubicBezTo>
                    <a:lnTo>
                      <a:pt x="284912" y="105576"/>
                    </a:lnTo>
                    <a:cubicBezTo>
                      <a:pt x="272256" y="42408"/>
                      <a:pt x="267015" y="16371"/>
                      <a:pt x="207192" y="16371"/>
                    </a:cubicBezTo>
                    <a:lnTo>
                      <a:pt x="118878" y="16371"/>
                    </a:lnTo>
                    <a:cubicBezTo>
                      <a:pt x="69927" y="16371"/>
                      <a:pt x="33854" y="41571"/>
                      <a:pt x="24599" y="82049"/>
                    </a:cubicBezTo>
                    <a:cubicBezTo>
                      <a:pt x="7371" y="157650"/>
                      <a:pt x="21533" y="163783"/>
                      <a:pt x="22146" y="164006"/>
                    </a:cubicBezTo>
                    <a:cubicBezTo>
                      <a:pt x="36252" y="169191"/>
                      <a:pt x="89385" y="117005"/>
                      <a:pt x="131256" y="37055"/>
                    </a:cubicBezTo>
                    <a:cubicBezTo>
                      <a:pt x="133374" y="33041"/>
                      <a:pt x="138336" y="31480"/>
                      <a:pt x="142406" y="33543"/>
                    </a:cubicBezTo>
                    <a:cubicBezTo>
                      <a:pt x="146476" y="35661"/>
                      <a:pt x="148037" y="40623"/>
                      <a:pt x="145919" y="44693"/>
                    </a:cubicBezTo>
                    <a:cubicBezTo>
                      <a:pt x="145919" y="44693"/>
                      <a:pt x="145919" y="44693"/>
                      <a:pt x="145919" y="44693"/>
                    </a:cubicBezTo>
                    <a:cubicBezTo>
                      <a:pt x="127966" y="79317"/>
                      <a:pt x="106055" y="111765"/>
                      <a:pt x="80687" y="141370"/>
                    </a:cubicBezTo>
                    <a:cubicBezTo>
                      <a:pt x="53257" y="172369"/>
                      <a:pt x="31569" y="185248"/>
                      <a:pt x="16236" y="179617"/>
                    </a:cubicBezTo>
                    <a:cubicBezTo>
                      <a:pt x="-3389" y="172369"/>
                      <a:pt x="-6065" y="140143"/>
                      <a:pt x="8208" y="78201"/>
                    </a:cubicBezTo>
                    <a:cubicBezTo>
                      <a:pt x="19359" y="29696"/>
                      <a:pt x="61620" y="-467"/>
                      <a:pt x="118767" y="-467"/>
                    </a:cubicBezTo>
                    <a:lnTo>
                      <a:pt x="207080" y="-467"/>
                    </a:lnTo>
                    <a:cubicBezTo>
                      <a:pt x="280619" y="-467"/>
                      <a:pt x="288815" y="40456"/>
                      <a:pt x="301192" y="102343"/>
                    </a:cubicBezTo>
                    <a:cubicBezTo>
                      <a:pt x="302307" y="107918"/>
                      <a:pt x="303478" y="113494"/>
                      <a:pt x="304704" y="119459"/>
                    </a:cubicBezTo>
                    <a:cubicBezTo>
                      <a:pt x="312231" y="155643"/>
                      <a:pt x="310280" y="176160"/>
                      <a:pt x="297735" y="186028"/>
                    </a:cubicBezTo>
                    <a:cubicBezTo>
                      <a:pt x="292495" y="190099"/>
                      <a:pt x="285971" y="192217"/>
                      <a:pt x="279336" y="191938"/>
                    </a:cubicBezTo>
                    <a:close/>
                  </a:path>
                </a:pathLst>
              </a:custGeom>
              <a:solidFill>
                <a:srgbClr val="30373B"/>
              </a:solidFill>
              <a:ln w="5573" cap="flat">
                <a:noFill/>
                <a:prstDash val="solid"/>
                <a:miter/>
              </a:ln>
            </p:spPr>
            <p:txBody>
              <a:bodyPr rtlCol="0" anchor="ctr"/>
              <a:lstStyle/>
              <a:p>
                <a:endParaRPr lang="en-GB"/>
              </a:p>
            </p:txBody>
          </p:sp>
          <p:sp>
            <p:nvSpPr>
              <p:cNvPr id="109" name="Graphic 6">
                <a:extLst>
                  <a:ext uri="{FF2B5EF4-FFF2-40B4-BE49-F238E27FC236}">
                    <a16:creationId xmlns:a16="http://schemas.microsoft.com/office/drawing/2014/main" id="{FE6EB57C-8782-8224-C270-1279A9462BCA}"/>
                  </a:ext>
                </a:extLst>
              </p:cNvPr>
              <p:cNvSpPr/>
              <p:nvPr/>
            </p:nvSpPr>
            <p:spPr>
              <a:xfrm>
                <a:off x="6250492" y="5415353"/>
                <a:ext cx="143189" cy="183762"/>
              </a:xfrm>
              <a:custGeom>
                <a:avLst/>
                <a:gdLst>
                  <a:gd name="connsiteX0" fmla="*/ 70797 w 143189"/>
                  <a:gd name="connsiteY0" fmla="*/ 183296 h 183762"/>
                  <a:gd name="connsiteX1" fmla="*/ -289 w 143189"/>
                  <a:gd name="connsiteY1" fmla="*/ 92140 h 183762"/>
                  <a:gd name="connsiteX2" fmla="*/ 19503 w 143189"/>
                  <a:gd name="connsiteY2" fmla="*/ 20608 h 183762"/>
                  <a:gd name="connsiteX3" fmla="*/ 122089 w 143189"/>
                  <a:gd name="connsiteY3" fmla="*/ 20608 h 183762"/>
                  <a:gd name="connsiteX4" fmla="*/ 141882 w 143189"/>
                  <a:gd name="connsiteY4" fmla="*/ 92140 h 183762"/>
                  <a:gd name="connsiteX5" fmla="*/ 131289 w 143189"/>
                  <a:gd name="connsiteY5" fmla="*/ 134289 h 183762"/>
                  <a:gd name="connsiteX6" fmla="*/ 120194 w 143189"/>
                  <a:gd name="connsiteY6" fmla="*/ 138526 h 183762"/>
                  <a:gd name="connsiteX7" fmla="*/ 120138 w 143189"/>
                  <a:gd name="connsiteY7" fmla="*/ 138526 h 183762"/>
                  <a:gd name="connsiteX8" fmla="*/ 115845 w 143189"/>
                  <a:gd name="connsiteY8" fmla="*/ 127487 h 183762"/>
                  <a:gd name="connsiteX9" fmla="*/ 115901 w 143189"/>
                  <a:gd name="connsiteY9" fmla="*/ 127375 h 183762"/>
                  <a:gd name="connsiteX10" fmla="*/ 125100 w 143189"/>
                  <a:gd name="connsiteY10" fmla="*/ 90578 h 183762"/>
                  <a:gd name="connsiteX11" fmla="*/ 109656 w 143189"/>
                  <a:gd name="connsiteY11" fmla="*/ 31759 h 183762"/>
                  <a:gd name="connsiteX12" fmla="*/ 31602 w 143189"/>
                  <a:gd name="connsiteY12" fmla="*/ 31759 h 183762"/>
                  <a:gd name="connsiteX13" fmla="*/ 16102 w 143189"/>
                  <a:gd name="connsiteY13" fmla="*/ 90522 h 183762"/>
                  <a:gd name="connsiteX14" fmla="*/ 70517 w 143189"/>
                  <a:gd name="connsiteY14" fmla="*/ 166403 h 183762"/>
                  <a:gd name="connsiteX15" fmla="*/ 78880 w 143189"/>
                  <a:gd name="connsiteY15" fmla="*/ 174766 h 183762"/>
                  <a:gd name="connsiteX16" fmla="*/ 70517 w 143189"/>
                  <a:gd name="connsiteY16" fmla="*/ 183129 h 18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189" h="183762">
                    <a:moveTo>
                      <a:pt x="70797" y="183296"/>
                    </a:moveTo>
                    <a:cubicBezTo>
                      <a:pt x="31769" y="183296"/>
                      <a:pt x="3558" y="136017"/>
                      <a:pt x="-289" y="92140"/>
                    </a:cubicBezTo>
                    <a:cubicBezTo>
                      <a:pt x="-2854" y="62813"/>
                      <a:pt x="4171" y="37389"/>
                      <a:pt x="19503" y="20608"/>
                    </a:cubicBezTo>
                    <a:cubicBezTo>
                      <a:pt x="47938" y="-7492"/>
                      <a:pt x="93655" y="-7492"/>
                      <a:pt x="122089" y="20608"/>
                    </a:cubicBezTo>
                    <a:cubicBezTo>
                      <a:pt x="137422" y="37334"/>
                      <a:pt x="144391" y="62813"/>
                      <a:pt x="141882" y="92140"/>
                    </a:cubicBezTo>
                    <a:cubicBezTo>
                      <a:pt x="140712" y="106691"/>
                      <a:pt x="137143" y="120908"/>
                      <a:pt x="131289" y="134289"/>
                    </a:cubicBezTo>
                    <a:cubicBezTo>
                      <a:pt x="129393" y="138526"/>
                      <a:pt x="124431" y="140422"/>
                      <a:pt x="120194" y="138526"/>
                    </a:cubicBezTo>
                    <a:cubicBezTo>
                      <a:pt x="120138" y="138526"/>
                      <a:pt x="120138" y="138526"/>
                      <a:pt x="120138" y="138526"/>
                    </a:cubicBezTo>
                    <a:cubicBezTo>
                      <a:pt x="115901" y="136686"/>
                      <a:pt x="114005" y="131724"/>
                      <a:pt x="115845" y="127487"/>
                    </a:cubicBezTo>
                    <a:cubicBezTo>
                      <a:pt x="115845" y="127487"/>
                      <a:pt x="115901" y="127431"/>
                      <a:pt x="115901" y="127375"/>
                    </a:cubicBezTo>
                    <a:cubicBezTo>
                      <a:pt x="120975" y="115723"/>
                      <a:pt x="124097" y="103290"/>
                      <a:pt x="125100" y="90578"/>
                    </a:cubicBezTo>
                    <a:cubicBezTo>
                      <a:pt x="127275" y="65936"/>
                      <a:pt x="121755" y="45083"/>
                      <a:pt x="109656" y="31759"/>
                    </a:cubicBezTo>
                    <a:cubicBezTo>
                      <a:pt x="87857" y="10795"/>
                      <a:pt x="53401" y="10795"/>
                      <a:pt x="31602" y="31759"/>
                    </a:cubicBezTo>
                    <a:cubicBezTo>
                      <a:pt x="19448" y="45028"/>
                      <a:pt x="13928" y="65880"/>
                      <a:pt x="16102" y="90522"/>
                    </a:cubicBezTo>
                    <a:cubicBezTo>
                      <a:pt x="20451" y="140031"/>
                      <a:pt x="50502" y="166403"/>
                      <a:pt x="70517" y="166403"/>
                    </a:cubicBezTo>
                    <a:cubicBezTo>
                      <a:pt x="75145" y="166403"/>
                      <a:pt x="78880" y="170138"/>
                      <a:pt x="78880" y="174766"/>
                    </a:cubicBezTo>
                    <a:cubicBezTo>
                      <a:pt x="78880" y="179394"/>
                      <a:pt x="75145" y="183129"/>
                      <a:pt x="70517" y="183129"/>
                    </a:cubicBezTo>
                    <a:close/>
                  </a:path>
                </a:pathLst>
              </a:custGeom>
              <a:solidFill>
                <a:srgbClr val="30373B"/>
              </a:solidFill>
              <a:ln w="5573" cap="flat">
                <a:noFill/>
                <a:prstDash val="solid"/>
                <a:miter/>
              </a:ln>
            </p:spPr>
            <p:txBody>
              <a:bodyPr rtlCol="0" anchor="ctr"/>
              <a:lstStyle/>
              <a:p>
                <a:endParaRPr lang="en-GB"/>
              </a:p>
            </p:txBody>
          </p:sp>
          <p:sp>
            <p:nvSpPr>
              <p:cNvPr id="110" name="Graphic 6">
                <a:extLst>
                  <a:ext uri="{FF2B5EF4-FFF2-40B4-BE49-F238E27FC236}">
                    <a16:creationId xmlns:a16="http://schemas.microsoft.com/office/drawing/2014/main" id="{D01AE15E-6057-0C79-9475-AD84391C8A37}"/>
                  </a:ext>
                </a:extLst>
              </p:cNvPr>
              <p:cNvSpPr/>
              <p:nvPr/>
            </p:nvSpPr>
            <p:spPr>
              <a:xfrm>
                <a:off x="6373644" y="5800148"/>
                <a:ext cx="47022" cy="474589"/>
              </a:xfrm>
              <a:custGeom>
                <a:avLst/>
                <a:gdLst>
                  <a:gd name="connsiteX0" fmla="*/ 7579 w 47022"/>
                  <a:gd name="connsiteY0" fmla="*/ 474122 h 474589"/>
                  <a:gd name="connsiteX1" fmla="*/ 6966 w 47022"/>
                  <a:gd name="connsiteY1" fmla="*/ 474122 h 474589"/>
                  <a:gd name="connsiteX2" fmla="*/ -784 w 47022"/>
                  <a:gd name="connsiteY2" fmla="*/ 465145 h 474589"/>
                  <a:gd name="connsiteX3" fmla="*/ 29434 w 47022"/>
                  <a:gd name="connsiteY3" fmla="*/ 44820 h 474589"/>
                  <a:gd name="connsiteX4" fmla="*/ 27427 w 47022"/>
                  <a:gd name="connsiteY4" fmla="*/ 8358 h 474589"/>
                  <a:gd name="connsiteX5" fmla="*/ 35344 w 47022"/>
                  <a:gd name="connsiteY5" fmla="*/ -451 h 474589"/>
                  <a:gd name="connsiteX6" fmla="*/ 44153 w 47022"/>
                  <a:gd name="connsiteY6" fmla="*/ 7409 h 474589"/>
                  <a:gd name="connsiteX7" fmla="*/ 46216 w 47022"/>
                  <a:gd name="connsiteY7" fmla="*/ 44430 h 474589"/>
                  <a:gd name="connsiteX8" fmla="*/ 46216 w 47022"/>
                  <a:gd name="connsiteY8" fmla="*/ 45489 h 474589"/>
                  <a:gd name="connsiteX9" fmla="*/ 15998 w 47022"/>
                  <a:gd name="connsiteY9" fmla="*/ 466372 h 474589"/>
                  <a:gd name="connsiteX10" fmla="*/ 7579 w 47022"/>
                  <a:gd name="connsiteY10" fmla="*/ 474122 h 47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22" h="474589">
                    <a:moveTo>
                      <a:pt x="7579" y="474122"/>
                    </a:moveTo>
                    <a:lnTo>
                      <a:pt x="6966" y="474122"/>
                    </a:lnTo>
                    <a:cubicBezTo>
                      <a:pt x="2338" y="473787"/>
                      <a:pt x="-1119" y="469773"/>
                      <a:pt x="-784" y="465145"/>
                    </a:cubicBezTo>
                    <a:lnTo>
                      <a:pt x="29434" y="44820"/>
                    </a:lnTo>
                    <a:lnTo>
                      <a:pt x="27427" y="8358"/>
                    </a:lnTo>
                    <a:cubicBezTo>
                      <a:pt x="27148" y="3730"/>
                      <a:pt x="30717" y="-229"/>
                      <a:pt x="35344" y="-451"/>
                    </a:cubicBezTo>
                    <a:cubicBezTo>
                      <a:pt x="39916" y="-730"/>
                      <a:pt x="43874" y="2782"/>
                      <a:pt x="44153" y="7409"/>
                    </a:cubicBezTo>
                    <a:lnTo>
                      <a:pt x="46216" y="44430"/>
                    </a:lnTo>
                    <a:lnTo>
                      <a:pt x="46216" y="45489"/>
                    </a:lnTo>
                    <a:lnTo>
                      <a:pt x="15998" y="466372"/>
                    </a:lnTo>
                    <a:cubicBezTo>
                      <a:pt x="15663" y="470776"/>
                      <a:pt x="11984" y="474177"/>
                      <a:pt x="7579" y="474122"/>
                    </a:cubicBezTo>
                    <a:close/>
                  </a:path>
                </a:pathLst>
              </a:custGeom>
              <a:solidFill>
                <a:srgbClr val="30373B"/>
              </a:solidFill>
              <a:ln w="5573" cap="flat">
                <a:noFill/>
                <a:prstDash val="solid"/>
                <a:miter/>
              </a:ln>
            </p:spPr>
            <p:txBody>
              <a:bodyPr rtlCol="0" anchor="ctr"/>
              <a:lstStyle/>
              <a:p>
                <a:endParaRPr lang="en-GB"/>
              </a:p>
            </p:txBody>
          </p:sp>
          <p:sp>
            <p:nvSpPr>
              <p:cNvPr id="111" name="Graphic 6">
                <a:extLst>
                  <a:ext uri="{FF2B5EF4-FFF2-40B4-BE49-F238E27FC236}">
                    <a16:creationId xmlns:a16="http://schemas.microsoft.com/office/drawing/2014/main" id="{79EEC0F6-A6E2-A4D5-5CC6-7AF98AEAA14F}"/>
                  </a:ext>
                </a:extLst>
              </p:cNvPr>
              <p:cNvSpPr/>
              <p:nvPr/>
            </p:nvSpPr>
            <p:spPr>
              <a:xfrm>
                <a:off x="6228344" y="5918566"/>
                <a:ext cx="102565" cy="357662"/>
              </a:xfrm>
              <a:custGeom>
                <a:avLst/>
                <a:gdLst>
                  <a:gd name="connsiteX0" fmla="*/ 7530 w 102565"/>
                  <a:gd name="connsiteY0" fmla="*/ 357153 h 357662"/>
                  <a:gd name="connsiteX1" fmla="*/ 5467 w 102565"/>
                  <a:gd name="connsiteY1" fmla="*/ 357153 h 357662"/>
                  <a:gd name="connsiteX2" fmla="*/ -554 w 102565"/>
                  <a:gd name="connsiteY2" fmla="*/ 347006 h 357662"/>
                  <a:gd name="connsiteX3" fmla="*/ 84972 w 102565"/>
                  <a:gd name="connsiteY3" fmla="*/ 6910 h 357662"/>
                  <a:gd name="connsiteX4" fmla="*/ 94394 w 102565"/>
                  <a:gd name="connsiteY4" fmla="*/ -393 h 357662"/>
                  <a:gd name="connsiteX5" fmla="*/ 101698 w 102565"/>
                  <a:gd name="connsiteY5" fmla="*/ 8973 h 357662"/>
                  <a:gd name="connsiteX6" fmla="*/ 101698 w 102565"/>
                  <a:gd name="connsiteY6" fmla="*/ 348735 h 357662"/>
                  <a:gd name="connsiteX7" fmla="*/ 93335 w 102565"/>
                  <a:gd name="connsiteY7" fmla="*/ 357098 h 357662"/>
                  <a:gd name="connsiteX8" fmla="*/ 84972 w 102565"/>
                  <a:gd name="connsiteY8" fmla="*/ 348735 h 357662"/>
                  <a:gd name="connsiteX9" fmla="*/ 84972 w 102565"/>
                  <a:gd name="connsiteY9" fmla="*/ 76434 h 357662"/>
                  <a:gd name="connsiteX10" fmla="*/ 15893 w 102565"/>
                  <a:gd name="connsiteY10" fmla="*/ 350797 h 357662"/>
                  <a:gd name="connsiteX11" fmla="*/ 7530 w 102565"/>
                  <a:gd name="connsiteY11" fmla="*/ 357153 h 35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565" h="357662">
                    <a:moveTo>
                      <a:pt x="7530" y="357153"/>
                    </a:moveTo>
                    <a:cubicBezTo>
                      <a:pt x="6861" y="357209"/>
                      <a:pt x="6136" y="357209"/>
                      <a:pt x="5467" y="357153"/>
                    </a:cubicBezTo>
                    <a:cubicBezTo>
                      <a:pt x="1007" y="355982"/>
                      <a:pt x="-1669" y="351466"/>
                      <a:pt x="-554" y="347006"/>
                    </a:cubicBezTo>
                    <a:lnTo>
                      <a:pt x="84972" y="6910"/>
                    </a:lnTo>
                    <a:cubicBezTo>
                      <a:pt x="85530" y="2283"/>
                      <a:pt x="89767" y="-1006"/>
                      <a:pt x="94394" y="-393"/>
                    </a:cubicBezTo>
                    <a:cubicBezTo>
                      <a:pt x="98966" y="164"/>
                      <a:pt x="102256" y="4346"/>
                      <a:pt x="101698" y="8973"/>
                    </a:cubicBezTo>
                    <a:lnTo>
                      <a:pt x="101698" y="348735"/>
                    </a:lnTo>
                    <a:cubicBezTo>
                      <a:pt x="101698" y="353362"/>
                      <a:pt x="97963" y="357098"/>
                      <a:pt x="93335" y="357098"/>
                    </a:cubicBezTo>
                    <a:cubicBezTo>
                      <a:pt x="88707" y="357098"/>
                      <a:pt x="84972" y="353362"/>
                      <a:pt x="84972" y="348735"/>
                    </a:cubicBezTo>
                    <a:lnTo>
                      <a:pt x="84972" y="76434"/>
                    </a:lnTo>
                    <a:lnTo>
                      <a:pt x="15893" y="350797"/>
                    </a:lnTo>
                    <a:cubicBezTo>
                      <a:pt x="14946" y="354588"/>
                      <a:pt x="11433" y="357264"/>
                      <a:pt x="7530" y="357153"/>
                    </a:cubicBezTo>
                    <a:close/>
                  </a:path>
                </a:pathLst>
              </a:custGeom>
              <a:solidFill>
                <a:srgbClr val="30373B"/>
              </a:solidFill>
              <a:ln w="5573" cap="flat">
                <a:noFill/>
                <a:prstDash val="solid"/>
                <a:miter/>
              </a:ln>
            </p:spPr>
            <p:txBody>
              <a:bodyPr rtlCol="0" anchor="ctr"/>
              <a:lstStyle/>
              <a:p>
                <a:endParaRPr lang="en-GB"/>
              </a:p>
            </p:txBody>
          </p:sp>
          <p:sp>
            <p:nvSpPr>
              <p:cNvPr id="112" name="Graphic 6">
                <a:extLst>
                  <a:ext uri="{FF2B5EF4-FFF2-40B4-BE49-F238E27FC236}">
                    <a16:creationId xmlns:a16="http://schemas.microsoft.com/office/drawing/2014/main" id="{E0BC5D10-3188-E318-77FB-F20F0E4AABCE}"/>
                  </a:ext>
                </a:extLst>
              </p:cNvPr>
              <p:cNvSpPr/>
              <p:nvPr/>
            </p:nvSpPr>
            <p:spPr>
              <a:xfrm>
                <a:off x="9575903" y="5824226"/>
                <a:ext cx="45922" cy="439024"/>
              </a:xfrm>
              <a:custGeom>
                <a:avLst/>
                <a:gdLst>
                  <a:gd name="connsiteX0" fmla="*/ 7572 w 45922"/>
                  <a:gd name="connsiteY0" fmla="*/ 438557 h 439024"/>
                  <a:gd name="connsiteX1" fmla="*/ 6959 w 45922"/>
                  <a:gd name="connsiteY1" fmla="*/ 438557 h 439024"/>
                  <a:gd name="connsiteX2" fmla="*/ -791 w 45922"/>
                  <a:gd name="connsiteY2" fmla="*/ 429637 h 439024"/>
                  <a:gd name="connsiteX3" fmla="*/ 28368 w 45922"/>
                  <a:gd name="connsiteY3" fmla="*/ 7361 h 439024"/>
                  <a:gd name="connsiteX4" fmla="*/ 37288 w 45922"/>
                  <a:gd name="connsiteY4" fmla="*/ -445 h 439024"/>
                  <a:gd name="connsiteX5" fmla="*/ 45094 w 45922"/>
                  <a:gd name="connsiteY5" fmla="*/ 8476 h 439024"/>
                  <a:gd name="connsiteX6" fmla="*/ 15935 w 45922"/>
                  <a:gd name="connsiteY6" fmla="*/ 430752 h 439024"/>
                  <a:gd name="connsiteX7" fmla="*/ 7572 w 45922"/>
                  <a:gd name="connsiteY7" fmla="*/ 438557 h 43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22" h="439024">
                    <a:moveTo>
                      <a:pt x="7572" y="438557"/>
                    </a:moveTo>
                    <a:lnTo>
                      <a:pt x="6959" y="438557"/>
                    </a:lnTo>
                    <a:cubicBezTo>
                      <a:pt x="2387" y="438223"/>
                      <a:pt x="-1069" y="434209"/>
                      <a:pt x="-791" y="429637"/>
                    </a:cubicBezTo>
                    <a:lnTo>
                      <a:pt x="28368" y="7361"/>
                    </a:lnTo>
                    <a:cubicBezTo>
                      <a:pt x="28703" y="2734"/>
                      <a:pt x="32661" y="-779"/>
                      <a:pt x="37288" y="-445"/>
                    </a:cubicBezTo>
                    <a:cubicBezTo>
                      <a:pt x="41916" y="-110"/>
                      <a:pt x="45429" y="3848"/>
                      <a:pt x="45094" y="8476"/>
                    </a:cubicBezTo>
                    <a:lnTo>
                      <a:pt x="15935" y="430752"/>
                    </a:lnTo>
                    <a:cubicBezTo>
                      <a:pt x="15657" y="435157"/>
                      <a:pt x="11977" y="438613"/>
                      <a:pt x="7572" y="438557"/>
                    </a:cubicBezTo>
                    <a:close/>
                  </a:path>
                </a:pathLst>
              </a:custGeom>
              <a:solidFill>
                <a:srgbClr val="30373B"/>
              </a:solidFill>
              <a:ln w="5573" cap="flat">
                <a:noFill/>
                <a:prstDash val="solid"/>
                <a:miter/>
              </a:ln>
            </p:spPr>
            <p:txBody>
              <a:bodyPr rtlCol="0" anchor="ctr"/>
              <a:lstStyle/>
              <a:p>
                <a:endParaRPr lang="en-GB"/>
              </a:p>
            </p:txBody>
          </p:sp>
          <p:sp>
            <p:nvSpPr>
              <p:cNvPr id="113" name="Graphic 6">
                <a:extLst>
                  <a:ext uri="{FF2B5EF4-FFF2-40B4-BE49-F238E27FC236}">
                    <a16:creationId xmlns:a16="http://schemas.microsoft.com/office/drawing/2014/main" id="{17420BC4-BB95-08F8-FC59-07CCFDC8E078}"/>
                  </a:ext>
                </a:extLst>
              </p:cNvPr>
              <p:cNvSpPr/>
              <p:nvPr/>
            </p:nvSpPr>
            <p:spPr>
              <a:xfrm>
                <a:off x="9428242" y="5557517"/>
                <a:ext cx="213968" cy="283462"/>
              </a:xfrm>
              <a:custGeom>
                <a:avLst/>
                <a:gdLst>
                  <a:gd name="connsiteX0" fmla="*/ 43114 w 213968"/>
                  <a:gd name="connsiteY0" fmla="*/ 282990 h 283462"/>
                  <a:gd name="connsiteX1" fmla="*/ 34416 w 213968"/>
                  <a:gd name="connsiteY1" fmla="*/ 274962 h 283462"/>
                  <a:gd name="connsiteX2" fmla="*/ 42500 w 213968"/>
                  <a:gd name="connsiteY2" fmla="*/ 266264 h 283462"/>
                  <a:gd name="connsiteX3" fmla="*/ 120555 w 213968"/>
                  <a:gd name="connsiteY3" fmla="*/ 243015 h 283462"/>
                  <a:gd name="connsiteX4" fmla="*/ 196435 w 213968"/>
                  <a:gd name="connsiteY4" fmla="*/ 118295 h 283462"/>
                  <a:gd name="connsiteX5" fmla="*/ 122785 w 213968"/>
                  <a:gd name="connsiteY5" fmla="*/ 16266 h 283462"/>
                  <a:gd name="connsiteX6" fmla="*/ 47852 w 213968"/>
                  <a:gd name="connsiteY6" fmla="*/ 16266 h 283462"/>
                  <a:gd name="connsiteX7" fmla="*/ 21649 w 213968"/>
                  <a:gd name="connsiteY7" fmla="*/ 25466 h 283462"/>
                  <a:gd name="connsiteX8" fmla="*/ 2302 w 213968"/>
                  <a:gd name="connsiteY8" fmla="*/ 20949 h 283462"/>
                  <a:gd name="connsiteX9" fmla="*/ 47852 w 213968"/>
                  <a:gd name="connsiteY9" fmla="*/ -460 h 283462"/>
                  <a:gd name="connsiteX10" fmla="*/ 122785 w 213968"/>
                  <a:gd name="connsiteY10" fmla="*/ -460 h 283462"/>
                  <a:gd name="connsiteX11" fmla="*/ 213161 w 213968"/>
                  <a:gd name="connsiteY11" fmla="*/ 118295 h 283462"/>
                  <a:gd name="connsiteX12" fmla="*/ 43783 w 213968"/>
                  <a:gd name="connsiteY12" fmla="*/ 282935 h 28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968" h="283462">
                    <a:moveTo>
                      <a:pt x="43114" y="282990"/>
                    </a:moveTo>
                    <a:cubicBezTo>
                      <a:pt x="38486" y="283158"/>
                      <a:pt x="34639" y="279534"/>
                      <a:pt x="34416" y="274962"/>
                    </a:cubicBezTo>
                    <a:cubicBezTo>
                      <a:pt x="34249" y="270334"/>
                      <a:pt x="37873" y="266432"/>
                      <a:pt x="42500" y="266264"/>
                    </a:cubicBezTo>
                    <a:cubicBezTo>
                      <a:pt x="69708" y="263254"/>
                      <a:pt x="96135" y="255393"/>
                      <a:pt x="120555" y="243015"/>
                    </a:cubicBezTo>
                    <a:cubicBezTo>
                      <a:pt x="170733" y="216644"/>
                      <a:pt x="196435" y="174717"/>
                      <a:pt x="196435" y="118295"/>
                    </a:cubicBezTo>
                    <a:cubicBezTo>
                      <a:pt x="196435" y="26357"/>
                      <a:pt x="172852" y="16266"/>
                      <a:pt x="122785" y="16266"/>
                    </a:cubicBezTo>
                    <a:lnTo>
                      <a:pt x="47852" y="16266"/>
                    </a:lnTo>
                    <a:cubicBezTo>
                      <a:pt x="38319" y="16099"/>
                      <a:pt x="29008" y="19388"/>
                      <a:pt x="21649" y="25466"/>
                    </a:cubicBezTo>
                    <a:cubicBezTo>
                      <a:pt x="9438" y="35389"/>
                      <a:pt x="-7957" y="32769"/>
                      <a:pt x="2302" y="20949"/>
                    </a:cubicBezTo>
                    <a:cubicBezTo>
                      <a:pt x="13397" y="7179"/>
                      <a:pt x="30179" y="-739"/>
                      <a:pt x="47852" y="-460"/>
                    </a:cubicBezTo>
                    <a:lnTo>
                      <a:pt x="122785" y="-460"/>
                    </a:lnTo>
                    <a:cubicBezTo>
                      <a:pt x="182720" y="-460"/>
                      <a:pt x="213161" y="17939"/>
                      <a:pt x="213161" y="118295"/>
                    </a:cubicBezTo>
                    <a:cubicBezTo>
                      <a:pt x="213161" y="268829"/>
                      <a:pt x="45455" y="282823"/>
                      <a:pt x="43783" y="282935"/>
                    </a:cubicBezTo>
                    <a:close/>
                  </a:path>
                </a:pathLst>
              </a:custGeom>
              <a:solidFill>
                <a:srgbClr val="30373B"/>
              </a:solidFill>
              <a:ln w="5573" cap="flat">
                <a:noFill/>
                <a:prstDash val="solid"/>
                <a:miter/>
              </a:ln>
            </p:spPr>
            <p:txBody>
              <a:bodyPr rtlCol="0" anchor="ctr"/>
              <a:lstStyle/>
              <a:p>
                <a:endParaRPr lang="en-GB"/>
              </a:p>
            </p:txBody>
          </p:sp>
          <p:sp>
            <p:nvSpPr>
              <p:cNvPr id="114" name="Graphic 6">
                <a:extLst>
                  <a:ext uri="{FF2B5EF4-FFF2-40B4-BE49-F238E27FC236}">
                    <a16:creationId xmlns:a16="http://schemas.microsoft.com/office/drawing/2014/main" id="{1A3A39E6-C1AC-3D63-B5C1-6D8D029B578C}"/>
                  </a:ext>
                </a:extLst>
              </p:cNvPr>
              <p:cNvSpPr/>
              <p:nvPr/>
            </p:nvSpPr>
            <p:spPr>
              <a:xfrm>
                <a:off x="9450556" y="5387964"/>
                <a:ext cx="145184" cy="186286"/>
              </a:xfrm>
              <a:custGeom>
                <a:avLst/>
                <a:gdLst>
                  <a:gd name="connsiteX0" fmla="*/ 71758 w 145184"/>
                  <a:gd name="connsiteY0" fmla="*/ 185820 h 186286"/>
                  <a:gd name="connsiteX1" fmla="*/ -276 w 145184"/>
                  <a:gd name="connsiteY1" fmla="*/ 93380 h 186286"/>
                  <a:gd name="connsiteX2" fmla="*/ 19795 w 145184"/>
                  <a:gd name="connsiteY2" fmla="*/ 20901 h 186286"/>
                  <a:gd name="connsiteX3" fmla="*/ 123776 w 145184"/>
                  <a:gd name="connsiteY3" fmla="*/ 20901 h 186286"/>
                  <a:gd name="connsiteX4" fmla="*/ 143847 w 145184"/>
                  <a:gd name="connsiteY4" fmla="*/ 93380 h 186286"/>
                  <a:gd name="connsiteX5" fmla="*/ 133087 w 145184"/>
                  <a:gd name="connsiteY5" fmla="*/ 136087 h 186286"/>
                  <a:gd name="connsiteX6" fmla="*/ 121936 w 145184"/>
                  <a:gd name="connsiteY6" fmla="*/ 140101 h 186286"/>
                  <a:gd name="connsiteX7" fmla="*/ 117810 w 145184"/>
                  <a:gd name="connsiteY7" fmla="*/ 129286 h 186286"/>
                  <a:gd name="connsiteX8" fmla="*/ 127177 w 145184"/>
                  <a:gd name="connsiteY8" fmla="*/ 91931 h 186286"/>
                  <a:gd name="connsiteX9" fmla="*/ 111399 w 145184"/>
                  <a:gd name="connsiteY9" fmla="*/ 32107 h 186286"/>
                  <a:gd name="connsiteX10" fmla="*/ 32173 w 145184"/>
                  <a:gd name="connsiteY10" fmla="*/ 32107 h 186286"/>
                  <a:gd name="connsiteX11" fmla="*/ 16395 w 145184"/>
                  <a:gd name="connsiteY11" fmla="*/ 91931 h 186286"/>
                  <a:gd name="connsiteX12" fmla="*/ 71758 w 145184"/>
                  <a:gd name="connsiteY12" fmla="*/ 169094 h 186286"/>
                  <a:gd name="connsiteX13" fmla="*/ 80121 w 145184"/>
                  <a:gd name="connsiteY13" fmla="*/ 177457 h 186286"/>
                  <a:gd name="connsiteX14" fmla="*/ 71758 w 145184"/>
                  <a:gd name="connsiteY14" fmla="*/ 185820 h 18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184" h="186286">
                    <a:moveTo>
                      <a:pt x="71758" y="185820"/>
                    </a:moveTo>
                    <a:cubicBezTo>
                      <a:pt x="32340" y="185820"/>
                      <a:pt x="3683" y="137872"/>
                      <a:pt x="-276" y="93380"/>
                    </a:cubicBezTo>
                    <a:cubicBezTo>
                      <a:pt x="-2896" y="63608"/>
                      <a:pt x="4241" y="37627"/>
                      <a:pt x="19795" y="20901"/>
                    </a:cubicBezTo>
                    <a:cubicBezTo>
                      <a:pt x="48620" y="-7589"/>
                      <a:pt x="94952" y="-7589"/>
                      <a:pt x="123776" y="20901"/>
                    </a:cubicBezTo>
                    <a:cubicBezTo>
                      <a:pt x="139331" y="37627"/>
                      <a:pt x="146468" y="63664"/>
                      <a:pt x="143847" y="93380"/>
                    </a:cubicBezTo>
                    <a:cubicBezTo>
                      <a:pt x="142620" y="108099"/>
                      <a:pt x="138996" y="122540"/>
                      <a:pt x="133087" y="136087"/>
                    </a:cubicBezTo>
                    <a:cubicBezTo>
                      <a:pt x="131136" y="140269"/>
                      <a:pt x="126118" y="142053"/>
                      <a:pt x="121936" y="140101"/>
                    </a:cubicBezTo>
                    <a:cubicBezTo>
                      <a:pt x="117922" y="138206"/>
                      <a:pt x="116082" y="133411"/>
                      <a:pt x="117810" y="129286"/>
                    </a:cubicBezTo>
                    <a:cubicBezTo>
                      <a:pt x="122995" y="117466"/>
                      <a:pt x="126173" y="104810"/>
                      <a:pt x="127177" y="91931"/>
                    </a:cubicBezTo>
                    <a:cubicBezTo>
                      <a:pt x="129407" y="66842"/>
                      <a:pt x="123776" y="45600"/>
                      <a:pt x="111399" y="32107"/>
                    </a:cubicBezTo>
                    <a:cubicBezTo>
                      <a:pt x="89265" y="10921"/>
                      <a:pt x="54307" y="10921"/>
                      <a:pt x="32173" y="32107"/>
                    </a:cubicBezTo>
                    <a:cubicBezTo>
                      <a:pt x="19795" y="45600"/>
                      <a:pt x="14165" y="66842"/>
                      <a:pt x="16395" y="91931"/>
                    </a:cubicBezTo>
                    <a:cubicBezTo>
                      <a:pt x="20855" y="142109"/>
                      <a:pt x="51408" y="169094"/>
                      <a:pt x="71758" y="169094"/>
                    </a:cubicBezTo>
                    <a:cubicBezTo>
                      <a:pt x="76385" y="169094"/>
                      <a:pt x="80121" y="172829"/>
                      <a:pt x="80121" y="177457"/>
                    </a:cubicBezTo>
                    <a:cubicBezTo>
                      <a:pt x="80121" y="182084"/>
                      <a:pt x="76385" y="185820"/>
                      <a:pt x="71758" y="185820"/>
                    </a:cubicBezTo>
                    <a:close/>
                  </a:path>
                </a:pathLst>
              </a:custGeom>
              <a:solidFill>
                <a:srgbClr val="30373B"/>
              </a:solidFill>
              <a:ln w="5573" cap="flat">
                <a:noFill/>
                <a:prstDash val="solid"/>
                <a:miter/>
              </a:ln>
            </p:spPr>
            <p:txBody>
              <a:bodyPr rtlCol="0" anchor="ctr"/>
              <a:lstStyle/>
              <a:p>
                <a:endParaRPr lang="en-GB"/>
              </a:p>
            </p:txBody>
          </p:sp>
          <p:sp>
            <p:nvSpPr>
              <p:cNvPr id="115" name="Graphic 6">
                <a:extLst>
                  <a:ext uri="{FF2B5EF4-FFF2-40B4-BE49-F238E27FC236}">
                    <a16:creationId xmlns:a16="http://schemas.microsoft.com/office/drawing/2014/main" id="{9B3C3A4D-132B-B3CF-0435-4C3EE90AA03A}"/>
                  </a:ext>
                </a:extLst>
              </p:cNvPr>
              <p:cNvSpPr/>
              <p:nvPr/>
            </p:nvSpPr>
            <p:spPr>
              <a:xfrm>
                <a:off x="9422988" y="5807690"/>
                <a:ext cx="47356" cy="459909"/>
              </a:xfrm>
              <a:custGeom>
                <a:avLst/>
                <a:gdLst>
                  <a:gd name="connsiteX0" fmla="*/ 38221 w 47356"/>
                  <a:gd name="connsiteY0" fmla="*/ 459387 h 459909"/>
                  <a:gd name="connsiteX1" fmla="*/ 29858 w 47356"/>
                  <a:gd name="connsiteY1" fmla="*/ 451582 h 459909"/>
                  <a:gd name="connsiteX2" fmla="*/ -807 w 47356"/>
                  <a:gd name="connsiteY2" fmla="*/ 7283 h 459909"/>
                  <a:gd name="connsiteX3" fmla="*/ -807 w 47356"/>
                  <a:gd name="connsiteY3" fmla="*/ 6335 h 459909"/>
                  <a:gd name="connsiteX4" fmla="*/ -807 w 47356"/>
                  <a:gd name="connsiteY4" fmla="*/ 760 h 459909"/>
                  <a:gd name="connsiteX5" fmla="*/ 15919 w 47356"/>
                  <a:gd name="connsiteY5" fmla="*/ -467 h 459909"/>
                  <a:gd name="connsiteX6" fmla="*/ 15919 w 47356"/>
                  <a:gd name="connsiteY6" fmla="*/ 6670 h 459909"/>
                  <a:gd name="connsiteX7" fmla="*/ 46528 w 47356"/>
                  <a:gd name="connsiteY7" fmla="*/ 450523 h 459909"/>
                  <a:gd name="connsiteX8" fmla="*/ 38778 w 47356"/>
                  <a:gd name="connsiteY8" fmla="*/ 459443 h 45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56" h="459909">
                    <a:moveTo>
                      <a:pt x="38221" y="459387"/>
                    </a:moveTo>
                    <a:cubicBezTo>
                      <a:pt x="33816" y="459387"/>
                      <a:pt x="30192" y="455986"/>
                      <a:pt x="29858" y="451582"/>
                    </a:cubicBezTo>
                    <a:lnTo>
                      <a:pt x="-807" y="7283"/>
                    </a:lnTo>
                    <a:lnTo>
                      <a:pt x="-807" y="6335"/>
                    </a:lnTo>
                    <a:lnTo>
                      <a:pt x="-807" y="760"/>
                    </a:lnTo>
                    <a:lnTo>
                      <a:pt x="15919" y="-467"/>
                    </a:lnTo>
                    <a:lnTo>
                      <a:pt x="15919" y="6670"/>
                    </a:lnTo>
                    <a:lnTo>
                      <a:pt x="46528" y="450523"/>
                    </a:lnTo>
                    <a:cubicBezTo>
                      <a:pt x="46862" y="455150"/>
                      <a:pt x="43405" y="459108"/>
                      <a:pt x="38778" y="459443"/>
                    </a:cubicBezTo>
                    <a:close/>
                  </a:path>
                </a:pathLst>
              </a:custGeom>
              <a:solidFill>
                <a:srgbClr val="30373B"/>
              </a:solidFill>
              <a:ln w="5573" cap="flat">
                <a:noFill/>
                <a:prstDash val="solid"/>
                <a:miter/>
              </a:ln>
            </p:spPr>
            <p:txBody>
              <a:bodyPr rtlCol="0" anchor="ctr"/>
              <a:lstStyle/>
              <a:p>
                <a:endParaRPr lang="en-GB"/>
              </a:p>
            </p:txBody>
          </p:sp>
          <p:sp>
            <p:nvSpPr>
              <p:cNvPr id="116" name="Graphic 6">
                <a:extLst>
                  <a:ext uri="{FF2B5EF4-FFF2-40B4-BE49-F238E27FC236}">
                    <a16:creationId xmlns:a16="http://schemas.microsoft.com/office/drawing/2014/main" id="{8EC854DA-7E22-0704-94E0-42F0F2108702}"/>
                  </a:ext>
                </a:extLst>
              </p:cNvPr>
              <p:cNvSpPr/>
              <p:nvPr/>
            </p:nvSpPr>
            <p:spPr>
              <a:xfrm>
                <a:off x="9507173" y="5866671"/>
                <a:ext cx="24313" cy="409514"/>
              </a:xfrm>
              <a:custGeom>
                <a:avLst/>
                <a:gdLst>
                  <a:gd name="connsiteX0" fmla="*/ 15141 w 24313"/>
                  <a:gd name="connsiteY0" fmla="*/ 409048 h 409514"/>
                  <a:gd name="connsiteX1" fmla="*/ 6834 w 24313"/>
                  <a:gd name="connsiteY1" fmla="*/ 400852 h 409514"/>
                  <a:gd name="connsiteX2" fmla="*/ -804 w 24313"/>
                  <a:gd name="connsiteY2" fmla="*/ 8069 h 409514"/>
                  <a:gd name="connsiteX3" fmla="*/ 7391 w 24313"/>
                  <a:gd name="connsiteY3" fmla="*/ -461 h 409514"/>
                  <a:gd name="connsiteX4" fmla="*/ 7391 w 24313"/>
                  <a:gd name="connsiteY4" fmla="*/ -461 h 409514"/>
                  <a:gd name="connsiteX5" fmla="*/ 15866 w 24313"/>
                  <a:gd name="connsiteY5" fmla="*/ 7456 h 409514"/>
                  <a:gd name="connsiteX6" fmla="*/ 15866 w 24313"/>
                  <a:gd name="connsiteY6" fmla="*/ 7734 h 409514"/>
                  <a:gd name="connsiteX7" fmla="*/ 23504 w 24313"/>
                  <a:gd name="connsiteY7" fmla="*/ 400518 h 409514"/>
                  <a:gd name="connsiteX8" fmla="*/ 15420 w 24313"/>
                  <a:gd name="connsiteY8" fmla="*/ 409048 h 409514"/>
                  <a:gd name="connsiteX9" fmla="*/ 15309 w 24313"/>
                  <a:gd name="connsiteY9" fmla="*/ 409048 h 40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13" h="409514">
                    <a:moveTo>
                      <a:pt x="15141" y="409048"/>
                    </a:moveTo>
                    <a:cubicBezTo>
                      <a:pt x="10569" y="409048"/>
                      <a:pt x="6890" y="405424"/>
                      <a:pt x="6834" y="400852"/>
                    </a:cubicBezTo>
                    <a:lnTo>
                      <a:pt x="-804" y="8069"/>
                    </a:lnTo>
                    <a:cubicBezTo>
                      <a:pt x="-916" y="3442"/>
                      <a:pt x="2764" y="-350"/>
                      <a:pt x="7391" y="-461"/>
                    </a:cubicBezTo>
                    <a:cubicBezTo>
                      <a:pt x="7391" y="-461"/>
                      <a:pt x="7391" y="-461"/>
                      <a:pt x="7391" y="-461"/>
                    </a:cubicBezTo>
                    <a:cubicBezTo>
                      <a:pt x="11908" y="-629"/>
                      <a:pt x="15699" y="2940"/>
                      <a:pt x="15866" y="7456"/>
                    </a:cubicBezTo>
                    <a:cubicBezTo>
                      <a:pt x="15866" y="7568"/>
                      <a:pt x="15866" y="7624"/>
                      <a:pt x="15866" y="7734"/>
                    </a:cubicBezTo>
                    <a:lnTo>
                      <a:pt x="23504" y="400518"/>
                    </a:lnTo>
                    <a:cubicBezTo>
                      <a:pt x="23616" y="405089"/>
                      <a:pt x="19992" y="408936"/>
                      <a:pt x="15420" y="409048"/>
                    </a:cubicBezTo>
                    <a:cubicBezTo>
                      <a:pt x="15364" y="409048"/>
                      <a:pt x="15364" y="409048"/>
                      <a:pt x="15309" y="409048"/>
                    </a:cubicBezTo>
                    <a:close/>
                  </a:path>
                </a:pathLst>
              </a:custGeom>
              <a:solidFill>
                <a:srgbClr val="30373B"/>
              </a:solidFill>
              <a:ln w="5573" cap="flat">
                <a:noFill/>
                <a:prstDash val="solid"/>
                <a:miter/>
              </a:ln>
            </p:spPr>
            <p:txBody>
              <a:bodyPr rtlCol="0" anchor="ctr"/>
              <a:lstStyle/>
              <a:p>
                <a:endParaRPr lang="en-GB"/>
              </a:p>
            </p:txBody>
          </p:sp>
          <p:sp>
            <p:nvSpPr>
              <p:cNvPr id="117" name="Graphic 6">
                <a:extLst>
                  <a:ext uri="{FF2B5EF4-FFF2-40B4-BE49-F238E27FC236}">
                    <a16:creationId xmlns:a16="http://schemas.microsoft.com/office/drawing/2014/main" id="{15FD71FF-E047-7449-0456-6F342A379FAA}"/>
                  </a:ext>
                </a:extLst>
              </p:cNvPr>
              <p:cNvSpPr/>
              <p:nvPr/>
            </p:nvSpPr>
            <p:spPr>
              <a:xfrm>
                <a:off x="7035611" y="2582920"/>
                <a:ext cx="46500" cy="522068"/>
              </a:xfrm>
              <a:custGeom>
                <a:avLst/>
                <a:gdLst>
                  <a:gd name="connsiteX0" fmla="*/ 7572 w 46500"/>
                  <a:gd name="connsiteY0" fmla="*/ 521601 h 522068"/>
                  <a:gd name="connsiteX1" fmla="*/ 7015 w 46500"/>
                  <a:gd name="connsiteY1" fmla="*/ 521601 h 522068"/>
                  <a:gd name="connsiteX2" fmla="*/ -791 w 46500"/>
                  <a:gd name="connsiteY2" fmla="*/ 512680 h 522068"/>
                  <a:gd name="connsiteX3" fmla="*/ 28870 w 46500"/>
                  <a:gd name="connsiteY3" fmla="*/ 83379 h 522068"/>
                  <a:gd name="connsiteX4" fmla="*/ 23685 w 46500"/>
                  <a:gd name="connsiteY4" fmla="*/ 8502 h 522068"/>
                  <a:gd name="connsiteX5" fmla="*/ 31490 w 46500"/>
                  <a:gd name="connsiteY5" fmla="*/ -446 h 522068"/>
                  <a:gd name="connsiteX6" fmla="*/ 40411 w 46500"/>
                  <a:gd name="connsiteY6" fmla="*/ 7332 h 522068"/>
                  <a:gd name="connsiteX7" fmla="*/ 45652 w 46500"/>
                  <a:gd name="connsiteY7" fmla="*/ 82766 h 522068"/>
                  <a:gd name="connsiteX8" fmla="*/ 45652 w 46500"/>
                  <a:gd name="connsiteY8" fmla="*/ 83937 h 522068"/>
                  <a:gd name="connsiteX9" fmla="*/ 16047 w 46500"/>
                  <a:gd name="connsiteY9" fmla="*/ 513851 h 522068"/>
                  <a:gd name="connsiteX10" fmla="*/ 7572 w 46500"/>
                  <a:gd name="connsiteY10" fmla="*/ 521601 h 52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00" h="522068">
                    <a:moveTo>
                      <a:pt x="7572" y="521601"/>
                    </a:moveTo>
                    <a:lnTo>
                      <a:pt x="7015" y="521601"/>
                    </a:lnTo>
                    <a:cubicBezTo>
                      <a:pt x="2387" y="521272"/>
                      <a:pt x="-1069" y="517291"/>
                      <a:pt x="-791" y="512680"/>
                    </a:cubicBezTo>
                    <a:lnTo>
                      <a:pt x="28870" y="83379"/>
                    </a:lnTo>
                    <a:lnTo>
                      <a:pt x="23685" y="8502"/>
                    </a:lnTo>
                    <a:cubicBezTo>
                      <a:pt x="23351" y="3886"/>
                      <a:pt x="26863" y="-123"/>
                      <a:pt x="31490" y="-446"/>
                    </a:cubicBezTo>
                    <a:cubicBezTo>
                      <a:pt x="36062" y="-769"/>
                      <a:pt x="40077" y="2715"/>
                      <a:pt x="40411" y="7332"/>
                    </a:cubicBezTo>
                    <a:lnTo>
                      <a:pt x="45652" y="82766"/>
                    </a:lnTo>
                    <a:cubicBezTo>
                      <a:pt x="45707" y="83156"/>
                      <a:pt x="45707" y="83547"/>
                      <a:pt x="45652" y="83937"/>
                    </a:cubicBezTo>
                    <a:lnTo>
                      <a:pt x="16047" y="513851"/>
                    </a:lnTo>
                    <a:cubicBezTo>
                      <a:pt x="15712" y="518273"/>
                      <a:pt x="12033" y="521674"/>
                      <a:pt x="7572" y="521601"/>
                    </a:cubicBezTo>
                    <a:close/>
                  </a:path>
                </a:pathLst>
              </a:custGeom>
              <a:solidFill>
                <a:srgbClr val="30373B"/>
              </a:solidFill>
              <a:ln w="5573" cap="flat">
                <a:noFill/>
                <a:prstDash val="solid"/>
                <a:miter/>
              </a:ln>
            </p:spPr>
            <p:txBody>
              <a:bodyPr rtlCol="0" anchor="ctr"/>
              <a:lstStyle/>
              <a:p>
                <a:endParaRPr lang="en-GB"/>
              </a:p>
            </p:txBody>
          </p:sp>
          <p:sp>
            <p:nvSpPr>
              <p:cNvPr id="118" name="Graphic 6">
                <a:extLst>
                  <a:ext uri="{FF2B5EF4-FFF2-40B4-BE49-F238E27FC236}">
                    <a16:creationId xmlns:a16="http://schemas.microsoft.com/office/drawing/2014/main" id="{0DD9E0FF-AD39-1C7A-40A8-7A8517F62713}"/>
                  </a:ext>
                </a:extLst>
              </p:cNvPr>
              <p:cNvSpPr/>
              <p:nvPr/>
            </p:nvSpPr>
            <p:spPr>
              <a:xfrm>
                <a:off x="6829373" y="2414761"/>
                <a:ext cx="191145" cy="368195"/>
              </a:xfrm>
              <a:custGeom>
                <a:avLst/>
                <a:gdLst>
                  <a:gd name="connsiteX0" fmla="*/ 17893 w 191145"/>
                  <a:gd name="connsiteY0" fmla="*/ 367729 h 368195"/>
                  <a:gd name="connsiteX1" fmla="*/ 9586 w 191145"/>
                  <a:gd name="connsiteY1" fmla="*/ 360481 h 368195"/>
                  <a:gd name="connsiteX2" fmla="*/ -561 w 191145"/>
                  <a:gd name="connsiteY2" fmla="*/ 257337 h 368195"/>
                  <a:gd name="connsiteX3" fmla="*/ 107879 w 191145"/>
                  <a:gd name="connsiteY3" fmla="*/ -467 h 368195"/>
                  <a:gd name="connsiteX4" fmla="*/ 181976 w 191145"/>
                  <a:gd name="connsiteY4" fmla="*/ -467 h 368195"/>
                  <a:gd name="connsiteX5" fmla="*/ 190339 w 191145"/>
                  <a:gd name="connsiteY5" fmla="*/ 7896 h 368195"/>
                  <a:gd name="connsiteX6" fmla="*/ 181976 w 191145"/>
                  <a:gd name="connsiteY6" fmla="*/ 16259 h 368195"/>
                  <a:gd name="connsiteX7" fmla="*/ 109161 w 191145"/>
                  <a:gd name="connsiteY7" fmla="*/ 16259 h 368195"/>
                  <a:gd name="connsiteX8" fmla="*/ 24974 w 191145"/>
                  <a:gd name="connsiteY8" fmla="*/ 138527 h 368195"/>
                  <a:gd name="connsiteX9" fmla="*/ 16221 w 191145"/>
                  <a:gd name="connsiteY9" fmla="*/ 257337 h 368195"/>
                  <a:gd name="connsiteX10" fmla="*/ 16221 w 191145"/>
                  <a:gd name="connsiteY10" fmla="*/ 259177 h 368195"/>
                  <a:gd name="connsiteX11" fmla="*/ 26368 w 191145"/>
                  <a:gd name="connsiteY11" fmla="*/ 358195 h 368195"/>
                  <a:gd name="connsiteX12" fmla="*/ 19231 w 191145"/>
                  <a:gd name="connsiteY12" fmla="*/ 367612 h 368195"/>
                  <a:gd name="connsiteX13" fmla="*/ 19175 w 191145"/>
                  <a:gd name="connsiteY13" fmla="*/ 367617 h 3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145" h="368195">
                    <a:moveTo>
                      <a:pt x="17893" y="367729"/>
                    </a:moveTo>
                    <a:cubicBezTo>
                      <a:pt x="13711" y="367712"/>
                      <a:pt x="10143" y="364623"/>
                      <a:pt x="9586" y="360481"/>
                    </a:cubicBezTo>
                    <a:cubicBezTo>
                      <a:pt x="7579" y="345762"/>
                      <a:pt x="-2178" y="273060"/>
                      <a:pt x="-561" y="257337"/>
                    </a:cubicBezTo>
                    <a:cubicBezTo>
                      <a:pt x="-1174" y="239886"/>
                      <a:pt x="-7419" y="11186"/>
                      <a:pt x="107879" y="-467"/>
                    </a:cubicBezTo>
                    <a:lnTo>
                      <a:pt x="181976" y="-467"/>
                    </a:lnTo>
                    <a:cubicBezTo>
                      <a:pt x="186603" y="-467"/>
                      <a:pt x="190339" y="3280"/>
                      <a:pt x="190339" y="7896"/>
                    </a:cubicBezTo>
                    <a:cubicBezTo>
                      <a:pt x="190339" y="12513"/>
                      <a:pt x="186603" y="16259"/>
                      <a:pt x="181976" y="16259"/>
                    </a:cubicBezTo>
                    <a:lnTo>
                      <a:pt x="109161" y="16259"/>
                    </a:lnTo>
                    <a:cubicBezTo>
                      <a:pt x="57367" y="21835"/>
                      <a:pt x="34786" y="85784"/>
                      <a:pt x="24974" y="138527"/>
                    </a:cubicBezTo>
                    <a:cubicBezTo>
                      <a:pt x="18116" y="177743"/>
                      <a:pt x="15217" y="217540"/>
                      <a:pt x="16221" y="257337"/>
                    </a:cubicBezTo>
                    <a:cubicBezTo>
                      <a:pt x="16277" y="257950"/>
                      <a:pt x="16277" y="258563"/>
                      <a:pt x="16221" y="259177"/>
                    </a:cubicBezTo>
                    <a:cubicBezTo>
                      <a:pt x="14994" y="266146"/>
                      <a:pt x="20402" y="314930"/>
                      <a:pt x="26368" y="358195"/>
                    </a:cubicBezTo>
                    <a:cubicBezTo>
                      <a:pt x="26981" y="362772"/>
                      <a:pt x="23803" y="366987"/>
                      <a:pt x="19231" y="367612"/>
                    </a:cubicBezTo>
                    <a:cubicBezTo>
                      <a:pt x="19175" y="367612"/>
                      <a:pt x="19175" y="367617"/>
                      <a:pt x="19175" y="367617"/>
                    </a:cubicBezTo>
                    <a:close/>
                  </a:path>
                </a:pathLst>
              </a:custGeom>
              <a:solidFill>
                <a:srgbClr val="30373B"/>
              </a:solidFill>
              <a:ln w="5573" cap="flat">
                <a:noFill/>
                <a:prstDash val="solid"/>
                <a:miter/>
              </a:ln>
            </p:spPr>
            <p:txBody>
              <a:bodyPr rtlCol="0" anchor="ctr"/>
              <a:lstStyle/>
              <a:p>
                <a:endParaRPr lang="en-GB"/>
              </a:p>
            </p:txBody>
          </p:sp>
          <p:sp>
            <p:nvSpPr>
              <p:cNvPr id="119" name="Graphic 6">
                <a:extLst>
                  <a:ext uri="{FF2B5EF4-FFF2-40B4-BE49-F238E27FC236}">
                    <a16:creationId xmlns:a16="http://schemas.microsoft.com/office/drawing/2014/main" id="{B0DC7713-DB5D-7AD4-4ED1-9B54C81884D8}"/>
                  </a:ext>
                </a:extLst>
              </p:cNvPr>
              <p:cNvSpPr/>
              <p:nvPr/>
            </p:nvSpPr>
            <p:spPr>
              <a:xfrm>
                <a:off x="6881436" y="2252854"/>
                <a:ext cx="148082" cy="178857"/>
              </a:xfrm>
              <a:custGeom>
                <a:avLst/>
                <a:gdLst>
                  <a:gd name="connsiteX0" fmla="*/ 90383 w 148082"/>
                  <a:gd name="connsiteY0" fmla="*/ 178389 h 178857"/>
                  <a:gd name="connsiteX1" fmla="*/ 9708 w 148082"/>
                  <a:gd name="connsiteY1" fmla="*/ 113604 h 178857"/>
                  <a:gd name="connsiteX2" fmla="*/ 4801 w 148082"/>
                  <a:gd name="connsiteY2" fmla="*/ 40009 h 178857"/>
                  <a:gd name="connsiteX3" fmla="*/ 100920 w 148082"/>
                  <a:gd name="connsiteY3" fmla="*/ 6557 h 178857"/>
                  <a:gd name="connsiteX4" fmla="*/ 143014 w 148082"/>
                  <a:gd name="connsiteY4" fmla="*/ 67161 h 178857"/>
                  <a:gd name="connsiteX5" fmla="*/ 146917 w 148082"/>
                  <a:gd name="connsiteY5" fmla="*/ 110091 h 178857"/>
                  <a:gd name="connsiteX6" fmla="*/ 137829 w 148082"/>
                  <a:gd name="connsiteY6" fmla="*/ 117757 h 178857"/>
                  <a:gd name="connsiteX7" fmla="*/ 130191 w 148082"/>
                  <a:gd name="connsiteY7" fmla="*/ 108697 h 178857"/>
                  <a:gd name="connsiteX8" fmla="*/ 126734 w 148082"/>
                  <a:gd name="connsiteY8" fmla="*/ 71287 h 178857"/>
                  <a:gd name="connsiteX9" fmla="*/ 93282 w 148082"/>
                  <a:gd name="connsiteY9" fmla="*/ 21109 h 178857"/>
                  <a:gd name="connsiteX10" fmla="*/ 20357 w 148082"/>
                  <a:gd name="connsiteY10" fmla="*/ 46588 h 178857"/>
                  <a:gd name="connsiteX11" fmla="*/ 25207 w 148082"/>
                  <a:gd name="connsiteY11" fmla="*/ 106746 h 178857"/>
                  <a:gd name="connsiteX12" fmla="*/ 100976 w 148082"/>
                  <a:gd name="connsiteY12" fmla="*/ 159935 h 178857"/>
                  <a:gd name="connsiteX13" fmla="*/ 111625 w 148082"/>
                  <a:gd name="connsiteY13" fmla="*/ 165036 h 178857"/>
                  <a:gd name="connsiteX14" fmla="*/ 106551 w 148082"/>
                  <a:gd name="connsiteY14" fmla="*/ 175713 h 178857"/>
                  <a:gd name="connsiteX15" fmla="*/ 90383 w 148082"/>
                  <a:gd name="connsiteY15" fmla="*/ 178389 h 17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082" h="178857">
                    <a:moveTo>
                      <a:pt x="90383" y="178389"/>
                    </a:moveTo>
                    <a:cubicBezTo>
                      <a:pt x="58269" y="178389"/>
                      <a:pt x="25151" y="147781"/>
                      <a:pt x="9708" y="113604"/>
                    </a:cubicBezTo>
                    <a:cubicBezTo>
                      <a:pt x="-2335" y="86954"/>
                      <a:pt x="-4119" y="60805"/>
                      <a:pt x="4801" y="40009"/>
                    </a:cubicBezTo>
                    <a:cubicBezTo>
                      <a:pt x="22308" y="4455"/>
                      <a:pt x="65127" y="-10442"/>
                      <a:pt x="100920" y="6557"/>
                    </a:cubicBezTo>
                    <a:cubicBezTo>
                      <a:pt x="120880" y="17262"/>
                      <a:pt x="135822" y="38783"/>
                      <a:pt x="143014" y="67161"/>
                    </a:cubicBezTo>
                    <a:cubicBezTo>
                      <a:pt x="146694" y="81155"/>
                      <a:pt x="147976" y="95662"/>
                      <a:pt x="146917" y="110091"/>
                    </a:cubicBezTo>
                    <a:cubicBezTo>
                      <a:pt x="146527" y="114708"/>
                      <a:pt x="142457" y="118142"/>
                      <a:pt x="137829" y="117757"/>
                    </a:cubicBezTo>
                    <a:cubicBezTo>
                      <a:pt x="133257" y="117373"/>
                      <a:pt x="129801" y="113314"/>
                      <a:pt x="130191" y="108697"/>
                    </a:cubicBezTo>
                    <a:cubicBezTo>
                      <a:pt x="131083" y="96119"/>
                      <a:pt x="129968" y="83480"/>
                      <a:pt x="126734" y="71287"/>
                    </a:cubicBezTo>
                    <a:cubicBezTo>
                      <a:pt x="120713" y="47480"/>
                      <a:pt x="108726" y="29751"/>
                      <a:pt x="93282" y="21109"/>
                    </a:cubicBezTo>
                    <a:cubicBezTo>
                      <a:pt x="66074" y="8659"/>
                      <a:pt x="33905" y="19905"/>
                      <a:pt x="20357" y="46588"/>
                    </a:cubicBezTo>
                    <a:cubicBezTo>
                      <a:pt x="13387" y="63035"/>
                      <a:pt x="15060" y="84389"/>
                      <a:pt x="25207" y="106746"/>
                    </a:cubicBezTo>
                    <a:cubicBezTo>
                      <a:pt x="45501" y="151628"/>
                      <a:pt x="82299" y="166514"/>
                      <a:pt x="100976" y="159935"/>
                    </a:cubicBezTo>
                    <a:cubicBezTo>
                      <a:pt x="105325" y="158396"/>
                      <a:pt x="110119" y="160682"/>
                      <a:pt x="111625" y="165036"/>
                    </a:cubicBezTo>
                    <a:cubicBezTo>
                      <a:pt x="113186" y="169396"/>
                      <a:pt x="110900" y="174174"/>
                      <a:pt x="106551" y="175713"/>
                    </a:cubicBezTo>
                    <a:cubicBezTo>
                      <a:pt x="101366" y="177525"/>
                      <a:pt x="95903" y="178434"/>
                      <a:pt x="90383" y="178389"/>
                    </a:cubicBezTo>
                    <a:close/>
                  </a:path>
                </a:pathLst>
              </a:custGeom>
              <a:solidFill>
                <a:srgbClr val="30373B"/>
              </a:solidFill>
              <a:ln w="5573" cap="flat">
                <a:noFill/>
                <a:prstDash val="solid"/>
                <a:miter/>
              </a:ln>
            </p:spPr>
            <p:txBody>
              <a:bodyPr rtlCol="0" anchor="ctr"/>
              <a:lstStyle/>
              <a:p>
                <a:endParaRPr lang="en-GB"/>
              </a:p>
            </p:txBody>
          </p:sp>
          <p:sp>
            <p:nvSpPr>
              <p:cNvPr id="120" name="Graphic 6">
                <a:extLst>
                  <a:ext uri="{FF2B5EF4-FFF2-40B4-BE49-F238E27FC236}">
                    <a16:creationId xmlns:a16="http://schemas.microsoft.com/office/drawing/2014/main" id="{2D30F67A-F440-AE2A-92CC-93555AD84E15}"/>
                  </a:ext>
                </a:extLst>
              </p:cNvPr>
              <p:cNvSpPr/>
              <p:nvPr/>
            </p:nvSpPr>
            <p:spPr>
              <a:xfrm>
                <a:off x="6885929" y="2591630"/>
                <a:ext cx="46799" cy="517483"/>
              </a:xfrm>
              <a:custGeom>
                <a:avLst/>
                <a:gdLst>
                  <a:gd name="connsiteX0" fmla="*/ 37496 w 46799"/>
                  <a:gd name="connsiteY0" fmla="*/ 517016 h 517483"/>
                  <a:gd name="connsiteX1" fmla="*/ 29133 w 46799"/>
                  <a:gd name="connsiteY1" fmla="*/ 509211 h 517483"/>
                  <a:gd name="connsiteX2" fmla="*/ -807 w 46799"/>
                  <a:gd name="connsiteY2" fmla="*/ 74836 h 517483"/>
                  <a:gd name="connsiteX3" fmla="*/ -807 w 46799"/>
                  <a:gd name="connsiteY3" fmla="*/ 73889 h 517483"/>
                  <a:gd name="connsiteX4" fmla="*/ 2148 w 46799"/>
                  <a:gd name="connsiteY4" fmla="*/ 7542 h 517483"/>
                  <a:gd name="connsiteX5" fmla="*/ 10846 w 46799"/>
                  <a:gd name="connsiteY5" fmla="*/ -459 h 517483"/>
                  <a:gd name="connsiteX6" fmla="*/ 18874 w 46799"/>
                  <a:gd name="connsiteY6" fmla="*/ 8267 h 517483"/>
                  <a:gd name="connsiteX7" fmla="*/ 15975 w 46799"/>
                  <a:gd name="connsiteY7" fmla="*/ 74167 h 517483"/>
                  <a:gd name="connsiteX8" fmla="*/ 45971 w 46799"/>
                  <a:gd name="connsiteY8" fmla="*/ 508040 h 517483"/>
                  <a:gd name="connsiteX9" fmla="*/ 38221 w 46799"/>
                  <a:gd name="connsiteY9" fmla="*/ 516961 h 517483"/>
                  <a:gd name="connsiteX10" fmla="*/ 38165 w 46799"/>
                  <a:gd name="connsiteY10" fmla="*/ 516961 h 51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9" h="517483">
                    <a:moveTo>
                      <a:pt x="37496" y="517016"/>
                    </a:moveTo>
                    <a:cubicBezTo>
                      <a:pt x="33091" y="517000"/>
                      <a:pt x="29468" y="513599"/>
                      <a:pt x="29133" y="509211"/>
                    </a:cubicBezTo>
                    <a:lnTo>
                      <a:pt x="-807" y="74836"/>
                    </a:lnTo>
                    <a:cubicBezTo>
                      <a:pt x="-807" y="74518"/>
                      <a:pt x="-807" y="74206"/>
                      <a:pt x="-807" y="73889"/>
                    </a:cubicBezTo>
                    <a:lnTo>
                      <a:pt x="2148" y="7542"/>
                    </a:lnTo>
                    <a:cubicBezTo>
                      <a:pt x="2371" y="2925"/>
                      <a:pt x="6274" y="-660"/>
                      <a:pt x="10846" y="-459"/>
                    </a:cubicBezTo>
                    <a:cubicBezTo>
                      <a:pt x="15474" y="-258"/>
                      <a:pt x="19097" y="3650"/>
                      <a:pt x="18874" y="8267"/>
                    </a:cubicBezTo>
                    <a:lnTo>
                      <a:pt x="15975" y="74167"/>
                    </a:lnTo>
                    <a:lnTo>
                      <a:pt x="45971" y="508040"/>
                    </a:lnTo>
                    <a:cubicBezTo>
                      <a:pt x="46305" y="512645"/>
                      <a:pt x="42792" y="516643"/>
                      <a:pt x="38221" y="516961"/>
                    </a:cubicBezTo>
                    <a:cubicBezTo>
                      <a:pt x="38165" y="516961"/>
                      <a:pt x="38165" y="516961"/>
                      <a:pt x="38165" y="516961"/>
                    </a:cubicBezTo>
                    <a:close/>
                  </a:path>
                </a:pathLst>
              </a:custGeom>
              <a:solidFill>
                <a:srgbClr val="30373B"/>
              </a:solidFill>
              <a:ln w="5573" cap="flat">
                <a:noFill/>
                <a:prstDash val="solid"/>
                <a:miter/>
              </a:ln>
            </p:spPr>
            <p:txBody>
              <a:bodyPr rtlCol="0" anchor="ctr"/>
              <a:lstStyle/>
              <a:p>
                <a:endParaRPr lang="en-GB"/>
              </a:p>
            </p:txBody>
          </p:sp>
          <p:sp>
            <p:nvSpPr>
              <p:cNvPr id="121" name="Graphic 6">
                <a:extLst>
                  <a:ext uri="{FF2B5EF4-FFF2-40B4-BE49-F238E27FC236}">
                    <a16:creationId xmlns:a16="http://schemas.microsoft.com/office/drawing/2014/main" id="{6B0615C6-1DD8-1E01-36D4-7753BE4FE07C}"/>
                  </a:ext>
                </a:extLst>
              </p:cNvPr>
              <p:cNvSpPr/>
              <p:nvPr/>
            </p:nvSpPr>
            <p:spPr>
              <a:xfrm>
                <a:off x="6853176" y="2399739"/>
                <a:ext cx="234981" cy="190421"/>
              </a:xfrm>
              <a:custGeom>
                <a:avLst/>
                <a:gdLst>
                  <a:gd name="connsiteX0" fmla="*/ 125501 w 234981"/>
                  <a:gd name="connsiteY0" fmla="*/ 189955 h 190421"/>
                  <a:gd name="connsiteX1" fmla="*/ 101638 w 234981"/>
                  <a:gd name="connsiteY1" fmla="*/ 185774 h 190421"/>
                  <a:gd name="connsiteX2" fmla="*/ -669 w 234981"/>
                  <a:gd name="connsiteY2" fmla="*/ 9537 h 190421"/>
                  <a:gd name="connsiteX3" fmla="*/ 6188 w 234981"/>
                  <a:gd name="connsiteY3" fmla="*/ -331 h 190421"/>
                  <a:gd name="connsiteX4" fmla="*/ 16057 w 234981"/>
                  <a:gd name="connsiteY4" fmla="*/ 6526 h 190421"/>
                  <a:gd name="connsiteX5" fmla="*/ 107548 w 234981"/>
                  <a:gd name="connsiteY5" fmla="*/ 170051 h 190421"/>
                  <a:gd name="connsiteX6" fmla="*/ 184878 w 234981"/>
                  <a:gd name="connsiteY6" fmla="*/ 146356 h 190421"/>
                  <a:gd name="connsiteX7" fmla="*/ 214204 w 234981"/>
                  <a:gd name="connsiteY7" fmla="*/ 70085 h 190421"/>
                  <a:gd name="connsiteX8" fmla="*/ 158451 w 234981"/>
                  <a:gd name="connsiteY8" fmla="*/ 31337 h 190421"/>
                  <a:gd name="connsiteX9" fmla="*/ 150088 w 234981"/>
                  <a:gd name="connsiteY9" fmla="*/ 22974 h 190421"/>
                  <a:gd name="connsiteX10" fmla="*/ 158451 w 234981"/>
                  <a:gd name="connsiteY10" fmla="*/ 14611 h 190421"/>
                  <a:gd name="connsiteX11" fmla="*/ 229871 w 234981"/>
                  <a:gd name="connsiteY11" fmla="*/ 64343 h 190421"/>
                  <a:gd name="connsiteX12" fmla="*/ 195694 w 234981"/>
                  <a:gd name="connsiteY12" fmla="*/ 159124 h 190421"/>
                  <a:gd name="connsiteX13" fmla="*/ 125501 w 234981"/>
                  <a:gd name="connsiteY13" fmla="*/ 189955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981" h="190421">
                    <a:moveTo>
                      <a:pt x="125501" y="189955"/>
                    </a:moveTo>
                    <a:cubicBezTo>
                      <a:pt x="117360" y="189950"/>
                      <a:pt x="109276" y="188539"/>
                      <a:pt x="101638" y="185774"/>
                    </a:cubicBezTo>
                    <a:cubicBezTo>
                      <a:pt x="27932" y="159458"/>
                      <a:pt x="501" y="15670"/>
                      <a:pt x="-669" y="9537"/>
                    </a:cubicBezTo>
                    <a:cubicBezTo>
                      <a:pt x="-1506" y="4921"/>
                      <a:pt x="1561" y="499"/>
                      <a:pt x="6188" y="-331"/>
                    </a:cubicBezTo>
                    <a:cubicBezTo>
                      <a:pt x="10816" y="-1162"/>
                      <a:pt x="15220" y="1910"/>
                      <a:pt x="16057" y="6526"/>
                    </a:cubicBezTo>
                    <a:cubicBezTo>
                      <a:pt x="16057" y="7920"/>
                      <a:pt x="42874" y="146969"/>
                      <a:pt x="107548" y="170051"/>
                    </a:cubicBezTo>
                    <a:cubicBezTo>
                      <a:pt x="130519" y="178247"/>
                      <a:pt x="156555" y="170051"/>
                      <a:pt x="184878" y="146356"/>
                    </a:cubicBezTo>
                    <a:cubicBezTo>
                      <a:pt x="213201" y="122661"/>
                      <a:pt x="223348" y="95119"/>
                      <a:pt x="214204" y="70085"/>
                    </a:cubicBezTo>
                    <a:cubicBezTo>
                      <a:pt x="205339" y="46937"/>
                      <a:pt x="183261" y="31560"/>
                      <a:pt x="158451" y="31337"/>
                    </a:cubicBezTo>
                    <a:cubicBezTo>
                      <a:pt x="153823" y="31337"/>
                      <a:pt x="150088" y="27590"/>
                      <a:pt x="150088" y="22974"/>
                    </a:cubicBezTo>
                    <a:cubicBezTo>
                      <a:pt x="150088" y="18357"/>
                      <a:pt x="153823" y="14611"/>
                      <a:pt x="158451" y="14611"/>
                    </a:cubicBezTo>
                    <a:cubicBezTo>
                      <a:pt x="190230" y="14917"/>
                      <a:pt x="218553" y="34648"/>
                      <a:pt x="229871" y="64343"/>
                    </a:cubicBezTo>
                    <a:cubicBezTo>
                      <a:pt x="241579" y="96345"/>
                      <a:pt x="229146" y="130912"/>
                      <a:pt x="195694" y="159124"/>
                    </a:cubicBezTo>
                    <a:cubicBezTo>
                      <a:pt x="171163" y="179641"/>
                      <a:pt x="147746" y="189916"/>
                      <a:pt x="125501" y="189955"/>
                    </a:cubicBezTo>
                    <a:close/>
                  </a:path>
                </a:pathLst>
              </a:custGeom>
              <a:solidFill>
                <a:srgbClr val="30373B"/>
              </a:solidFill>
              <a:ln w="5573" cap="flat">
                <a:noFill/>
                <a:prstDash val="solid"/>
                <a:miter/>
              </a:ln>
            </p:spPr>
            <p:txBody>
              <a:bodyPr rtlCol="0" anchor="ctr"/>
              <a:lstStyle/>
              <a:p>
                <a:endParaRPr lang="en-GB"/>
              </a:p>
            </p:txBody>
          </p:sp>
          <p:sp>
            <p:nvSpPr>
              <p:cNvPr id="122" name="Graphic 6">
                <a:extLst>
                  <a:ext uri="{FF2B5EF4-FFF2-40B4-BE49-F238E27FC236}">
                    <a16:creationId xmlns:a16="http://schemas.microsoft.com/office/drawing/2014/main" id="{19952567-3B83-D4AF-A6C9-B0095D1558FB}"/>
                  </a:ext>
                </a:extLst>
              </p:cNvPr>
              <p:cNvSpPr/>
              <p:nvPr/>
            </p:nvSpPr>
            <p:spPr>
              <a:xfrm>
                <a:off x="6623478" y="2339574"/>
                <a:ext cx="200197" cy="43295"/>
              </a:xfrm>
              <a:custGeom>
                <a:avLst/>
                <a:gdLst>
                  <a:gd name="connsiteX0" fmla="*/ 190392 w 200197"/>
                  <a:gd name="connsiteY0" fmla="*/ 42829 h 43295"/>
                  <a:gd name="connsiteX1" fmla="*/ 189221 w 200197"/>
                  <a:gd name="connsiteY1" fmla="*/ 42829 h 43295"/>
                  <a:gd name="connsiteX2" fmla="*/ 6461 w 200197"/>
                  <a:gd name="connsiteY2" fmla="*/ 16346 h 43295"/>
                  <a:gd name="connsiteX3" fmla="*/ -731 w 200197"/>
                  <a:gd name="connsiteY3" fmla="*/ 6784 h 43295"/>
                  <a:gd name="connsiteX4" fmla="*/ 8859 w 200197"/>
                  <a:gd name="connsiteY4" fmla="*/ -380 h 43295"/>
                  <a:gd name="connsiteX5" fmla="*/ 191618 w 200197"/>
                  <a:gd name="connsiteY5" fmla="*/ 26047 h 43295"/>
                  <a:gd name="connsiteX6" fmla="*/ 199368 w 200197"/>
                  <a:gd name="connsiteY6" fmla="*/ 35023 h 43295"/>
                  <a:gd name="connsiteX7" fmla="*/ 190392 w 200197"/>
                  <a:gd name="connsiteY7" fmla="*/ 42773 h 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197" h="43295">
                    <a:moveTo>
                      <a:pt x="190392" y="42829"/>
                    </a:moveTo>
                    <a:lnTo>
                      <a:pt x="189221" y="42829"/>
                    </a:lnTo>
                    <a:lnTo>
                      <a:pt x="6461" y="16346"/>
                    </a:lnTo>
                    <a:cubicBezTo>
                      <a:pt x="1834" y="15683"/>
                      <a:pt x="-1344" y="11401"/>
                      <a:pt x="-731" y="6784"/>
                    </a:cubicBezTo>
                    <a:cubicBezTo>
                      <a:pt x="-62" y="2168"/>
                      <a:pt x="4231" y="-1043"/>
                      <a:pt x="8859" y="-380"/>
                    </a:cubicBezTo>
                    <a:lnTo>
                      <a:pt x="191618" y="26047"/>
                    </a:lnTo>
                    <a:cubicBezTo>
                      <a:pt x="196246" y="26387"/>
                      <a:pt x="199703" y="30407"/>
                      <a:pt x="199368" y="35023"/>
                    </a:cubicBezTo>
                    <a:cubicBezTo>
                      <a:pt x="199034" y="39640"/>
                      <a:pt x="195020" y="43113"/>
                      <a:pt x="190392" y="42773"/>
                    </a:cubicBezTo>
                    <a:close/>
                  </a:path>
                </a:pathLst>
              </a:custGeom>
              <a:solidFill>
                <a:srgbClr val="30373B"/>
              </a:solidFill>
              <a:ln w="5573" cap="flat">
                <a:noFill/>
                <a:prstDash val="solid"/>
                <a:miter/>
              </a:ln>
            </p:spPr>
            <p:txBody>
              <a:bodyPr rtlCol="0" anchor="ctr"/>
              <a:lstStyle/>
              <a:p>
                <a:endParaRPr lang="en-GB"/>
              </a:p>
            </p:txBody>
          </p:sp>
          <p:sp>
            <p:nvSpPr>
              <p:cNvPr id="123" name="Graphic 6">
                <a:extLst>
                  <a:ext uri="{FF2B5EF4-FFF2-40B4-BE49-F238E27FC236}">
                    <a16:creationId xmlns:a16="http://schemas.microsoft.com/office/drawing/2014/main" id="{6E34AF7F-0C88-1009-1455-927DCB21F83F}"/>
                  </a:ext>
                </a:extLst>
              </p:cNvPr>
              <p:cNvSpPr/>
              <p:nvPr/>
            </p:nvSpPr>
            <p:spPr>
              <a:xfrm>
                <a:off x="6557182" y="2409840"/>
                <a:ext cx="247848" cy="150659"/>
              </a:xfrm>
              <a:custGeom>
                <a:avLst/>
                <a:gdLst>
                  <a:gd name="connsiteX0" fmla="*/ 7582 w 247848"/>
                  <a:gd name="connsiteY0" fmla="*/ 150193 h 150659"/>
                  <a:gd name="connsiteX1" fmla="*/ 333 w 247848"/>
                  <a:gd name="connsiteY1" fmla="*/ 146067 h 150659"/>
                  <a:gd name="connsiteX2" fmla="*/ 3344 w 247848"/>
                  <a:gd name="connsiteY2" fmla="*/ 134638 h 150659"/>
                  <a:gd name="connsiteX3" fmla="*/ 234219 w 247848"/>
                  <a:gd name="connsiteY3" fmla="*/ 829 h 150659"/>
                  <a:gd name="connsiteX4" fmla="*/ 245760 w 247848"/>
                  <a:gd name="connsiteY4" fmla="*/ 3428 h 150659"/>
                  <a:gd name="connsiteX5" fmla="*/ 243140 w 247848"/>
                  <a:gd name="connsiteY5" fmla="*/ 14963 h 150659"/>
                  <a:gd name="connsiteX6" fmla="*/ 242638 w 247848"/>
                  <a:gd name="connsiteY6" fmla="*/ 15270 h 150659"/>
                  <a:gd name="connsiteX7" fmla="*/ 11763 w 247848"/>
                  <a:gd name="connsiteY7" fmla="*/ 149078 h 150659"/>
                  <a:gd name="connsiteX8" fmla="*/ 7582 w 247848"/>
                  <a:gd name="connsiteY8" fmla="*/ 150193 h 15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848" h="150659">
                    <a:moveTo>
                      <a:pt x="7582" y="150193"/>
                    </a:moveTo>
                    <a:cubicBezTo>
                      <a:pt x="4627" y="150193"/>
                      <a:pt x="1839" y="148626"/>
                      <a:pt x="333" y="146067"/>
                    </a:cubicBezTo>
                    <a:cubicBezTo>
                      <a:pt x="-2008" y="142081"/>
                      <a:pt x="-615" y="136962"/>
                      <a:pt x="3344" y="134638"/>
                    </a:cubicBezTo>
                    <a:lnTo>
                      <a:pt x="234219" y="829"/>
                    </a:lnTo>
                    <a:cubicBezTo>
                      <a:pt x="238122" y="-1640"/>
                      <a:pt x="243307" y="-475"/>
                      <a:pt x="245760" y="3428"/>
                    </a:cubicBezTo>
                    <a:cubicBezTo>
                      <a:pt x="248213" y="7330"/>
                      <a:pt x="247042" y="12493"/>
                      <a:pt x="243140" y="14963"/>
                    </a:cubicBezTo>
                    <a:cubicBezTo>
                      <a:pt x="242972" y="15074"/>
                      <a:pt x="242805" y="15175"/>
                      <a:pt x="242638" y="15270"/>
                    </a:cubicBezTo>
                    <a:lnTo>
                      <a:pt x="11763" y="149078"/>
                    </a:lnTo>
                    <a:cubicBezTo>
                      <a:pt x="10480" y="149814"/>
                      <a:pt x="9031" y="150198"/>
                      <a:pt x="7582" y="150193"/>
                    </a:cubicBezTo>
                    <a:close/>
                  </a:path>
                </a:pathLst>
              </a:custGeom>
              <a:solidFill>
                <a:srgbClr val="30373B"/>
              </a:solidFill>
              <a:ln w="5573" cap="flat">
                <a:noFill/>
                <a:prstDash val="solid"/>
                <a:miter/>
              </a:ln>
            </p:spPr>
            <p:txBody>
              <a:bodyPr rtlCol="0" anchor="ctr"/>
              <a:lstStyle/>
              <a:p>
                <a:endParaRPr lang="en-GB"/>
              </a:p>
            </p:txBody>
          </p:sp>
          <p:sp>
            <p:nvSpPr>
              <p:cNvPr id="124" name="Graphic 6">
                <a:extLst>
                  <a:ext uri="{FF2B5EF4-FFF2-40B4-BE49-F238E27FC236}">
                    <a16:creationId xmlns:a16="http://schemas.microsoft.com/office/drawing/2014/main" id="{D13488E9-81DA-20E4-AE14-D6A80071DE60}"/>
                  </a:ext>
                </a:extLst>
              </p:cNvPr>
              <p:cNvSpPr/>
              <p:nvPr/>
            </p:nvSpPr>
            <p:spPr>
              <a:xfrm>
                <a:off x="6684900" y="2446293"/>
                <a:ext cx="157626" cy="250969"/>
              </a:xfrm>
              <a:custGeom>
                <a:avLst/>
                <a:gdLst>
                  <a:gd name="connsiteX0" fmla="*/ 7538 w 157626"/>
                  <a:gd name="connsiteY0" fmla="*/ 250503 h 250969"/>
                  <a:gd name="connsiteX1" fmla="*/ 3246 w 157626"/>
                  <a:gd name="connsiteY1" fmla="*/ 249276 h 250969"/>
                  <a:gd name="connsiteX2" fmla="*/ 402 w 157626"/>
                  <a:gd name="connsiteY2" fmla="*/ 237797 h 250969"/>
                  <a:gd name="connsiteX3" fmla="*/ 402 w 157626"/>
                  <a:gd name="connsiteY3" fmla="*/ 237791 h 250969"/>
                  <a:gd name="connsiteX4" fmla="*/ 141514 w 157626"/>
                  <a:gd name="connsiteY4" fmla="*/ 3237 h 250969"/>
                  <a:gd name="connsiteX5" fmla="*/ 153111 w 157626"/>
                  <a:gd name="connsiteY5" fmla="*/ 951 h 250969"/>
                  <a:gd name="connsiteX6" fmla="*/ 155843 w 157626"/>
                  <a:gd name="connsiteY6" fmla="*/ 11823 h 250969"/>
                  <a:gd name="connsiteX7" fmla="*/ 14731 w 157626"/>
                  <a:gd name="connsiteY7" fmla="*/ 246433 h 250969"/>
                  <a:gd name="connsiteX8" fmla="*/ 7538 w 157626"/>
                  <a:gd name="connsiteY8" fmla="*/ 250503 h 25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26" h="250969">
                    <a:moveTo>
                      <a:pt x="7538" y="250503"/>
                    </a:moveTo>
                    <a:cubicBezTo>
                      <a:pt x="6033" y="250503"/>
                      <a:pt x="4528" y="250079"/>
                      <a:pt x="3246" y="249276"/>
                    </a:cubicBezTo>
                    <a:cubicBezTo>
                      <a:pt x="-713" y="246890"/>
                      <a:pt x="-1995" y="241755"/>
                      <a:pt x="402" y="237797"/>
                    </a:cubicBezTo>
                    <a:cubicBezTo>
                      <a:pt x="402" y="237797"/>
                      <a:pt x="402" y="237791"/>
                      <a:pt x="402" y="237791"/>
                    </a:cubicBezTo>
                    <a:lnTo>
                      <a:pt x="141514" y="3237"/>
                    </a:lnTo>
                    <a:cubicBezTo>
                      <a:pt x="144079" y="-599"/>
                      <a:pt x="149264" y="-1619"/>
                      <a:pt x="153111" y="951"/>
                    </a:cubicBezTo>
                    <a:cubicBezTo>
                      <a:pt x="156679" y="3343"/>
                      <a:pt x="157850" y="8037"/>
                      <a:pt x="155843" y="11823"/>
                    </a:cubicBezTo>
                    <a:lnTo>
                      <a:pt x="14731" y="246433"/>
                    </a:lnTo>
                    <a:cubicBezTo>
                      <a:pt x="13225" y="248964"/>
                      <a:pt x="10493" y="250509"/>
                      <a:pt x="7538" y="250503"/>
                    </a:cubicBezTo>
                    <a:close/>
                  </a:path>
                </a:pathLst>
              </a:custGeom>
              <a:solidFill>
                <a:srgbClr val="30373B"/>
              </a:solidFill>
              <a:ln w="5573" cap="flat">
                <a:noFill/>
                <a:prstDash val="solid"/>
                <a:miter/>
              </a:ln>
            </p:spPr>
            <p:txBody>
              <a:bodyPr rtlCol="0" anchor="ctr"/>
              <a:lstStyle/>
              <a:p>
                <a:endParaRPr lang="en-GB"/>
              </a:p>
            </p:txBody>
          </p:sp>
          <p:sp>
            <p:nvSpPr>
              <p:cNvPr id="125" name="Graphic 6">
                <a:extLst>
                  <a:ext uri="{FF2B5EF4-FFF2-40B4-BE49-F238E27FC236}">
                    <a16:creationId xmlns:a16="http://schemas.microsoft.com/office/drawing/2014/main" id="{4B89330D-1F66-95B2-1504-7C222CB44CDC}"/>
                  </a:ext>
                </a:extLst>
              </p:cNvPr>
              <p:cNvSpPr/>
              <p:nvPr/>
            </p:nvSpPr>
            <p:spPr>
              <a:xfrm>
                <a:off x="6975859" y="2697040"/>
                <a:ext cx="16726" cy="407947"/>
              </a:xfrm>
              <a:custGeom>
                <a:avLst/>
                <a:gdLst>
                  <a:gd name="connsiteX0" fmla="*/ 7556 w 16726"/>
                  <a:gd name="connsiteY0" fmla="*/ 407481 h 407947"/>
                  <a:gd name="connsiteX1" fmla="*/ -807 w 16726"/>
                  <a:gd name="connsiteY1" fmla="*/ 399118 h 407947"/>
                  <a:gd name="connsiteX2" fmla="*/ -807 w 16726"/>
                  <a:gd name="connsiteY2" fmla="*/ 7896 h 407947"/>
                  <a:gd name="connsiteX3" fmla="*/ 7556 w 16726"/>
                  <a:gd name="connsiteY3" fmla="*/ -467 h 407947"/>
                  <a:gd name="connsiteX4" fmla="*/ 15919 w 16726"/>
                  <a:gd name="connsiteY4" fmla="*/ 7896 h 407947"/>
                  <a:gd name="connsiteX5" fmla="*/ 15919 w 16726"/>
                  <a:gd name="connsiteY5" fmla="*/ 399118 h 407947"/>
                  <a:gd name="connsiteX6" fmla="*/ 7556 w 16726"/>
                  <a:gd name="connsiteY6" fmla="*/ 407481 h 40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407947">
                    <a:moveTo>
                      <a:pt x="7556" y="407481"/>
                    </a:moveTo>
                    <a:cubicBezTo>
                      <a:pt x="2929" y="407481"/>
                      <a:pt x="-807" y="403734"/>
                      <a:pt x="-807" y="399118"/>
                    </a:cubicBezTo>
                    <a:lnTo>
                      <a:pt x="-807" y="7896"/>
                    </a:lnTo>
                    <a:cubicBezTo>
                      <a:pt x="-807" y="3280"/>
                      <a:pt x="2929" y="-467"/>
                      <a:pt x="7556" y="-467"/>
                    </a:cubicBezTo>
                    <a:cubicBezTo>
                      <a:pt x="12184" y="-467"/>
                      <a:pt x="15919" y="3280"/>
                      <a:pt x="15919" y="7896"/>
                    </a:cubicBezTo>
                    <a:lnTo>
                      <a:pt x="15919" y="399118"/>
                    </a:lnTo>
                    <a:cubicBezTo>
                      <a:pt x="15919" y="403734"/>
                      <a:pt x="12184" y="407481"/>
                      <a:pt x="7556" y="407481"/>
                    </a:cubicBezTo>
                    <a:close/>
                  </a:path>
                </a:pathLst>
              </a:custGeom>
              <a:solidFill>
                <a:srgbClr val="30373B"/>
              </a:solidFill>
              <a:ln w="5573" cap="flat">
                <a:noFill/>
                <a:prstDash val="solid"/>
                <a:miter/>
              </a:ln>
            </p:spPr>
            <p:txBody>
              <a:bodyPr rtlCol="0" anchor="ctr"/>
              <a:lstStyle/>
              <a:p>
                <a:endParaRPr lang="en-GB"/>
              </a:p>
            </p:txBody>
          </p:sp>
          <p:sp>
            <p:nvSpPr>
              <p:cNvPr id="126" name="Graphic 6">
                <a:extLst>
                  <a:ext uri="{FF2B5EF4-FFF2-40B4-BE49-F238E27FC236}">
                    <a16:creationId xmlns:a16="http://schemas.microsoft.com/office/drawing/2014/main" id="{4855A34A-43D3-37B5-AE77-69E47DBEE3F3}"/>
                  </a:ext>
                </a:extLst>
              </p:cNvPr>
              <p:cNvSpPr/>
              <p:nvPr/>
            </p:nvSpPr>
            <p:spPr>
              <a:xfrm>
                <a:off x="8938435" y="4877612"/>
                <a:ext cx="16726" cy="657332"/>
              </a:xfrm>
              <a:custGeom>
                <a:avLst/>
                <a:gdLst>
                  <a:gd name="connsiteX0" fmla="*/ 7556 w 16726"/>
                  <a:gd name="connsiteY0" fmla="*/ 656866 h 657332"/>
                  <a:gd name="connsiteX1" fmla="*/ -807 w 16726"/>
                  <a:gd name="connsiteY1" fmla="*/ 648503 h 657332"/>
                  <a:gd name="connsiteX2" fmla="*/ -807 w 16726"/>
                  <a:gd name="connsiteY2" fmla="*/ 7896 h 657332"/>
                  <a:gd name="connsiteX3" fmla="*/ 7556 w 16726"/>
                  <a:gd name="connsiteY3" fmla="*/ -467 h 657332"/>
                  <a:gd name="connsiteX4" fmla="*/ 15919 w 16726"/>
                  <a:gd name="connsiteY4" fmla="*/ 7896 h 657332"/>
                  <a:gd name="connsiteX5" fmla="*/ 15919 w 16726"/>
                  <a:gd name="connsiteY5" fmla="*/ 648503 h 657332"/>
                  <a:gd name="connsiteX6" fmla="*/ 7556 w 16726"/>
                  <a:gd name="connsiteY6" fmla="*/ 656866 h 6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657332">
                    <a:moveTo>
                      <a:pt x="7556" y="656866"/>
                    </a:moveTo>
                    <a:cubicBezTo>
                      <a:pt x="2928" y="656866"/>
                      <a:pt x="-807" y="653131"/>
                      <a:pt x="-807" y="648503"/>
                    </a:cubicBezTo>
                    <a:lnTo>
                      <a:pt x="-807" y="7896"/>
                    </a:lnTo>
                    <a:cubicBezTo>
                      <a:pt x="-807" y="3280"/>
                      <a:pt x="2928" y="-467"/>
                      <a:pt x="7556" y="-467"/>
                    </a:cubicBezTo>
                    <a:cubicBezTo>
                      <a:pt x="12184" y="-467"/>
                      <a:pt x="15919" y="3280"/>
                      <a:pt x="15919" y="7896"/>
                    </a:cubicBezTo>
                    <a:lnTo>
                      <a:pt x="15919" y="648503"/>
                    </a:lnTo>
                    <a:cubicBezTo>
                      <a:pt x="15919" y="653131"/>
                      <a:pt x="12184" y="656866"/>
                      <a:pt x="7556" y="656866"/>
                    </a:cubicBezTo>
                    <a:close/>
                  </a:path>
                </a:pathLst>
              </a:custGeom>
              <a:solidFill>
                <a:srgbClr val="30373B"/>
              </a:solidFill>
              <a:ln w="5573" cap="flat">
                <a:noFill/>
                <a:prstDash val="solid"/>
                <a:miter/>
              </a:ln>
            </p:spPr>
            <p:txBody>
              <a:bodyPr rtlCol="0" anchor="ctr"/>
              <a:lstStyle/>
              <a:p>
                <a:endParaRPr lang="en-GB"/>
              </a:p>
            </p:txBody>
          </p:sp>
          <p:sp>
            <p:nvSpPr>
              <p:cNvPr id="127" name="Graphic 6">
                <a:extLst>
                  <a:ext uri="{FF2B5EF4-FFF2-40B4-BE49-F238E27FC236}">
                    <a16:creationId xmlns:a16="http://schemas.microsoft.com/office/drawing/2014/main" id="{17F2EC53-A7E5-F083-4E89-F0CCCE844347}"/>
                  </a:ext>
                </a:extLst>
              </p:cNvPr>
              <p:cNvSpPr/>
              <p:nvPr/>
            </p:nvSpPr>
            <p:spPr>
              <a:xfrm>
                <a:off x="7928963" y="5690496"/>
                <a:ext cx="1026197" cy="174564"/>
              </a:xfrm>
              <a:custGeom>
                <a:avLst/>
                <a:gdLst>
                  <a:gd name="connsiteX0" fmla="*/ 911152 w 1026197"/>
                  <a:gd name="connsiteY0" fmla="*/ 174097 h 174564"/>
                  <a:gd name="connsiteX1" fmla="*/ 7556 w 1026197"/>
                  <a:gd name="connsiteY1" fmla="*/ 174097 h 174564"/>
                  <a:gd name="connsiteX2" fmla="*/ -807 w 1026197"/>
                  <a:gd name="connsiteY2" fmla="*/ 165734 h 174564"/>
                  <a:gd name="connsiteX3" fmla="*/ 7556 w 1026197"/>
                  <a:gd name="connsiteY3" fmla="*/ 157371 h 174564"/>
                  <a:gd name="connsiteX4" fmla="*/ 911152 w 1026197"/>
                  <a:gd name="connsiteY4" fmla="*/ 157371 h 174564"/>
                  <a:gd name="connsiteX5" fmla="*/ 1008665 w 1026197"/>
                  <a:gd name="connsiteY5" fmla="*/ 59858 h 174564"/>
                  <a:gd name="connsiteX6" fmla="*/ 1008665 w 1026197"/>
                  <a:gd name="connsiteY6" fmla="*/ 7896 h 174564"/>
                  <a:gd name="connsiteX7" fmla="*/ 1017028 w 1026197"/>
                  <a:gd name="connsiteY7" fmla="*/ -467 h 174564"/>
                  <a:gd name="connsiteX8" fmla="*/ 1025391 w 1026197"/>
                  <a:gd name="connsiteY8" fmla="*/ 7896 h 174564"/>
                  <a:gd name="connsiteX9" fmla="*/ 1025391 w 1026197"/>
                  <a:gd name="connsiteY9" fmla="*/ 60025 h 174564"/>
                  <a:gd name="connsiteX10" fmla="*/ 911152 w 1026197"/>
                  <a:gd name="connsiteY10" fmla="*/ 174097 h 17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6197" h="174564">
                    <a:moveTo>
                      <a:pt x="911152" y="174097"/>
                    </a:moveTo>
                    <a:lnTo>
                      <a:pt x="7556" y="174097"/>
                    </a:lnTo>
                    <a:cubicBezTo>
                      <a:pt x="2929" y="174097"/>
                      <a:pt x="-807" y="170362"/>
                      <a:pt x="-807" y="165734"/>
                    </a:cubicBezTo>
                    <a:cubicBezTo>
                      <a:pt x="-807" y="161106"/>
                      <a:pt x="2929" y="157371"/>
                      <a:pt x="7556" y="157371"/>
                    </a:cubicBezTo>
                    <a:lnTo>
                      <a:pt x="911152" y="157371"/>
                    </a:lnTo>
                    <a:cubicBezTo>
                      <a:pt x="964954" y="157316"/>
                      <a:pt x="1008609" y="113660"/>
                      <a:pt x="1008665" y="59858"/>
                    </a:cubicBezTo>
                    <a:lnTo>
                      <a:pt x="1008665" y="7896"/>
                    </a:lnTo>
                    <a:cubicBezTo>
                      <a:pt x="1008665" y="3269"/>
                      <a:pt x="1012400" y="-467"/>
                      <a:pt x="1017028" y="-467"/>
                    </a:cubicBezTo>
                    <a:cubicBezTo>
                      <a:pt x="1021655" y="-467"/>
                      <a:pt x="1025391" y="3269"/>
                      <a:pt x="1025391" y="7896"/>
                    </a:cubicBezTo>
                    <a:lnTo>
                      <a:pt x="1025391" y="60025"/>
                    </a:lnTo>
                    <a:cubicBezTo>
                      <a:pt x="1025223" y="123027"/>
                      <a:pt x="974153" y="174042"/>
                      <a:pt x="911152" y="174097"/>
                    </a:cubicBezTo>
                    <a:close/>
                  </a:path>
                </a:pathLst>
              </a:custGeom>
              <a:solidFill>
                <a:srgbClr val="30373B"/>
              </a:solidFill>
              <a:ln w="5573" cap="flat">
                <a:noFill/>
                <a:prstDash val="solid"/>
                <a:miter/>
              </a:ln>
            </p:spPr>
            <p:txBody>
              <a:bodyPr rtlCol="0" anchor="ctr"/>
              <a:lstStyle/>
              <a:p>
                <a:endParaRPr lang="en-GB"/>
              </a:p>
            </p:txBody>
          </p:sp>
          <p:sp>
            <p:nvSpPr>
              <p:cNvPr id="128" name="Graphic 6">
                <a:extLst>
                  <a:ext uri="{FF2B5EF4-FFF2-40B4-BE49-F238E27FC236}">
                    <a16:creationId xmlns:a16="http://schemas.microsoft.com/office/drawing/2014/main" id="{5C9CCC71-9426-10BA-D9BF-9F3E9EEB8E51}"/>
                  </a:ext>
                </a:extLst>
              </p:cNvPr>
              <p:cNvSpPr/>
              <p:nvPr/>
            </p:nvSpPr>
            <p:spPr>
              <a:xfrm>
                <a:off x="7431755" y="5848334"/>
                <a:ext cx="330840" cy="16726"/>
              </a:xfrm>
              <a:custGeom>
                <a:avLst/>
                <a:gdLst>
                  <a:gd name="connsiteX0" fmla="*/ 321671 w 330840"/>
                  <a:gd name="connsiteY0" fmla="*/ 16259 h 16726"/>
                  <a:gd name="connsiteX1" fmla="*/ 7556 w 330840"/>
                  <a:gd name="connsiteY1" fmla="*/ 16259 h 16726"/>
                  <a:gd name="connsiteX2" fmla="*/ -807 w 330840"/>
                  <a:gd name="connsiteY2" fmla="*/ 7896 h 16726"/>
                  <a:gd name="connsiteX3" fmla="*/ 7556 w 330840"/>
                  <a:gd name="connsiteY3" fmla="*/ -467 h 16726"/>
                  <a:gd name="connsiteX4" fmla="*/ 321671 w 330840"/>
                  <a:gd name="connsiteY4" fmla="*/ -467 h 16726"/>
                  <a:gd name="connsiteX5" fmla="*/ 330034 w 330840"/>
                  <a:gd name="connsiteY5" fmla="*/ 7896 h 16726"/>
                  <a:gd name="connsiteX6" fmla="*/ 321671 w 33084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840" h="16726">
                    <a:moveTo>
                      <a:pt x="321671" y="16259"/>
                    </a:moveTo>
                    <a:lnTo>
                      <a:pt x="7556" y="16259"/>
                    </a:lnTo>
                    <a:cubicBezTo>
                      <a:pt x="2928" y="16259"/>
                      <a:pt x="-807" y="12523"/>
                      <a:pt x="-807" y="7896"/>
                    </a:cubicBezTo>
                    <a:cubicBezTo>
                      <a:pt x="-807" y="3268"/>
                      <a:pt x="2928" y="-467"/>
                      <a:pt x="7556" y="-467"/>
                    </a:cubicBezTo>
                    <a:lnTo>
                      <a:pt x="321671" y="-467"/>
                    </a:lnTo>
                    <a:cubicBezTo>
                      <a:pt x="326298" y="-467"/>
                      <a:pt x="330034" y="3268"/>
                      <a:pt x="330034" y="7896"/>
                    </a:cubicBezTo>
                    <a:cubicBezTo>
                      <a:pt x="330034" y="12523"/>
                      <a:pt x="326298" y="16259"/>
                      <a:pt x="321671" y="16259"/>
                    </a:cubicBezTo>
                    <a:close/>
                  </a:path>
                </a:pathLst>
              </a:custGeom>
              <a:solidFill>
                <a:srgbClr val="30373B"/>
              </a:solidFill>
              <a:ln w="5573" cap="flat">
                <a:noFill/>
                <a:prstDash val="solid"/>
                <a:miter/>
              </a:ln>
            </p:spPr>
            <p:txBody>
              <a:bodyPr rtlCol="0" anchor="ctr"/>
              <a:lstStyle/>
              <a:p>
                <a:endParaRPr lang="en-GB"/>
              </a:p>
            </p:txBody>
          </p:sp>
          <p:sp>
            <p:nvSpPr>
              <p:cNvPr id="129" name="Graphic 6">
                <a:extLst>
                  <a:ext uri="{FF2B5EF4-FFF2-40B4-BE49-F238E27FC236}">
                    <a16:creationId xmlns:a16="http://schemas.microsoft.com/office/drawing/2014/main" id="{850CDA10-5619-79AB-F602-086A6E0975AD}"/>
                  </a:ext>
                </a:extLst>
              </p:cNvPr>
              <p:cNvSpPr/>
              <p:nvPr/>
            </p:nvSpPr>
            <p:spPr>
              <a:xfrm>
                <a:off x="6403885" y="5848334"/>
                <a:ext cx="880290" cy="16726"/>
              </a:xfrm>
              <a:custGeom>
                <a:avLst/>
                <a:gdLst>
                  <a:gd name="connsiteX0" fmla="*/ 871121 w 880290"/>
                  <a:gd name="connsiteY0" fmla="*/ 16259 h 16726"/>
                  <a:gd name="connsiteX1" fmla="*/ 7556 w 880290"/>
                  <a:gd name="connsiteY1" fmla="*/ 16259 h 16726"/>
                  <a:gd name="connsiteX2" fmla="*/ -807 w 880290"/>
                  <a:gd name="connsiteY2" fmla="*/ 7896 h 16726"/>
                  <a:gd name="connsiteX3" fmla="*/ 7556 w 880290"/>
                  <a:gd name="connsiteY3" fmla="*/ -467 h 16726"/>
                  <a:gd name="connsiteX4" fmla="*/ 871121 w 880290"/>
                  <a:gd name="connsiteY4" fmla="*/ -467 h 16726"/>
                  <a:gd name="connsiteX5" fmla="*/ 879484 w 880290"/>
                  <a:gd name="connsiteY5" fmla="*/ 7896 h 16726"/>
                  <a:gd name="connsiteX6" fmla="*/ 871121 w 880290"/>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290" h="16726">
                    <a:moveTo>
                      <a:pt x="871121" y="16259"/>
                    </a:moveTo>
                    <a:lnTo>
                      <a:pt x="7556" y="16259"/>
                    </a:lnTo>
                    <a:cubicBezTo>
                      <a:pt x="2928" y="16259"/>
                      <a:pt x="-807" y="12523"/>
                      <a:pt x="-807" y="7896"/>
                    </a:cubicBezTo>
                    <a:cubicBezTo>
                      <a:pt x="-807" y="3268"/>
                      <a:pt x="2928" y="-467"/>
                      <a:pt x="7556" y="-467"/>
                    </a:cubicBezTo>
                    <a:lnTo>
                      <a:pt x="871121" y="-467"/>
                    </a:lnTo>
                    <a:cubicBezTo>
                      <a:pt x="875748" y="-467"/>
                      <a:pt x="879484" y="3268"/>
                      <a:pt x="879484" y="7896"/>
                    </a:cubicBezTo>
                    <a:cubicBezTo>
                      <a:pt x="879484" y="12523"/>
                      <a:pt x="875748" y="16259"/>
                      <a:pt x="871121" y="16259"/>
                    </a:cubicBezTo>
                    <a:close/>
                  </a:path>
                </a:pathLst>
              </a:custGeom>
              <a:solidFill>
                <a:srgbClr val="30373B"/>
              </a:solidFill>
              <a:ln w="5573" cap="flat">
                <a:noFill/>
                <a:prstDash val="solid"/>
                <a:miter/>
              </a:ln>
            </p:spPr>
            <p:txBody>
              <a:bodyPr rtlCol="0" anchor="ctr"/>
              <a:lstStyle/>
              <a:p>
                <a:endParaRPr lang="en-GB"/>
              </a:p>
            </p:txBody>
          </p:sp>
          <p:sp>
            <p:nvSpPr>
              <p:cNvPr id="130" name="Graphic 6">
                <a:extLst>
                  <a:ext uri="{FF2B5EF4-FFF2-40B4-BE49-F238E27FC236}">
                    <a16:creationId xmlns:a16="http://schemas.microsoft.com/office/drawing/2014/main" id="{71F4FB02-6C27-0ED6-8DA8-4271F7E8E229}"/>
                  </a:ext>
                </a:extLst>
              </p:cNvPr>
              <p:cNvSpPr/>
              <p:nvPr/>
            </p:nvSpPr>
            <p:spPr>
              <a:xfrm>
                <a:off x="5729158" y="4877612"/>
                <a:ext cx="509809" cy="987448"/>
              </a:xfrm>
              <a:custGeom>
                <a:avLst/>
                <a:gdLst>
                  <a:gd name="connsiteX0" fmla="*/ 500639 w 509809"/>
                  <a:gd name="connsiteY0" fmla="*/ 986982 h 987448"/>
                  <a:gd name="connsiteX1" fmla="*/ 113432 w 509809"/>
                  <a:gd name="connsiteY1" fmla="*/ 986982 h 987448"/>
                  <a:gd name="connsiteX2" fmla="*/ -807 w 509809"/>
                  <a:gd name="connsiteY2" fmla="*/ 872743 h 987448"/>
                  <a:gd name="connsiteX3" fmla="*/ -807 w 509809"/>
                  <a:gd name="connsiteY3" fmla="*/ 7896 h 987448"/>
                  <a:gd name="connsiteX4" fmla="*/ 7556 w 509809"/>
                  <a:gd name="connsiteY4" fmla="*/ -467 h 987448"/>
                  <a:gd name="connsiteX5" fmla="*/ 15919 w 509809"/>
                  <a:gd name="connsiteY5" fmla="*/ 7896 h 987448"/>
                  <a:gd name="connsiteX6" fmla="*/ 15919 w 509809"/>
                  <a:gd name="connsiteY6" fmla="*/ 872743 h 987448"/>
                  <a:gd name="connsiteX7" fmla="*/ 113432 w 509809"/>
                  <a:gd name="connsiteY7" fmla="*/ 970256 h 987448"/>
                  <a:gd name="connsiteX8" fmla="*/ 500639 w 509809"/>
                  <a:gd name="connsiteY8" fmla="*/ 970256 h 987448"/>
                  <a:gd name="connsiteX9" fmla="*/ 509003 w 509809"/>
                  <a:gd name="connsiteY9" fmla="*/ 978619 h 987448"/>
                  <a:gd name="connsiteX10" fmla="*/ 500639 w 509809"/>
                  <a:gd name="connsiteY10" fmla="*/ 986982 h 98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809" h="987448">
                    <a:moveTo>
                      <a:pt x="500639" y="986982"/>
                    </a:moveTo>
                    <a:lnTo>
                      <a:pt x="113432" y="986982"/>
                    </a:lnTo>
                    <a:cubicBezTo>
                      <a:pt x="50364" y="986926"/>
                      <a:pt x="-745" y="935800"/>
                      <a:pt x="-807" y="872743"/>
                    </a:cubicBezTo>
                    <a:lnTo>
                      <a:pt x="-807" y="7896"/>
                    </a:lnTo>
                    <a:cubicBezTo>
                      <a:pt x="-807" y="3280"/>
                      <a:pt x="2940" y="-467"/>
                      <a:pt x="7556" y="-467"/>
                    </a:cubicBezTo>
                    <a:cubicBezTo>
                      <a:pt x="12173" y="-467"/>
                      <a:pt x="15919" y="3280"/>
                      <a:pt x="15919" y="7896"/>
                    </a:cubicBezTo>
                    <a:lnTo>
                      <a:pt x="15919" y="872743"/>
                    </a:lnTo>
                    <a:cubicBezTo>
                      <a:pt x="15981" y="926545"/>
                      <a:pt x="59602" y="970200"/>
                      <a:pt x="113432" y="970256"/>
                    </a:cubicBezTo>
                    <a:lnTo>
                      <a:pt x="500639" y="970256"/>
                    </a:lnTo>
                    <a:cubicBezTo>
                      <a:pt x="505267" y="970256"/>
                      <a:pt x="509003" y="973991"/>
                      <a:pt x="509003" y="978619"/>
                    </a:cubicBezTo>
                    <a:cubicBezTo>
                      <a:pt x="509003" y="983246"/>
                      <a:pt x="505267" y="986982"/>
                      <a:pt x="500639" y="986982"/>
                    </a:cubicBezTo>
                    <a:close/>
                  </a:path>
                </a:pathLst>
              </a:custGeom>
              <a:solidFill>
                <a:srgbClr val="30373B"/>
              </a:solidFill>
              <a:ln w="5573" cap="flat">
                <a:noFill/>
                <a:prstDash val="solid"/>
                <a:miter/>
              </a:ln>
            </p:spPr>
            <p:txBody>
              <a:bodyPr rtlCol="0" anchor="ctr"/>
              <a:lstStyle/>
              <a:p>
                <a:endParaRPr lang="en-GB"/>
              </a:p>
            </p:txBody>
          </p:sp>
          <p:sp>
            <p:nvSpPr>
              <p:cNvPr id="131" name="Graphic 6">
                <a:extLst>
                  <a:ext uri="{FF2B5EF4-FFF2-40B4-BE49-F238E27FC236}">
                    <a16:creationId xmlns:a16="http://schemas.microsoft.com/office/drawing/2014/main" id="{53FC2B8F-212D-171A-E592-A2CCBED2B2C1}"/>
                  </a:ext>
                </a:extLst>
              </p:cNvPr>
              <p:cNvSpPr/>
              <p:nvPr/>
            </p:nvSpPr>
            <p:spPr>
              <a:xfrm>
                <a:off x="5729158" y="2810833"/>
                <a:ext cx="1178961" cy="1849451"/>
              </a:xfrm>
              <a:custGeom>
                <a:avLst/>
                <a:gdLst>
                  <a:gd name="connsiteX0" fmla="*/ 7556 w 1178961"/>
                  <a:gd name="connsiteY0" fmla="*/ 1848985 h 1849451"/>
                  <a:gd name="connsiteX1" fmla="*/ -807 w 1178961"/>
                  <a:gd name="connsiteY1" fmla="*/ 1840622 h 1849451"/>
                  <a:gd name="connsiteX2" fmla="*/ -807 w 1178961"/>
                  <a:gd name="connsiteY2" fmla="*/ 168912 h 1849451"/>
                  <a:gd name="connsiteX3" fmla="*/ 168405 w 1178961"/>
                  <a:gd name="connsiteY3" fmla="*/ -467 h 1849451"/>
                  <a:gd name="connsiteX4" fmla="*/ 1169792 w 1178961"/>
                  <a:gd name="connsiteY4" fmla="*/ -467 h 1849451"/>
                  <a:gd name="connsiteX5" fmla="*/ 1178155 w 1178961"/>
                  <a:gd name="connsiteY5" fmla="*/ 7896 h 1849451"/>
                  <a:gd name="connsiteX6" fmla="*/ 1169792 w 1178961"/>
                  <a:gd name="connsiteY6" fmla="*/ 16259 h 1849451"/>
                  <a:gd name="connsiteX7" fmla="*/ 168405 w 1178961"/>
                  <a:gd name="connsiteY7" fmla="*/ 16259 h 1849451"/>
                  <a:gd name="connsiteX8" fmla="*/ 15752 w 1178961"/>
                  <a:gd name="connsiteY8" fmla="*/ 168856 h 1849451"/>
                  <a:gd name="connsiteX9" fmla="*/ 15752 w 1178961"/>
                  <a:gd name="connsiteY9" fmla="*/ 1840622 h 1849451"/>
                  <a:gd name="connsiteX10" fmla="*/ 7556 w 1178961"/>
                  <a:gd name="connsiteY10" fmla="*/ 1848985 h 184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8961" h="1849451">
                    <a:moveTo>
                      <a:pt x="7556" y="1848985"/>
                    </a:moveTo>
                    <a:cubicBezTo>
                      <a:pt x="2940" y="1848985"/>
                      <a:pt x="-807" y="1845238"/>
                      <a:pt x="-807" y="1840622"/>
                    </a:cubicBezTo>
                    <a:lnTo>
                      <a:pt x="-807" y="168912"/>
                    </a:lnTo>
                    <a:cubicBezTo>
                      <a:pt x="-712" y="75469"/>
                      <a:pt x="74962" y="-283"/>
                      <a:pt x="168405" y="-467"/>
                    </a:cubicBezTo>
                    <a:lnTo>
                      <a:pt x="1169792" y="-467"/>
                    </a:lnTo>
                    <a:cubicBezTo>
                      <a:pt x="1174419" y="-467"/>
                      <a:pt x="1178155" y="3280"/>
                      <a:pt x="1178155" y="7896"/>
                    </a:cubicBezTo>
                    <a:cubicBezTo>
                      <a:pt x="1178155" y="12513"/>
                      <a:pt x="1174419" y="16259"/>
                      <a:pt x="1169792" y="16259"/>
                    </a:cubicBezTo>
                    <a:lnTo>
                      <a:pt x="168405" y="16259"/>
                    </a:lnTo>
                    <a:cubicBezTo>
                      <a:pt x="84156" y="16354"/>
                      <a:pt x="15875" y="84607"/>
                      <a:pt x="15752" y="168856"/>
                    </a:cubicBezTo>
                    <a:lnTo>
                      <a:pt x="15752" y="1840622"/>
                    </a:lnTo>
                    <a:cubicBezTo>
                      <a:pt x="15752" y="1845177"/>
                      <a:pt x="12111" y="1848896"/>
                      <a:pt x="7556" y="1848985"/>
                    </a:cubicBezTo>
                    <a:close/>
                  </a:path>
                </a:pathLst>
              </a:custGeom>
              <a:solidFill>
                <a:srgbClr val="30373B"/>
              </a:solidFill>
              <a:ln w="5573" cap="flat">
                <a:noFill/>
                <a:prstDash val="solid"/>
                <a:miter/>
              </a:ln>
            </p:spPr>
            <p:txBody>
              <a:bodyPr rtlCol="0" anchor="ctr"/>
              <a:lstStyle/>
              <a:p>
                <a:endParaRPr lang="en-GB"/>
              </a:p>
            </p:txBody>
          </p:sp>
          <p:sp>
            <p:nvSpPr>
              <p:cNvPr id="132" name="Graphic 6">
                <a:extLst>
                  <a:ext uri="{FF2B5EF4-FFF2-40B4-BE49-F238E27FC236}">
                    <a16:creationId xmlns:a16="http://schemas.microsoft.com/office/drawing/2014/main" id="{4B43CDB7-D61F-36C8-5DAF-064BB718372B}"/>
                  </a:ext>
                </a:extLst>
              </p:cNvPr>
              <p:cNvSpPr/>
              <p:nvPr/>
            </p:nvSpPr>
            <p:spPr>
              <a:xfrm>
                <a:off x="7060214" y="2810833"/>
                <a:ext cx="237397" cy="16726"/>
              </a:xfrm>
              <a:custGeom>
                <a:avLst/>
                <a:gdLst>
                  <a:gd name="connsiteX0" fmla="*/ 228228 w 237397"/>
                  <a:gd name="connsiteY0" fmla="*/ 16259 h 16726"/>
                  <a:gd name="connsiteX1" fmla="*/ 7556 w 237397"/>
                  <a:gd name="connsiteY1" fmla="*/ 16259 h 16726"/>
                  <a:gd name="connsiteX2" fmla="*/ -807 w 237397"/>
                  <a:gd name="connsiteY2" fmla="*/ 7896 h 16726"/>
                  <a:gd name="connsiteX3" fmla="*/ 7556 w 237397"/>
                  <a:gd name="connsiteY3" fmla="*/ -467 h 16726"/>
                  <a:gd name="connsiteX4" fmla="*/ 228228 w 237397"/>
                  <a:gd name="connsiteY4" fmla="*/ -467 h 16726"/>
                  <a:gd name="connsiteX5" fmla="*/ 236591 w 237397"/>
                  <a:gd name="connsiteY5" fmla="*/ 7896 h 16726"/>
                  <a:gd name="connsiteX6" fmla="*/ 228228 w 237397"/>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397" h="16726">
                    <a:moveTo>
                      <a:pt x="228228" y="16259"/>
                    </a:moveTo>
                    <a:lnTo>
                      <a:pt x="7556" y="16259"/>
                    </a:lnTo>
                    <a:cubicBezTo>
                      <a:pt x="2929" y="16259"/>
                      <a:pt x="-807" y="12513"/>
                      <a:pt x="-807" y="7896"/>
                    </a:cubicBezTo>
                    <a:cubicBezTo>
                      <a:pt x="-807" y="3280"/>
                      <a:pt x="2929" y="-467"/>
                      <a:pt x="7556" y="-467"/>
                    </a:cubicBezTo>
                    <a:lnTo>
                      <a:pt x="228228" y="-467"/>
                    </a:lnTo>
                    <a:cubicBezTo>
                      <a:pt x="232856" y="-467"/>
                      <a:pt x="236591" y="3280"/>
                      <a:pt x="236591" y="7896"/>
                    </a:cubicBezTo>
                    <a:cubicBezTo>
                      <a:pt x="236591" y="12513"/>
                      <a:pt x="232856" y="16259"/>
                      <a:pt x="228228" y="16259"/>
                    </a:cubicBezTo>
                    <a:close/>
                  </a:path>
                </a:pathLst>
              </a:custGeom>
              <a:solidFill>
                <a:srgbClr val="30373B"/>
              </a:solidFill>
              <a:ln w="5573" cap="flat">
                <a:noFill/>
                <a:prstDash val="solid"/>
                <a:miter/>
              </a:ln>
            </p:spPr>
            <p:txBody>
              <a:bodyPr rtlCol="0" anchor="ctr"/>
              <a:lstStyle/>
              <a:p>
                <a:endParaRPr lang="en-GB"/>
              </a:p>
            </p:txBody>
          </p:sp>
          <p:sp>
            <p:nvSpPr>
              <p:cNvPr id="133" name="Graphic 6">
                <a:extLst>
                  <a:ext uri="{FF2B5EF4-FFF2-40B4-BE49-F238E27FC236}">
                    <a16:creationId xmlns:a16="http://schemas.microsoft.com/office/drawing/2014/main" id="{24A65A9D-16F7-CC3A-9DE5-0F3717A3189D}"/>
                  </a:ext>
                </a:extLst>
              </p:cNvPr>
              <p:cNvSpPr/>
              <p:nvPr/>
            </p:nvSpPr>
            <p:spPr>
              <a:xfrm>
                <a:off x="7431755" y="2810833"/>
                <a:ext cx="1523405" cy="1847054"/>
              </a:xfrm>
              <a:custGeom>
                <a:avLst/>
                <a:gdLst>
                  <a:gd name="connsiteX0" fmla="*/ 1514236 w 1523405"/>
                  <a:gd name="connsiteY0" fmla="*/ 1846588 h 1847054"/>
                  <a:gd name="connsiteX1" fmla="*/ 1505873 w 1523405"/>
                  <a:gd name="connsiteY1" fmla="*/ 1838225 h 1847054"/>
                  <a:gd name="connsiteX2" fmla="*/ 1505873 w 1523405"/>
                  <a:gd name="connsiteY2" fmla="*/ 168912 h 1847054"/>
                  <a:gd name="connsiteX3" fmla="*/ 1353220 w 1523405"/>
                  <a:gd name="connsiteY3" fmla="*/ 16259 h 1847054"/>
                  <a:gd name="connsiteX4" fmla="*/ 7556 w 1523405"/>
                  <a:gd name="connsiteY4" fmla="*/ 16259 h 1847054"/>
                  <a:gd name="connsiteX5" fmla="*/ -807 w 1523405"/>
                  <a:gd name="connsiteY5" fmla="*/ 7896 h 1847054"/>
                  <a:gd name="connsiteX6" fmla="*/ 7556 w 1523405"/>
                  <a:gd name="connsiteY6" fmla="*/ -467 h 1847054"/>
                  <a:gd name="connsiteX7" fmla="*/ 1353220 w 1523405"/>
                  <a:gd name="connsiteY7" fmla="*/ -467 h 1847054"/>
                  <a:gd name="connsiteX8" fmla="*/ 1522599 w 1523405"/>
                  <a:gd name="connsiteY8" fmla="*/ 168856 h 1847054"/>
                  <a:gd name="connsiteX9" fmla="*/ 1522599 w 1523405"/>
                  <a:gd name="connsiteY9" fmla="*/ 1838225 h 1847054"/>
                  <a:gd name="connsiteX10" fmla="*/ 1514236 w 1523405"/>
                  <a:gd name="connsiteY10" fmla="*/ 1846588 h 184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3405" h="1847054">
                    <a:moveTo>
                      <a:pt x="1514236" y="1846588"/>
                    </a:moveTo>
                    <a:cubicBezTo>
                      <a:pt x="1509608" y="1846588"/>
                      <a:pt x="1505873" y="1842841"/>
                      <a:pt x="1505873" y="1838225"/>
                    </a:cubicBezTo>
                    <a:lnTo>
                      <a:pt x="1505873" y="168912"/>
                    </a:lnTo>
                    <a:cubicBezTo>
                      <a:pt x="1505762" y="84641"/>
                      <a:pt x="1437464" y="16354"/>
                      <a:pt x="1353220" y="16259"/>
                    </a:cubicBezTo>
                    <a:lnTo>
                      <a:pt x="7556" y="16259"/>
                    </a:lnTo>
                    <a:cubicBezTo>
                      <a:pt x="2928" y="16259"/>
                      <a:pt x="-807" y="12513"/>
                      <a:pt x="-807" y="7896"/>
                    </a:cubicBezTo>
                    <a:cubicBezTo>
                      <a:pt x="-807" y="3280"/>
                      <a:pt x="2928" y="-467"/>
                      <a:pt x="7556" y="-467"/>
                    </a:cubicBezTo>
                    <a:lnTo>
                      <a:pt x="1353220" y="-467"/>
                    </a:lnTo>
                    <a:cubicBezTo>
                      <a:pt x="1446719" y="-372"/>
                      <a:pt x="1522488" y="75369"/>
                      <a:pt x="1522599" y="168856"/>
                    </a:cubicBezTo>
                    <a:lnTo>
                      <a:pt x="1522599" y="1838225"/>
                    </a:lnTo>
                    <a:cubicBezTo>
                      <a:pt x="1522599" y="1842841"/>
                      <a:pt x="1518864" y="1846588"/>
                      <a:pt x="1514236" y="1846588"/>
                    </a:cubicBezTo>
                    <a:close/>
                  </a:path>
                </a:pathLst>
              </a:custGeom>
              <a:solidFill>
                <a:srgbClr val="30373B"/>
              </a:solidFill>
              <a:ln w="5573" cap="flat">
                <a:noFill/>
                <a:prstDash val="solid"/>
                <a:miter/>
              </a:ln>
            </p:spPr>
            <p:txBody>
              <a:bodyPr rtlCol="0" anchor="ctr"/>
              <a:lstStyle/>
              <a:p>
                <a:endParaRPr lang="en-GB"/>
              </a:p>
            </p:txBody>
          </p:sp>
          <p:sp>
            <p:nvSpPr>
              <p:cNvPr id="134" name="Graphic 6">
                <a:extLst>
                  <a:ext uri="{FF2B5EF4-FFF2-40B4-BE49-F238E27FC236}">
                    <a16:creationId xmlns:a16="http://schemas.microsoft.com/office/drawing/2014/main" id="{50ACB1D3-7A71-A8CC-A19A-6DEE811E1A97}"/>
                  </a:ext>
                </a:extLst>
              </p:cNvPr>
              <p:cNvSpPr/>
              <p:nvPr/>
            </p:nvSpPr>
            <p:spPr>
              <a:xfrm>
                <a:off x="8730738" y="4140125"/>
                <a:ext cx="47182" cy="573515"/>
              </a:xfrm>
              <a:custGeom>
                <a:avLst/>
                <a:gdLst>
                  <a:gd name="connsiteX0" fmla="*/ 7572 w 47182"/>
                  <a:gd name="connsiteY0" fmla="*/ 573049 h 573515"/>
                  <a:gd name="connsiteX1" fmla="*/ 6959 w 47182"/>
                  <a:gd name="connsiteY1" fmla="*/ 573049 h 573515"/>
                  <a:gd name="connsiteX2" fmla="*/ -791 w 47182"/>
                  <a:gd name="connsiteY2" fmla="*/ 564128 h 573515"/>
                  <a:gd name="connsiteX3" fmla="*/ 29650 w 47182"/>
                  <a:gd name="connsiteY3" fmla="*/ 123119 h 573515"/>
                  <a:gd name="connsiteX4" fmla="*/ 24577 w 47182"/>
                  <a:gd name="connsiteY4" fmla="*/ 8267 h 573515"/>
                  <a:gd name="connsiteX5" fmla="*/ 32605 w 47182"/>
                  <a:gd name="connsiteY5" fmla="*/ -459 h 573515"/>
                  <a:gd name="connsiteX6" fmla="*/ 41303 w 47182"/>
                  <a:gd name="connsiteY6" fmla="*/ 7542 h 573515"/>
                  <a:gd name="connsiteX7" fmla="*/ 46376 w 47182"/>
                  <a:gd name="connsiteY7" fmla="*/ 122840 h 573515"/>
                  <a:gd name="connsiteX8" fmla="*/ 46376 w 47182"/>
                  <a:gd name="connsiteY8" fmla="*/ 123788 h 573515"/>
                  <a:gd name="connsiteX9" fmla="*/ 15824 w 47182"/>
                  <a:gd name="connsiteY9" fmla="*/ 565243 h 573515"/>
                  <a:gd name="connsiteX10" fmla="*/ 7572 w 47182"/>
                  <a:gd name="connsiteY10" fmla="*/ 573049 h 573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2" h="573515">
                    <a:moveTo>
                      <a:pt x="7572" y="573049"/>
                    </a:moveTo>
                    <a:lnTo>
                      <a:pt x="6959" y="573049"/>
                    </a:lnTo>
                    <a:cubicBezTo>
                      <a:pt x="2387" y="572692"/>
                      <a:pt x="-1070" y="568717"/>
                      <a:pt x="-791" y="564128"/>
                    </a:cubicBezTo>
                    <a:lnTo>
                      <a:pt x="29650" y="123119"/>
                    </a:lnTo>
                    <a:lnTo>
                      <a:pt x="24577" y="8267"/>
                    </a:lnTo>
                    <a:cubicBezTo>
                      <a:pt x="24354" y="3650"/>
                      <a:pt x="27978" y="-258"/>
                      <a:pt x="32605" y="-459"/>
                    </a:cubicBezTo>
                    <a:cubicBezTo>
                      <a:pt x="37177" y="-660"/>
                      <a:pt x="41080" y="2925"/>
                      <a:pt x="41303" y="7542"/>
                    </a:cubicBezTo>
                    <a:lnTo>
                      <a:pt x="46376" y="122840"/>
                    </a:lnTo>
                    <a:lnTo>
                      <a:pt x="46376" y="123788"/>
                    </a:lnTo>
                    <a:lnTo>
                      <a:pt x="15824" y="565243"/>
                    </a:lnTo>
                    <a:cubicBezTo>
                      <a:pt x="15544" y="569603"/>
                      <a:pt x="11921" y="572999"/>
                      <a:pt x="7572" y="573049"/>
                    </a:cubicBezTo>
                    <a:close/>
                  </a:path>
                </a:pathLst>
              </a:custGeom>
              <a:solidFill>
                <a:srgbClr val="30373B"/>
              </a:solidFill>
              <a:ln w="5573" cap="flat">
                <a:noFill/>
                <a:prstDash val="solid"/>
                <a:miter/>
              </a:ln>
            </p:spPr>
            <p:txBody>
              <a:bodyPr rtlCol="0" anchor="ctr"/>
              <a:lstStyle/>
              <a:p>
                <a:endParaRPr lang="en-GB"/>
              </a:p>
            </p:txBody>
          </p:sp>
          <p:sp>
            <p:nvSpPr>
              <p:cNvPr id="135" name="Graphic 6">
                <a:extLst>
                  <a:ext uri="{FF2B5EF4-FFF2-40B4-BE49-F238E27FC236}">
                    <a16:creationId xmlns:a16="http://schemas.microsoft.com/office/drawing/2014/main" id="{70490746-F00E-9B9D-81E5-CF638E30FE9F}"/>
                  </a:ext>
                </a:extLst>
              </p:cNvPr>
              <p:cNvSpPr/>
              <p:nvPr/>
            </p:nvSpPr>
            <p:spPr>
              <a:xfrm>
                <a:off x="8498660" y="4140014"/>
                <a:ext cx="102810" cy="575021"/>
              </a:xfrm>
              <a:custGeom>
                <a:avLst/>
                <a:gdLst>
                  <a:gd name="connsiteX0" fmla="*/ 7548 w 102810"/>
                  <a:gd name="connsiteY0" fmla="*/ 574554 h 575021"/>
                  <a:gd name="connsiteX1" fmla="*/ 5931 w 102810"/>
                  <a:gd name="connsiteY1" fmla="*/ 574554 h 575021"/>
                  <a:gd name="connsiteX2" fmla="*/ -648 w 102810"/>
                  <a:gd name="connsiteY2" fmla="*/ 564741 h 575021"/>
                  <a:gd name="connsiteX3" fmla="*/ 78410 w 102810"/>
                  <a:gd name="connsiteY3" fmla="*/ 163317 h 575021"/>
                  <a:gd name="connsiteX4" fmla="*/ 85268 w 102810"/>
                  <a:gd name="connsiteY4" fmla="*/ 7542 h 575021"/>
                  <a:gd name="connsiteX5" fmla="*/ 93966 w 102810"/>
                  <a:gd name="connsiteY5" fmla="*/ -459 h 575021"/>
                  <a:gd name="connsiteX6" fmla="*/ 101994 w 102810"/>
                  <a:gd name="connsiteY6" fmla="*/ 8266 h 575021"/>
                  <a:gd name="connsiteX7" fmla="*/ 95136 w 102810"/>
                  <a:gd name="connsiteY7" fmla="*/ 164376 h 575021"/>
                  <a:gd name="connsiteX8" fmla="*/ 95136 w 102810"/>
                  <a:gd name="connsiteY8" fmla="*/ 165658 h 575021"/>
                  <a:gd name="connsiteX9" fmla="*/ 15967 w 102810"/>
                  <a:gd name="connsiteY9" fmla="*/ 567417 h 575021"/>
                  <a:gd name="connsiteX10" fmla="*/ 7548 w 102810"/>
                  <a:gd name="connsiteY10" fmla="*/ 574554 h 57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810" h="575021">
                    <a:moveTo>
                      <a:pt x="7548" y="574554"/>
                    </a:moveTo>
                    <a:lnTo>
                      <a:pt x="5931" y="574554"/>
                    </a:lnTo>
                    <a:cubicBezTo>
                      <a:pt x="1415" y="573656"/>
                      <a:pt x="-1540" y="569268"/>
                      <a:pt x="-648" y="564741"/>
                    </a:cubicBezTo>
                    <a:lnTo>
                      <a:pt x="78410" y="163317"/>
                    </a:lnTo>
                    <a:lnTo>
                      <a:pt x="85268" y="7542"/>
                    </a:lnTo>
                    <a:cubicBezTo>
                      <a:pt x="85491" y="2925"/>
                      <a:pt x="89394" y="-660"/>
                      <a:pt x="93966" y="-459"/>
                    </a:cubicBezTo>
                    <a:cubicBezTo>
                      <a:pt x="98593" y="-258"/>
                      <a:pt x="102217" y="3650"/>
                      <a:pt x="101994" y="8266"/>
                    </a:cubicBezTo>
                    <a:lnTo>
                      <a:pt x="95136" y="164376"/>
                    </a:lnTo>
                    <a:cubicBezTo>
                      <a:pt x="95192" y="164800"/>
                      <a:pt x="95192" y="165235"/>
                      <a:pt x="95136" y="165658"/>
                    </a:cubicBezTo>
                    <a:lnTo>
                      <a:pt x="15967" y="567417"/>
                    </a:lnTo>
                    <a:cubicBezTo>
                      <a:pt x="15354" y="571560"/>
                      <a:pt x="11729" y="574604"/>
                      <a:pt x="7548" y="574554"/>
                    </a:cubicBezTo>
                    <a:close/>
                  </a:path>
                </a:pathLst>
              </a:custGeom>
              <a:solidFill>
                <a:srgbClr val="30373B"/>
              </a:solidFill>
              <a:ln w="5573" cap="flat">
                <a:noFill/>
                <a:prstDash val="solid"/>
                <a:miter/>
              </a:ln>
            </p:spPr>
            <p:txBody>
              <a:bodyPr rtlCol="0" anchor="ctr"/>
              <a:lstStyle/>
              <a:p>
                <a:endParaRPr lang="en-GB"/>
              </a:p>
            </p:txBody>
          </p:sp>
          <p:sp>
            <p:nvSpPr>
              <p:cNvPr id="136" name="Graphic 6">
                <a:extLst>
                  <a:ext uri="{FF2B5EF4-FFF2-40B4-BE49-F238E27FC236}">
                    <a16:creationId xmlns:a16="http://schemas.microsoft.com/office/drawing/2014/main" id="{A0D34FDE-724C-8B6C-2DDD-3B4D10BCAABB}"/>
                  </a:ext>
                </a:extLst>
              </p:cNvPr>
              <p:cNvSpPr/>
              <p:nvPr/>
            </p:nvSpPr>
            <p:spPr>
              <a:xfrm>
                <a:off x="8553234" y="4337429"/>
                <a:ext cx="126801" cy="377605"/>
              </a:xfrm>
              <a:custGeom>
                <a:avLst/>
                <a:gdLst>
                  <a:gd name="connsiteX0" fmla="*/ 7612 w 126801"/>
                  <a:gd name="connsiteY0" fmla="*/ 377139 h 377605"/>
                  <a:gd name="connsiteX1" fmla="*/ 5160 w 126801"/>
                  <a:gd name="connsiteY1" fmla="*/ 376748 h 377605"/>
                  <a:gd name="connsiteX2" fmla="*/ -472 w 126801"/>
                  <a:gd name="connsiteY2" fmla="*/ 366423 h 377605"/>
                  <a:gd name="connsiteX3" fmla="*/ -416 w 126801"/>
                  <a:gd name="connsiteY3" fmla="*/ 366322 h 377605"/>
                  <a:gd name="connsiteX4" fmla="*/ 109697 w 126801"/>
                  <a:gd name="connsiteY4" fmla="*/ 5264 h 377605"/>
                  <a:gd name="connsiteX5" fmla="*/ 120290 w 126801"/>
                  <a:gd name="connsiteY5" fmla="*/ -39 h 377605"/>
                  <a:gd name="connsiteX6" fmla="*/ 125698 w 126801"/>
                  <a:gd name="connsiteY6" fmla="*/ 10114 h 377605"/>
                  <a:gd name="connsiteX7" fmla="*/ 15474 w 126801"/>
                  <a:gd name="connsiteY7" fmla="*/ 371229 h 377605"/>
                  <a:gd name="connsiteX8" fmla="*/ 7612 w 126801"/>
                  <a:gd name="connsiteY8" fmla="*/ 377139 h 37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801" h="377605">
                    <a:moveTo>
                      <a:pt x="7612" y="377139"/>
                    </a:moveTo>
                    <a:cubicBezTo>
                      <a:pt x="6777" y="377139"/>
                      <a:pt x="5940" y="377011"/>
                      <a:pt x="5160" y="376748"/>
                    </a:cubicBezTo>
                    <a:cubicBezTo>
                      <a:pt x="755" y="375444"/>
                      <a:pt x="-1754" y="370822"/>
                      <a:pt x="-472" y="366423"/>
                    </a:cubicBezTo>
                    <a:cubicBezTo>
                      <a:pt x="-416" y="366389"/>
                      <a:pt x="-416" y="366356"/>
                      <a:pt x="-416" y="366322"/>
                    </a:cubicBezTo>
                    <a:lnTo>
                      <a:pt x="109697" y="5264"/>
                    </a:lnTo>
                    <a:cubicBezTo>
                      <a:pt x="111147" y="881"/>
                      <a:pt x="115886" y="-1494"/>
                      <a:pt x="120290" y="-39"/>
                    </a:cubicBezTo>
                    <a:cubicBezTo>
                      <a:pt x="124472" y="1366"/>
                      <a:pt x="126869" y="5826"/>
                      <a:pt x="125698" y="10114"/>
                    </a:cubicBezTo>
                    <a:lnTo>
                      <a:pt x="15474" y="371229"/>
                    </a:lnTo>
                    <a:cubicBezTo>
                      <a:pt x="14415" y="374697"/>
                      <a:pt x="11237" y="377083"/>
                      <a:pt x="7612" y="377139"/>
                    </a:cubicBezTo>
                    <a:close/>
                  </a:path>
                </a:pathLst>
              </a:custGeom>
              <a:solidFill>
                <a:srgbClr val="30373B"/>
              </a:solidFill>
              <a:ln w="5573" cap="flat">
                <a:noFill/>
                <a:prstDash val="solid"/>
                <a:miter/>
              </a:ln>
            </p:spPr>
            <p:txBody>
              <a:bodyPr rtlCol="0" anchor="ctr"/>
              <a:lstStyle/>
              <a:p>
                <a:endParaRPr lang="en-GB"/>
              </a:p>
            </p:txBody>
          </p:sp>
          <p:sp>
            <p:nvSpPr>
              <p:cNvPr id="137" name="Graphic 6">
                <a:extLst>
                  <a:ext uri="{FF2B5EF4-FFF2-40B4-BE49-F238E27FC236}">
                    <a16:creationId xmlns:a16="http://schemas.microsoft.com/office/drawing/2014/main" id="{1B525BE5-DD1E-7937-ABF5-57DA7A123578}"/>
                  </a:ext>
                </a:extLst>
              </p:cNvPr>
              <p:cNvSpPr/>
              <p:nvPr/>
            </p:nvSpPr>
            <p:spPr>
              <a:xfrm>
                <a:off x="8663735" y="4337249"/>
                <a:ext cx="23700" cy="376391"/>
              </a:xfrm>
              <a:custGeom>
                <a:avLst/>
                <a:gdLst>
                  <a:gd name="connsiteX0" fmla="*/ 14249 w 23700"/>
                  <a:gd name="connsiteY0" fmla="*/ 375924 h 376391"/>
                  <a:gd name="connsiteX1" fmla="*/ 5886 w 23700"/>
                  <a:gd name="connsiteY1" fmla="*/ 367729 h 376391"/>
                  <a:gd name="connsiteX2" fmla="*/ -804 w 23700"/>
                  <a:gd name="connsiteY2" fmla="*/ 8064 h 376391"/>
                  <a:gd name="connsiteX3" fmla="*/ 7391 w 23700"/>
                  <a:gd name="connsiteY3" fmla="*/ -467 h 376391"/>
                  <a:gd name="connsiteX4" fmla="*/ 7391 w 23700"/>
                  <a:gd name="connsiteY4" fmla="*/ -467 h 376391"/>
                  <a:gd name="connsiteX5" fmla="*/ 15922 w 23700"/>
                  <a:gd name="connsiteY5" fmla="*/ 7729 h 376391"/>
                  <a:gd name="connsiteX6" fmla="*/ 22891 w 23700"/>
                  <a:gd name="connsiteY6" fmla="*/ 367394 h 376391"/>
                  <a:gd name="connsiteX7" fmla="*/ 14695 w 23700"/>
                  <a:gd name="connsiteY7" fmla="*/ 375924 h 376391"/>
                  <a:gd name="connsiteX8" fmla="*/ 14695 w 23700"/>
                  <a:gd name="connsiteY8" fmla="*/ 375924 h 37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00" h="376391">
                    <a:moveTo>
                      <a:pt x="14249" y="375924"/>
                    </a:moveTo>
                    <a:cubicBezTo>
                      <a:pt x="9678" y="375924"/>
                      <a:pt x="5998" y="372284"/>
                      <a:pt x="5886" y="367729"/>
                    </a:cubicBezTo>
                    <a:lnTo>
                      <a:pt x="-804" y="8064"/>
                    </a:lnTo>
                    <a:cubicBezTo>
                      <a:pt x="-916" y="3447"/>
                      <a:pt x="2764" y="-372"/>
                      <a:pt x="7391" y="-467"/>
                    </a:cubicBezTo>
                    <a:cubicBezTo>
                      <a:pt x="7391" y="-467"/>
                      <a:pt x="7391" y="-467"/>
                      <a:pt x="7391" y="-467"/>
                    </a:cubicBezTo>
                    <a:cubicBezTo>
                      <a:pt x="11964" y="-500"/>
                      <a:pt x="15754" y="3135"/>
                      <a:pt x="15922" y="7729"/>
                    </a:cubicBezTo>
                    <a:lnTo>
                      <a:pt x="22891" y="367394"/>
                    </a:lnTo>
                    <a:cubicBezTo>
                      <a:pt x="23003" y="372011"/>
                      <a:pt x="19323" y="375830"/>
                      <a:pt x="14695" y="375924"/>
                    </a:cubicBezTo>
                    <a:cubicBezTo>
                      <a:pt x="14695" y="375924"/>
                      <a:pt x="14695" y="375924"/>
                      <a:pt x="14695" y="375924"/>
                    </a:cubicBezTo>
                    <a:close/>
                  </a:path>
                </a:pathLst>
              </a:custGeom>
              <a:solidFill>
                <a:srgbClr val="30373B"/>
              </a:solidFill>
              <a:ln w="5573" cap="flat">
                <a:noFill/>
                <a:prstDash val="solid"/>
                <a:miter/>
              </a:ln>
            </p:spPr>
            <p:txBody>
              <a:bodyPr rtlCol="0" anchor="ctr"/>
              <a:lstStyle/>
              <a:p>
                <a:endParaRPr lang="en-GB"/>
              </a:p>
            </p:txBody>
          </p:sp>
          <p:sp>
            <p:nvSpPr>
              <p:cNvPr id="138" name="Graphic 6">
                <a:extLst>
                  <a:ext uri="{FF2B5EF4-FFF2-40B4-BE49-F238E27FC236}">
                    <a16:creationId xmlns:a16="http://schemas.microsoft.com/office/drawing/2014/main" id="{8E4B648A-5460-A8C7-BC4B-C6D897E0834C}"/>
                  </a:ext>
                </a:extLst>
              </p:cNvPr>
              <p:cNvSpPr/>
              <p:nvPr/>
            </p:nvSpPr>
            <p:spPr>
              <a:xfrm>
                <a:off x="8366659" y="4005517"/>
                <a:ext cx="468743" cy="380853"/>
              </a:xfrm>
              <a:custGeom>
                <a:avLst/>
                <a:gdLst>
                  <a:gd name="connsiteX0" fmla="*/ 458793 w 468743"/>
                  <a:gd name="connsiteY0" fmla="*/ 380385 h 380853"/>
                  <a:gd name="connsiteX1" fmla="*/ 458793 w 468743"/>
                  <a:gd name="connsiteY1" fmla="*/ 380385 h 380853"/>
                  <a:gd name="connsiteX2" fmla="*/ 450486 w 468743"/>
                  <a:gd name="connsiteY2" fmla="*/ 371966 h 380853"/>
                  <a:gd name="connsiteX3" fmla="*/ 450486 w 468743"/>
                  <a:gd name="connsiteY3" fmla="*/ 371966 h 380853"/>
                  <a:gd name="connsiteX4" fmla="*/ 450486 w 468743"/>
                  <a:gd name="connsiteY4" fmla="*/ 109646 h 380853"/>
                  <a:gd name="connsiteX5" fmla="*/ 357545 w 468743"/>
                  <a:gd name="connsiteY5" fmla="*/ 16482 h 380853"/>
                  <a:gd name="connsiteX6" fmla="*/ 271629 w 468743"/>
                  <a:gd name="connsiteY6" fmla="*/ 16482 h 380853"/>
                  <a:gd name="connsiteX7" fmla="*/ 192627 w 468743"/>
                  <a:gd name="connsiteY7" fmla="*/ 111263 h 380853"/>
                  <a:gd name="connsiteX8" fmla="*/ 123882 w 468743"/>
                  <a:gd name="connsiteY8" fmla="*/ 198238 h 380853"/>
                  <a:gd name="connsiteX9" fmla="*/ 611 w 468743"/>
                  <a:gd name="connsiteY9" fmla="*/ 115444 h 380853"/>
                  <a:gd name="connsiteX10" fmla="*/ 2898 w 468743"/>
                  <a:gd name="connsiteY10" fmla="*/ 103836 h 380853"/>
                  <a:gd name="connsiteX11" fmla="*/ 14494 w 468743"/>
                  <a:gd name="connsiteY11" fmla="*/ 106111 h 380853"/>
                  <a:gd name="connsiteX12" fmla="*/ 15107 w 468743"/>
                  <a:gd name="connsiteY12" fmla="*/ 107193 h 380853"/>
                  <a:gd name="connsiteX13" fmla="*/ 123882 w 468743"/>
                  <a:gd name="connsiteY13" fmla="*/ 181512 h 380853"/>
                  <a:gd name="connsiteX14" fmla="*/ 176570 w 468743"/>
                  <a:gd name="connsiteY14" fmla="*/ 106524 h 380853"/>
                  <a:gd name="connsiteX15" fmla="*/ 271350 w 468743"/>
                  <a:gd name="connsiteY15" fmla="*/ -467 h 380853"/>
                  <a:gd name="connsiteX16" fmla="*/ 357601 w 468743"/>
                  <a:gd name="connsiteY16" fmla="*/ -467 h 380853"/>
                  <a:gd name="connsiteX17" fmla="*/ 467268 w 468743"/>
                  <a:gd name="connsiteY17" fmla="*/ 108921 h 380853"/>
                  <a:gd name="connsiteX18" fmla="*/ 467268 w 468743"/>
                  <a:gd name="connsiteY18" fmla="*/ 371854 h 380853"/>
                  <a:gd name="connsiteX19" fmla="*/ 459183 w 468743"/>
                  <a:gd name="connsiteY19" fmla="*/ 380385 h 380853"/>
                  <a:gd name="connsiteX20" fmla="*/ 458793 w 468743"/>
                  <a:gd name="connsiteY20" fmla="*/ 380385 h 38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8743" h="380853">
                    <a:moveTo>
                      <a:pt x="458793" y="380385"/>
                    </a:moveTo>
                    <a:lnTo>
                      <a:pt x="458793" y="380385"/>
                    </a:lnTo>
                    <a:cubicBezTo>
                      <a:pt x="454165" y="380357"/>
                      <a:pt x="450430" y="376588"/>
                      <a:pt x="450486" y="371966"/>
                    </a:cubicBezTo>
                    <a:cubicBezTo>
                      <a:pt x="450486" y="371966"/>
                      <a:pt x="450486" y="371966"/>
                      <a:pt x="450486" y="371966"/>
                    </a:cubicBezTo>
                    <a:cubicBezTo>
                      <a:pt x="450486" y="369847"/>
                      <a:pt x="451936" y="161329"/>
                      <a:pt x="450486" y="109646"/>
                    </a:cubicBezTo>
                    <a:cubicBezTo>
                      <a:pt x="449036" y="59133"/>
                      <a:pt x="406496" y="16482"/>
                      <a:pt x="357545" y="16482"/>
                    </a:cubicBezTo>
                    <a:lnTo>
                      <a:pt x="271629" y="16482"/>
                    </a:lnTo>
                    <a:cubicBezTo>
                      <a:pt x="220559" y="16482"/>
                      <a:pt x="206955" y="62646"/>
                      <a:pt x="192627" y="111263"/>
                    </a:cubicBezTo>
                    <a:cubicBezTo>
                      <a:pt x="180026" y="154026"/>
                      <a:pt x="167035" y="198238"/>
                      <a:pt x="123882" y="198238"/>
                    </a:cubicBezTo>
                    <a:cubicBezTo>
                      <a:pt x="48448" y="198238"/>
                      <a:pt x="2508" y="118845"/>
                      <a:pt x="611" y="115444"/>
                    </a:cubicBezTo>
                    <a:cubicBezTo>
                      <a:pt x="-1953" y="111609"/>
                      <a:pt x="-950" y="106412"/>
                      <a:pt x="2898" y="103836"/>
                    </a:cubicBezTo>
                    <a:cubicBezTo>
                      <a:pt x="6744" y="101261"/>
                      <a:pt x="11930" y="102281"/>
                      <a:pt x="14494" y="106111"/>
                    </a:cubicBezTo>
                    <a:cubicBezTo>
                      <a:pt x="14717" y="106457"/>
                      <a:pt x="14940" y="106819"/>
                      <a:pt x="15107" y="107193"/>
                    </a:cubicBezTo>
                    <a:cubicBezTo>
                      <a:pt x="15554" y="107917"/>
                      <a:pt x="58261" y="181512"/>
                      <a:pt x="123882" y="181512"/>
                    </a:cubicBezTo>
                    <a:cubicBezTo>
                      <a:pt x="152484" y="181512"/>
                      <a:pt x="162910" y="153190"/>
                      <a:pt x="176570" y="106524"/>
                    </a:cubicBezTo>
                    <a:cubicBezTo>
                      <a:pt x="191288" y="56346"/>
                      <a:pt x="208015" y="-467"/>
                      <a:pt x="271350" y="-467"/>
                    </a:cubicBezTo>
                    <a:lnTo>
                      <a:pt x="357601" y="-467"/>
                    </a:lnTo>
                    <a:cubicBezTo>
                      <a:pt x="415361" y="-467"/>
                      <a:pt x="465539" y="49711"/>
                      <a:pt x="467268" y="108921"/>
                    </a:cubicBezTo>
                    <a:cubicBezTo>
                      <a:pt x="468773" y="160883"/>
                      <a:pt x="467268" y="369736"/>
                      <a:pt x="467268" y="371854"/>
                    </a:cubicBezTo>
                    <a:cubicBezTo>
                      <a:pt x="467379" y="376443"/>
                      <a:pt x="463755" y="380262"/>
                      <a:pt x="459183" y="380385"/>
                    </a:cubicBezTo>
                    <a:cubicBezTo>
                      <a:pt x="459072" y="380385"/>
                      <a:pt x="458905" y="380390"/>
                      <a:pt x="458793" y="380385"/>
                    </a:cubicBezTo>
                    <a:close/>
                  </a:path>
                </a:pathLst>
              </a:custGeom>
              <a:solidFill>
                <a:srgbClr val="30373B"/>
              </a:solidFill>
              <a:ln w="5573" cap="flat">
                <a:noFill/>
                <a:prstDash val="solid"/>
                <a:miter/>
              </a:ln>
            </p:spPr>
            <p:txBody>
              <a:bodyPr rtlCol="0" anchor="ctr"/>
              <a:lstStyle/>
              <a:p>
                <a:endParaRPr lang="en-GB"/>
              </a:p>
            </p:txBody>
          </p:sp>
          <p:sp>
            <p:nvSpPr>
              <p:cNvPr id="139" name="Graphic 6">
                <a:extLst>
                  <a:ext uri="{FF2B5EF4-FFF2-40B4-BE49-F238E27FC236}">
                    <a16:creationId xmlns:a16="http://schemas.microsoft.com/office/drawing/2014/main" id="{FD1F8E36-A071-56BF-7EB2-545F8B342CA7}"/>
                  </a:ext>
                </a:extLst>
              </p:cNvPr>
              <p:cNvSpPr/>
              <p:nvPr/>
            </p:nvSpPr>
            <p:spPr>
              <a:xfrm>
                <a:off x="8605167" y="3835795"/>
                <a:ext cx="145574" cy="186615"/>
              </a:xfrm>
              <a:custGeom>
                <a:avLst/>
                <a:gdLst>
                  <a:gd name="connsiteX0" fmla="*/ 71814 w 145574"/>
                  <a:gd name="connsiteY0" fmla="*/ 186148 h 186615"/>
                  <a:gd name="connsiteX1" fmla="*/ 63451 w 145574"/>
                  <a:gd name="connsiteY1" fmla="*/ 177785 h 186615"/>
                  <a:gd name="connsiteX2" fmla="*/ 71814 w 145574"/>
                  <a:gd name="connsiteY2" fmla="*/ 169422 h 186615"/>
                  <a:gd name="connsiteX3" fmla="*/ 127567 w 145574"/>
                  <a:gd name="connsiteY3" fmla="*/ 91981 h 186615"/>
                  <a:gd name="connsiteX4" fmla="*/ 111733 w 145574"/>
                  <a:gd name="connsiteY4" fmla="*/ 31934 h 186615"/>
                  <a:gd name="connsiteX5" fmla="*/ 32173 w 145574"/>
                  <a:gd name="connsiteY5" fmla="*/ 31934 h 186615"/>
                  <a:gd name="connsiteX6" fmla="*/ 16394 w 145574"/>
                  <a:gd name="connsiteY6" fmla="*/ 91981 h 186615"/>
                  <a:gd name="connsiteX7" fmla="*/ 25761 w 145574"/>
                  <a:gd name="connsiteY7" fmla="*/ 129447 h 186615"/>
                  <a:gd name="connsiteX8" fmla="*/ 21580 w 145574"/>
                  <a:gd name="connsiteY8" fmla="*/ 140514 h 186615"/>
                  <a:gd name="connsiteX9" fmla="*/ 10485 w 145574"/>
                  <a:gd name="connsiteY9" fmla="*/ 136305 h 186615"/>
                  <a:gd name="connsiteX10" fmla="*/ -276 w 145574"/>
                  <a:gd name="connsiteY10" fmla="*/ 93430 h 186615"/>
                  <a:gd name="connsiteX11" fmla="*/ 19851 w 145574"/>
                  <a:gd name="connsiteY11" fmla="*/ 20951 h 186615"/>
                  <a:gd name="connsiteX12" fmla="*/ 124110 w 145574"/>
                  <a:gd name="connsiteY12" fmla="*/ 20951 h 186615"/>
                  <a:gd name="connsiteX13" fmla="*/ 144237 w 145574"/>
                  <a:gd name="connsiteY13" fmla="*/ 93430 h 186615"/>
                  <a:gd name="connsiteX14" fmla="*/ 71814 w 145574"/>
                  <a:gd name="connsiteY14" fmla="*/ 186148 h 18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74" h="186615">
                    <a:moveTo>
                      <a:pt x="71814" y="186148"/>
                    </a:moveTo>
                    <a:cubicBezTo>
                      <a:pt x="67186" y="186148"/>
                      <a:pt x="63451" y="182402"/>
                      <a:pt x="63451" y="177785"/>
                    </a:cubicBezTo>
                    <a:cubicBezTo>
                      <a:pt x="63451" y="173169"/>
                      <a:pt x="67186" y="169422"/>
                      <a:pt x="71814" y="169422"/>
                    </a:cubicBezTo>
                    <a:cubicBezTo>
                      <a:pt x="92220" y="169422"/>
                      <a:pt x="122939" y="142493"/>
                      <a:pt x="127567" y="91981"/>
                    </a:cubicBezTo>
                    <a:cubicBezTo>
                      <a:pt x="129797" y="66836"/>
                      <a:pt x="124166" y="45483"/>
                      <a:pt x="111733" y="31934"/>
                    </a:cubicBezTo>
                    <a:cubicBezTo>
                      <a:pt x="89487" y="10675"/>
                      <a:pt x="54419" y="10675"/>
                      <a:pt x="32173" y="31934"/>
                    </a:cubicBezTo>
                    <a:cubicBezTo>
                      <a:pt x="19795" y="45483"/>
                      <a:pt x="14165" y="66836"/>
                      <a:pt x="16394" y="91981"/>
                    </a:cubicBezTo>
                    <a:cubicBezTo>
                      <a:pt x="17398" y="104904"/>
                      <a:pt x="20576" y="117560"/>
                      <a:pt x="25761" y="129447"/>
                    </a:cubicBezTo>
                    <a:cubicBezTo>
                      <a:pt x="27657" y="133667"/>
                      <a:pt x="25761" y="138618"/>
                      <a:pt x="21580" y="140514"/>
                    </a:cubicBezTo>
                    <a:cubicBezTo>
                      <a:pt x="17343" y="142410"/>
                      <a:pt x="12380" y="140525"/>
                      <a:pt x="10485" y="136305"/>
                    </a:cubicBezTo>
                    <a:cubicBezTo>
                      <a:pt x="4519" y="122707"/>
                      <a:pt x="896" y="108222"/>
                      <a:pt x="-276" y="93430"/>
                    </a:cubicBezTo>
                    <a:cubicBezTo>
                      <a:pt x="-2896" y="63547"/>
                      <a:pt x="4241" y="37677"/>
                      <a:pt x="19851" y="20951"/>
                    </a:cubicBezTo>
                    <a:cubicBezTo>
                      <a:pt x="48732" y="-7606"/>
                      <a:pt x="95230" y="-7606"/>
                      <a:pt x="124110" y="20951"/>
                    </a:cubicBezTo>
                    <a:cubicBezTo>
                      <a:pt x="139721" y="37677"/>
                      <a:pt x="146858" y="63825"/>
                      <a:pt x="144237" y="93430"/>
                    </a:cubicBezTo>
                    <a:cubicBezTo>
                      <a:pt x="140112" y="138033"/>
                      <a:pt x="111399" y="186148"/>
                      <a:pt x="71814" y="186148"/>
                    </a:cubicBezTo>
                    <a:close/>
                  </a:path>
                </a:pathLst>
              </a:custGeom>
              <a:solidFill>
                <a:srgbClr val="30373B"/>
              </a:solidFill>
              <a:ln w="5573" cap="flat">
                <a:noFill/>
                <a:prstDash val="solid"/>
                <a:miter/>
              </a:ln>
            </p:spPr>
            <p:txBody>
              <a:bodyPr rtlCol="0" anchor="ctr"/>
              <a:lstStyle/>
              <a:p>
                <a:endParaRPr lang="en-GB"/>
              </a:p>
            </p:txBody>
          </p:sp>
          <p:sp>
            <p:nvSpPr>
              <p:cNvPr id="140" name="Graphic 6">
                <a:extLst>
                  <a:ext uri="{FF2B5EF4-FFF2-40B4-BE49-F238E27FC236}">
                    <a16:creationId xmlns:a16="http://schemas.microsoft.com/office/drawing/2014/main" id="{9DF74694-D977-6C32-ECBC-48DE77049F24}"/>
                  </a:ext>
                </a:extLst>
              </p:cNvPr>
              <p:cNvSpPr/>
              <p:nvPr/>
            </p:nvSpPr>
            <p:spPr>
              <a:xfrm>
                <a:off x="7898500" y="5644664"/>
                <a:ext cx="47189" cy="630128"/>
              </a:xfrm>
              <a:custGeom>
                <a:avLst/>
                <a:gdLst>
                  <a:gd name="connsiteX0" fmla="*/ 7523 w 47189"/>
                  <a:gd name="connsiteY0" fmla="*/ 629661 h 630128"/>
                  <a:gd name="connsiteX1" fmla="*/ 6966 w 47189"/>
                  <a:gd name="connsiteY1" fmla="*/ 629661 h 630128"/>
                  <a:gd name="connsiteX2" fmla="*/ -784 w 47189"/>
                  <a:gd name="connsiteY2" fmla="*/ 620740 h 630128"/>
                  <a:gd name="connsiteX3" fmla="*/ 29657 w 47189"/>
                  <a:gd name="connsiteY3" fmla="*/ 179675 h 630128"/>
                  <a:gd name="connsiteX4" fmla="*/ 24584 w 47189"/>
                  <a:gd name="connsiteY4" fmla="*/ 8177 h 630128"/>
                  <a:gd name="connsiteX5" fmla="*/ 32724 w 47189"/>
                  <a:gd name="connsiteY5" fmla="*/ -464 h 630128"/>
                  <a:gd name="connsiteX6" fmla="*/ 41310 w 47189"/>
                  <a:gd name="connsiteY6" fmla="*/ 7675 h 630128"/>
                  <a:gd name="connsiteX7" fmla="*/ 46383 w 47189"/>
                  <a:gd name="connsiteY7" fmla="*/ 179563 h 630128"/>
                  <a:gd name="connsiteX8" fmla="*/ 46383 w 47189"/>
                  <a:gd name="connsiteY8" fmla="*/ 180399 h 630128"/>
                  <a:gd name="connsiteX9" fmla="*/ 15886 w 47189"/>
                  <a:gd name="connsiteY9" fmla="*/ 621855 h 630128"/>
                  <a:gd name="connsiteX10" fmla="*/ 7523 w 47189"/>
                  <a:gd name="connsiteY10" fmla="*/ 629661 h 63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89" h="630128">
                    <a:moveTo>
                      <a:pt x="7523" y="629661"/>
                    </a:moveTo>
                    <a:lnTo>
                      <a:pt x="6966" y="629661"/>
                    </a:lnTo>
                    <a:cubicBezTo>
                      <a:pt x="2338" y="629326"/>
                      <a:pt x="-1119" y="625368"/>
                      <a:pt x="-784" y="620740"/>
                    </a:cubicBezTo>
                    <a:lnTo>
                      <a:pt x="29657" y="179675"/>
                    </a:lnTo>
                    <a:lnTo>
                      <a:pt x="24584" y="8177"/>
                    </a:lnTo>
                    <a:cubicBezTo>
                      <a:pt x="24472" y="3550"/>
                      <a:pt x="28096" y="-297"/>
                      <a:pt x="32724" y="-464"/>
                    </a:cubicBezTo>
                    <a:cubicBezTo>
                      <a:pt x="37295" y="-576"/>
                      <a:pt x="41198" y="3048"/>
                      <a:pt x="41310" y="7675"/>
                    </a:cubicBezTo>
                    <a:lnTo>
                      <a:pt x="46383" y="179563"/>
                    </a:lnTo>
                    <a:lnTo>
                      <a:pt x="46383" y="180399"/>
                    </a:lnTo>
                    <a:lnTo>
                      <a:pt x="15886" y="621855"/>
                    </a:lnTo>
                    <a:cubicBezTo>
                      <a:pt x="15607" y="626259"/>
                      <a:pt x="11928" y="629717"/>
                      <a:pt x="7523" y="629661"/>
                    </a:cubicBezTo>
                    <a:close/>
                  </a:path>
                </a:pathLst>
              </a:custGeom>
              <a:solidFill>
                <a:srgbClr val="30373B"/>
              </a:solidFill>
              <a:ln w="5573" cap="flat">
                <a:noFill/>
                <a:prstDash val="solid"/>
                <a:miter/>
              </a:ln>
            </p:spPr>
            <p:txBody>
              <a:bodyPr rtlCol="0" anchor="ctr"/>
              <a:lstStyle/>
              <a:p>
                <a:endParaRPr lang="en-GB"/>
              </a:p>
            </p:txBody>
          </p:sp>
          <p:sp>
            <p:nvSpPr>
              <p:cNvPr id="141" name="Graphic 6">
                <a:extLst>
                  <a:ext uri="{FF2B5EF4-FFF2-40B4-BE49-F238E27FC236}">
                    <a16:creationId xmlns:a16="http://schemas.microsoft.com/office/drawing/2014/main" id="{38981A45-28E8-16A8-68C2-9BEF1BCC945C}"/>
                  </a:ext>
                </a:extLst>
              </p:cNvPr>
              <p:cNvSpPr/>
              <p:nvPr/>
            </p:nvSpPr>
            <p:spPr>
              <a:xfrm>
                <a:off x="7666429" y="5644887"/>
                <a:ext cx="102747" cy="631340"/>
              </a:xfrm>
              <a:custGeom>
                <a:avLst/>
                <a:gdLst>
                  <a:gd name="connsiteX0" fmla="*/ 7548 w 102747"/>
                  <a:gd name="connsiteY0" fmla="*/ 630832 h 631340"/>
                  <a:gd name="connsiteX1" fmla="*/ 5931 w 102747"/>
                  <a:gd name="connsiteY1" fmla="*/ 630832 h 631340"/>
                  <a:gd name="connsiteX2" fmla="*/ -648 w 102747"/>
                  <a:gd name="connsiteY2" fmla="*/ 621019 h 631340"/>
                  <a:gd name="connsiteX3" fmla="*/ 78354 w 102747"/>
                  <a:gd name="connsiteY3" fmla="*/ 219929 h 631340"/>
                  <a:gd name="connsiteX4" fmla="*/ 85213 w 102747"/>
                  <a:gd name="connsiteY4" fmla="*/ 7620 h 631340"/>
                  <a:gd name="connsiteX5" fmla="*/ 93854 w 102747"/>
                  <a:gd name="connsiteY5" fmla="*/ -464 h 631340"/>
                  <a:gd name="connsiteX6" fmla="*/ 101939 w 102747"/>
                  <a:gd name="connsiteY6" fmla="*/ 8066 h 631340"/>
                  <a:gd name="connsiteX7" fmla="*/ 101939 w 102747"/>
                  <a:gd name="connsiteY7" fmla="*/ 8122 h 631340"/>
                  <a:gd name="connsiteX8" fmla="*/ 95080 w 102747"/>
                  <a:gd name="connsiteY8" fmla="*/ 221155 h 631340"/>
                  <a:gd name="connsiteX9" fmla="*/ 95080 w 102747"/>
                  <a:gd name="connsiteY9" fmla="*/ 222494 h 631340"/>
                  <a:gd name="connsiteX10" fmla="*/ 15911 w 102747"/>
                  <a:gd name="connsiteY10" fmla="*/ 624253 h 631340"/>
                  <a:gd name="connsiteX11" fmla="*/ 7548 w 102747"/>
                  <a:gd name="connsiteY11" fmla="*/ 630832 h 63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747" h="631340">
                    <a:moveTo>
                      <a:pt x="7548" y="630832"/>
                    </a:moveTo>
                    <a:cubicBezTo>
                      <a:pt x="6991" y="630888"/>
                      <a:pt x="6489" y="630888"/>
                      <a:pt x="5931" y="630832"/>
                    </a:cubicBezTo>
                    <a:cubicBezTo>
                      <a:pt x="1415" y="629940"/>
                      <a:pt x="-1540" y="625535"/>
                      <a:pt x="-648" y="621019"/>
                    </a:cubicBezTo>
                    <a:lnTo>
                      <a:pt x="78354" y="219929"/>
                    </a:lnTo>
                    <a:lnTo>
                      <a:pt x="85213" y="7620"/>
                    </a:lnTo>
                    <a:cubicBezTo>
                      <a:pt x="85379" y="2992"/>
                      <a:pt x="89227" y="-575"/>
                      <a:pt x="93854" y="-464"/>
                    </a:cubicBezTo>
                    <a:cubicBezTo>
                      <a:pt x="98426" y="-353"/>
                      <a:pt x="102050" y="3495"/>
                      <a:pt x="101939" y="8066"/>
                    </a:cubicBezTo>
                    <a:cubicBezTo>
                      <a:pt x="101939" y="8066"/>
                      <a:pt x="101939" y="8122"/>
                      <a:pt x="101939" y="8122"/>
                    </a:cubicBezTo>
                    <a:lnTo>
                      <a:pt x="95080" y="221155"/>
                    </a:lnTo>
                    <a:lnTo>
                      <a:pt x="95080" y="222494"/>
                    </a:lnTo>
                    <a:lnTo>
                      <a:pt x="15911" y="624253"/>
                    </a:lnTo>
                    <a:cubicBezTo>
                      <a:pt x="15074" y="628155"/>
                      <a:pt x="11562" y="630943"/>
                      <a:pt x="7548" y="630832"/>
                    </a:cubicBezTo>
                    <a:close/>
                  </a:path>
                </a:pathLst>
              </a:custGeom>
              <a:solidFill>
                <a:srgbClr val="30373B"/>
              </a:solidFill>
              <a:ln w="5573" cap="flat">
                <a:noFill/>
                <a:prstDash val="solid"/>
                <a:miter/>
              </a:ln>
            </p:spPr>
            <p:txBody>
              <a:bodyPr rtlCol="0" anchor="ctr"/>
              <a:lstStyle/>
              <a:p>
                <a:endParaRPr lang="en-GB"/>
              </a:p>
            </p:txBody>
          </p:sp>
          <p:sp>
            <p:nvSpPr>
              <p:cNvPr id="142" name="Graphic 6">
                <a:extLst>
                  <a:ext uri="{FF2B5EF4-FFF2-40B4-BE49-F238E27FC236}">
                    <a16:creationId xmlns:a16="http://schemas.microsoft.com/office/drawing/2014/main" id="{153E743C-FCFC-2A8A-C41A-C42669C50627}"/>
                  </a:ext>
                </a:extLst>
              </p:cNvPr>
              <p:cNvSpPr/>
              <p:nvPr/>
            </p:nvSpPr>
            <p:spPr>
              <a:xfrm>
                <a:off x="7721034" y="5898375"/>
                <a:ext cx="126894" cy="377810"/>
              </a:xfrm>
              <a:custGeom>
                <a:avLst/>
                <a:gdLst>
                  <a:gd name="connsiteX0" fmla="*/ 7582 w 126894"/>
                  <a:gd name="connsiteY0" fmla="*/ 377344 h 377810"/>
                  <a:gd name="connsiteX1" fmla="*/ 5129 w 126894"/>
                  <a:gd name="connsiteY1" fmla="*/ 377009 h 377810"/>
                  <a:gd name="connsiteX2" fmla="*/ -447 w 126894"/>
                  <a:gd name="connsiteY2" fmla="*/ 366528 h 377810"/>
                  <a:gd name="connsiteX3" fmla="*/ 109722 w 126894"/>
                  <a:gd name="connsiteY3" fmla="*/ 5469 h 377810"/>
                  <a:gd name="connsiteX4" fmla="*/ 120148 w 126894"/>
                  <a:gd name="connsiteY4" fmla="*/ -107 h 377810"/>
                  <a:gd name="connsiteX5" fmla="*/ 125723 w 126894"/>
                  <a:gd name="connsiteY5" fmla="*/ 10375 h 377810"/>
                  <a:gd name="connsiteX6" fmla="*/ 15555 w 126894"/>
                  <a:gd name="connsiteY6" fmla="*/ 371434 h 377810"/>
                  <a:gd name="connsiteX7" fmla="*/ 7582 w 126894"/>
                  <a:gd name="connsiteY7" fmla="*/ 377344 h 37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94" h="377810">
                    <a:moveTo>
                      <a:pt x="7582" y="377344"/>
                    </a:moveTo>
                    <a:cubicBezTo>
                      <a:pt x="6746" y="377344"/>
                      <a:pt x="5909" y="377233"/>
                      <a:pt x="5129" y="377009"/>
                    </a:cubicBezTo>
                    <a:cubicBezTo>
                      <a:pt x="724" y="375615"/>
                      <a:pt x="-1785" y="370988"/>
                      <a:pt x="-447" y="366528"/>
                    </a:cubicBezTo>
                    <a:lnTo>
                      <a:pt x="109722" y="5469"/>
                    </a:lnTo>
                    <a:cubicBezTo>
                      <a:pt x="111060" y="1064"/>
                      <a:pt x="115743" y="-1445"/>
                      <a:pt x="120148" y="-107"/>
                    </a:cubicBezTo>
                    <a:cubicBezTo>
                      <a:pt x="124609" y="1287"/>
                      <a:pt x="127061" y="5970"/>
                      <a:pt x="125723" y="10375"/>
                    </a:cubicBezTo>
                    <a:lnTo>
                      <a:pt x="15555" y="371434"/>
                    </a:lnTo>
                    <a:cubicBezTo>
                      <a:pt x="14496" y="374946"/>
                      <a:pt x="11262" y="377344"/>
                      <a:pt x="7582" y="377344"/>
                    </a:cubicBezTo>
                    <a:close/>
                  </a:path>
                </a:pathLst>
              </a:custGeom>
              <a:solidFill>
                <a:srgbClr val="30373B"/>
              </a:solidFill>
              <a:ln w="5573" cap="flat">
                <a:noFill/>
                <a:prstDash val="solid"/>
                <a:miter/>
              </a:ln>
            </p:spPr>
            <p:txBody>
              <a:bodyPr rtlCol="0" anchor="ctr"/>
              <a:lstStyle/>
              <a:p>
                <a:endParaRPr lang="en-GB"/>
              </a:p>
            </p:txBody>
          </p:sp>
          <p:sp>
            <p:nvSpPr>
              <p:cNvPr id="143" name="Graphic 6">
                <a:extLst>
                  <a:ext uri="{FF2B5EF4-FFF2-40B4-BE49-F238E27FC236}">
                    <a16:creationId xmlns:a16="http://schemas.microsoft.com/office/drawing/2014/main" id="{F5D58B6F-BE0C-22D4-D086-9FBBB397B808}"/>
                  </a:ext>
                </a:extLst>
              </p:cNvPr>
              <p:cNvSpPr/>
              <p:nvPr/>
            </p:nvSpPr>
            <p:spPr>
              <a:xfrm>
                <a:off x="7831226" y="5898400"/>
                <a:ext cx="23698" cy="376392"/>
              </a:xfrm>
              <a:custGeom>
                <a:avLst/>
                <a:gdLst>
                  <a:gd name="connsiteX0" fmla="*/ 14528 w 23698"/>
                  <a:gd name="connsiteY0" fmla="*/ 375925 h 376392"/>
                  <a:gd name="connsiteX1" fmla="*/ 6165 w 23698"/>
                  <a:gd name="connsiteY1" fmla="*/ 367729 h 376392"/>
                  <a:gd name="connsiteX2" fmla="*/ -804 w 23698"/>
                  <a:gd name="connsiteY2" fmla="*/ 8064 h 376392"/>
                  <a:gd name="connsiteX3" fmla="*/ 7391 w 23698"/>
                  <a:gd name="connsiteY3" fmla="*/ -466 h 376392"/>
                  <a:gd name="connsiteX4" fmla="*/ 7391 w 23698"/>
                  <a:gd name="connsiteY4" fmla="*/ -466 h 376392"/>
                  <a:gd name="connsiteX5" fmla="*/ 15922 w 23698"/>
                  <a:gd name="connsiteY5" fmla="*/ 7729 h 376392"/>
                  <a:gd name="connsiteX6" fmla="*/ 22891 w 23698"/>
                  <a:gd name="connsiteY6" fmla="*/ 367395 h 376392"/>
                  <a:gd name="connsiteX7" fmla="*/ 14639 w 23698"/>
                  <a:gd name="connsiteY7" fmla="*/ 375925 h 37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8" h="376392">
                    <a:moveTo>
                      <a:pt x="14528" y="375925"/>
                    </a:moveTo>
                    <a:cubicBezTo>
                      <a:pt x="9956" y="375981"/>
                      <a:pt x="6220" y="372301"/>
                      <a:pt x="6165" y="367729"/>
                    </a:cubicBezTo>
                    <a:lnTo>
                      <a:pt x="-804" y="8064"/>
                    </a:lnTo>
                    <a:cubicBezTo>
                      <a:pt x="-916" y="3436"/>
                      <a:pt x="2763" y="-355"/>
                      <a:pt x="7391" y="-466"/>
                    </a:cubicBezTo>
                    <a:cubicBezTo>
                      <a:pt x="7391" y="-466"/>
                      <a:pt x="7391" y="-466"/>
                      <a:pt x="7391" y="-466"/>
                    </a:cubicBezTo>
                    <a:cubicBezTo>
                      <a:pt x="11963" y="-522"/>
                      <a:pt x="15754" y="3157"/>
                      <a:pt x="15922" y="7729"/>
                    </a:cubicBezTo>
                    <a:lnTo>
                      <a:pt x="22891" y="367395"/>
                    </a:lnTo>
                    <a:cubicBezTo>
                      <a:pt x="22946" y="372022"/>
                      <a:pt x="19267" y="375813"/>
                      <a:pt x="14639" y="375925"/>
                    </a:cubicBezTo>
                    <a:close/>
                  </a:path>
                </a:pathLst>
              </a:custGeom>
              <a:solidFill>
                <a:srgbClr val="30373B"/>
              </a:solidFill>
              <a:ln w="5573" cap="flat">
                <a:noFill/>
                <a:prstDash val="solid"/>
                <a:miter/>
              </a:ln>
            </p:spPr>
            <p:txBody>
              <a:bodyPr rtlCol="0" anchor="ctr"/>
              <a:lstStyle/>
              <a:p>
                <a:endParaRPr lang="en-GB"/>
              </a:p>
            </p:txBody>
          </p:sp>
          <p:sp>
            <p:nvSpPr>
              <p:cNvPr id="144" name="Graphic 6">
                <a:extLst>
                  <a:ext uri="{FF2B5EF4-FFF2-40B4-BE49-F238E27FC236}">
                    <a16:creationId xmlns:a16="http://schemas.microsoft.com/office/drawing/2014/main" id="{416F12BD-2951-1CE6-DCFC-380B53097E9A}"/>
                  </a:ext>
                </a:extLst>
              </p:cNvPr>
              <p:cNvSpPr/>
              <p:nvPr/>
            </p:nvSpPr>
            <p:spPr>
              <a:xfrm>
                <a:off x="7566210" y="5240663"/>
                <a:ext cx="491907" cy="365674"/>
              </a:xfrm>
              <a:custGeom>
                <a:avLst/>
                <a:gdLst>
                  <a:gd name="connsiteX0" fmla="*/ 325094 w 491907"/>
                  <a:gd name="connsiteY0" fmla="*/ 365179 h 365674"/>
                  <a:gd name="connsiteX1" fmla="*/ 233101 w 491907"/>
                  <a:gd name="connsiteY1" fmla="*/ 365179 h 365674"/>
                  <a:gd name="connsiteX2" fmla="*/ -784 w 491907"/>
                  <a:gd name="connsiteY2" fmla="*/ 70243 h 365674"/>
                  <a:gd name="connsiteX3" fmla="*/ 6966 w 491907"/>
                  <a:gd name="connsiteY3" fmla="*/ 61267 h 365674"/>
                  <a:gd name="connsiteX4" fmla="*/ 15942 w 491907"/>
                  <a:gd name="connsiteY4" fmla="*/ 69017 h 365674"/>
                  <a:gd name="connsiteX5" fmla="*/ 233380 w 491907"/>
                  <a:gd name="connsiteY5" fmla="*/ 348453 h 365674"/>
                  <a:gd name="connsiteX6" fmla="*/ 325373 w 491907"/>
                  <a:gd name="connsiteY6" fmla="*/ 348453 h 365674"/>
                  <a:gd name="connsiteX7" fmla="*/ 443013 w 491907"/>
                  <a:gd name="connsiteY7" fmla="*/ 288685 h 365674"/>
                  <a:gd name="connsiteX8" fmla="*/ 439946 w 491907"/>
                  <a:gd name="connsiteY8" fmla="*/ 10921 h 365674"/>
                  <a:gd name="connsiteX9" fmla="*/ 444741 w 491907"/>
                  <a:gd name="connsiteY9" fmla="*/ 105 h 365674"/>
                  <a:gd name="connsiteX10" fmla="*/ 455557 w 491907"/>
                  <a:gd name="connsiteY10" fmla="*/ 4845 h 365674"/>
                  <a:gd name="connsiteX11" fmla="*/ 455613 w 491907"/>
                  <a:gd name="connsiteY11" fmla="*/ 5067 h 365674"/>
                  <a:gd name="connsiteX12" fmla="*/ 456728 w 491907"/>
                  <a:gd name="connsiteY12" fmla="*/ 298219 h 365674"/>
                  <a:gd name="connsiteX13" fmla="*/ 325094 w 491907"/>
                  <a:gd name="connsiteY13" fmla="*/ 365179 h 36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907" h="365674">
                    <a:moveTo>
                      <a:pt x="325094" y="365179"/>
                    </a:moveTo>
                    <a:lnTo>
                      <a:pt x="233101" y="365179"/>
                    </a:lnTo>
                    <a:cubicBezTo>
                      <a:pt x="90484" y="365179"/>
                      <a:pt x="13935" y="268725"/>
                      <a:pt x="-784" y="70243"/>
                    </a:cubicBezTo>
                    <a:cubicBezTo>
                      <a:pt x="-1119" y="65616"/>
                      <a:pt x="2338" y="61601"/>
                      <a:pt x="6966" y="61267"/>
                    </a:cubicBezTo>
                    <a:cubicBezTo>
                      <a:pt x="11593" y="60932"/>
                      <a:pt x="15607" y="64389"/>
                      <a:pt x="15942" y="69017"/>
                    </a:cubicBezTo>
                    <a:cubicBezTo>
                      <a:pt x="29936" y="257073"/>
                      <a:pt x="100966" y="348453"/>
                      <a:pt x="233380" y="348453"/>
                    </a:cubicBezTo>
                    <a:lnTo>
                      <a:pt x="325373" y="348453"/>
                    </a:lnTo>
                    <a:cubicBezTo>
                      <a:pt x="372095" y="349345"/>
                      <a:pt x="416195" y="326932"/>
                      <a:pt x="443013" y="288685"/>
                    </a:cubicBezTo>
                    <a:cubicBezTo>
                      <a:pt x="485274" y="227747"/>
                      <a:pt x="484159" y="129119"/>
                      <a:pt x="439946" y="10921"/>
                    </a:cubicBezTo>
                    <a:cubicBezTo>
                      <a:pt x="438274" y="6629"/>
                      <a:pt x="440392" y="1778"/>
                      <a:pt x="444741" y="105"/>
                    </a:cubicBezTo>
                    <a:cubicBezTo>
                      <a:pt x="449034" y="-1567"/>
                      <a:pt x="453884" y="551"/>
                      <a:pt x="455557" y="4845"/>
                    </a:cubicBezTo>
                    <a:cubicBezTo>
                      <a:pt x="455557" y="4956"/>
                      <a:pt x="455613" y="5012"/>
                      <a:pt x="455613" y="5067"/>
                    </a:cubicBezTo>
                    <a:cubicBezTo>
                      <a:pt x="514823" y="163295"/>
                      <a:pt x="489065" y="251832"/>
                      <a:pt x="456728" y="298219"/>
                    </a:cubicBezTo>
                    <a:cubicBezTo>
                      <a:pt x="426732" y="341093"/>
                      <a:pt x="377391" y="366182"/>
                      <a:pt x="325094" y="365179"/>
                    </a:cubicBezTo>
                    <a:close/>
                  </a:path>
                </a:pathLst>
              </a:custGeom>
              <a:solidFill>
                <a:srgbClr val="30373B"/>
              </a:solidFill>
              <a:ln w="5573" cap="flat">
                <a:noFill/>
                <a:prstDash val="solid"/>
                <a:miter/>
              </a:ln>
            </p:spPr>
            <p:txBody>
              <a:bodyPr rtlCol="0" anchor="ctr"/>
              <a:lstStyle/>
              <a:p>
                <a:endParaRPr lang="en-GB"/>
              </a:p>
            </p:txBody>
          </p:sp>
          <p:sp>
            <p:nvSpPr>
              <p:cNvPr id="145" name="Graphic 6">
                <a:extLst>
                  <a:ext uri="{FF2B5EF4-FFF2-40B4-BE49-F238E27FC236}">
                    <a16:creationId xmlns:a16="http://schemas.microsoft.com/office/drawing/2014/main" id="{0964D3E6-C939-4DAC-45BF-65928CCF393B}"/>
                  </a:ext>
                </a:extLst>
              </p:cNvPr>
              <p:cNvSpPr/>
              <p:nvPr/>
            </p:nvSpPr>
            <p:spPr>
              <a:xfrm>
                <a:off x="7772825" y="5419702"/>
                <a:ext cx="145591" cy="186606"/>
              </a:xfrm>
              <a:custGeom>
                <a:avLst/>
                <a:gdLst>
                  <a:gd name="connsiteX0" fmla="*/ 71869 w 145591"/>
                  <a:gd name="connsiteY0" fmla="*/ 186140 h 186606"/>
                  <a:gd name="connsiteX1" fmla="*/ 63506 w 145591"/>
                  <a:gd name="connsiteY1" fmla="*/ 177777 h 186606"/>
                  <a:gd name="connsiteX2" fmla="*/ 71869 w 145591"/>
                  <a:gd name="connsiteY2" fmla="*/ 169414 h 186606"/>
                  <a:gd name="connsiteX3" fmla="*/ 127622 w 145591"/>
                  <a:gd name="connsiteY3" fmla="*/ 91972 h 186606"/>
                  <a:gd name="connsiteX4" fmla="*/ 111789 w 145591"/>
                  <a:gd name="connsiteY4" fmla="*/ 31926 h 186606"/>
                  <a:gd name="connsiteX5" fmla="*/ 32228 w 145591"/>
                  <a:gd name="connsiteY5" fmla="*/ 31926 h 186606"/>
                  <a:gd name="connsiteX6" fmla="*/ 16395 w 145591"/>
                  <a:gd name="connsiteY6" fmla="*/ 91972 h 186606"/>
                  <a:gd name="connsiteX7" fmla="*/ 25817 w 145591"/>
                  <a:gd name="connsiteY7" fmla="*/ 129494 h 186606"/>
                  <a:gd name="connsiteX8" fmla="*/ 21357 w 145591"/>
                  <a:gd name="connsiteY8" fmla="*/ 140422 h 186606"/>
                  <a:gd name="connsiteX9" fmla="*/ 10540 w 145591"/>
                  <a:gd name="connsiteY9" fmla="*/ 136296 h 186606"/>
                  <a:gd name="connsiteX10" fmla="*/ -276 w 145591"/>
                  <a:gd name="connsiteY10" fmla="*/ 93422 h 186606"/>
                  <a:gd name="connsiteX11" fmla="*/ 19907 w 145591"/>
                  <a:gd name="connsiteY11" fmla="*/ 20942 h 186606"/>
                  <a:gd name="connsiteX12" fmla="*/ 124110 w 145591"/>
                  <a:gd name="connsiteY12" fmla="*/ 20942 h 186606"/>
                  <a:gd name="connsiteX13" fmla="*/ 144237 w 145591"/>
                  <a:gd name="connsiteY13" fmla="*/ 93422 h 186606"/>
                  <a:gd name="connsiteX14" fmla="*/ 71869 w 145591"/>
                  <a:gd name="connsiteY14" fmla="*/ 186140 h 18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591" h="186606">
                    <a:moveTo>
                      <a:pt x="71869" y="186140"/>
                    </a:moveTo>
                    <a:cubicBezTo>
                      <a:pt x="67242" y="186140"/>
                      <a:pt x="63506" y="182404"/>
                      <a:pt x="63506" y="177777"/>
                    </a:cubicBezTo>
                    <a:cubicBezTo>
                      <a:pt x="63506" y="173149"/>
                      <a:pt x="67242" y="169414"/>
                      <a:pt x="71869" y="169414"/>
                    </a:cubicBezTo>
                    <a:cubicBezTo>
                      <a:pt x="92331" y="169414"/>
                      <a:pt x="123051" y="142484"/>
                      <a:pt x="127622" y="91972"/>
                    </a:cubicBezTo>
                    <a:cubicBezTo>
                      <a:pt x="129797" y="66827"/>
                      <a:pt x="124221" y="45474"/>
                      <a:pt x="111789" y="31926"/>
                    </a:cubicBezTo>
                    <a:cubicBezTo>
                      <a:pt x="89543" y="10684"/>
                      <a:pt x="54474" y="10684"/>
                      <a:pt x="32228" y="31926"/>
                    </a:cubicBezTo>
                    <a:cubicBezTo>
                      <a:pt x="19795" y="45474"/>
                      <a:pt x="14220" y="66827"/>
                      <a:pt x="16395" y="91972"/>
                    </a:cubicBezTo>
                    <a:cubicBezTo>
                      <a:pt x="17454" y="104907"/>
                      <a:pt x="20632" y="117563"/>
                      <a:pt x="25817" y="129494"/>
                    </a:cubicBezTo>
                    <a:cubicBezTo>
                      <a:pt x="27601" y="133732"/>
                      <a:pt x="25593" y="138638"/>
                      <a:pt x="21357" y="140422"/>
                    </a:cubicBezTo>
                    <a:cubicBezTo>
                      <a:pt x="17230" y="142206"/>
                      <a:pt x="12436" y="140366"/>
                      <a:pt x="10540" y="136296"/>
                    </a:cubicBezTo>
                    <a:cubicBezTo>
                      <a:pt x="4631" y="122692"/>
                      <a:pt x="951" y="108197"/>
                      <a:pt x="-276" y="93422"/>
                    </a:cubicBezTo>
                    <a:cubicBezTo>
                      <a:pt x="-2897" y="63538"/>
                      <a:pt x="4240" y="37668"/>
                      <a:pt x="19907" y="20942"/>
                    </a:cubicBezTo>
                    <a:cubicBezTo>
                      <a:pt x="48787" y="-7603"/>
                      <a:pt x="95230" y="-7603"/>
                      <a:pt x="124110" y="20942"/>
                    </a:cubicBezTo>
                    <a:cubicBezTo>
                      <a:pt x="139721" y="38003"/>
                      <a:pt x="146913" y="63817"/>
                      <a:pt x="144237" y="93422"/>
                    </a:cubicBezTo>
                    <a:cubicBezTo>
                      <a:pt x="140223" y="138025"/>
                      <a:pt x="111454" y="186140"/>
                      <a:pt x="71869" y="186140"/>
                    </a:cubicBezTo>
                    <a:close/>
                  </a:path>
                </a:pathLst>
              </a:custGeom>
              <a:solidFill>
                <a:srgbClr val="30373B"/>
              </a:solidFill>
              <a:ln w="5573" cap="flat">
                <a:noFill/>
                <a:prstDash val="solid"/>
                <a:miter/>
              </a:ln>
            </p:spPr>
            <p:txBody>
              <a:bodyPr rtlCol="0" anchor="ctr"/>
              <a:lstStyle/>
              <a:p>
                <a:endParaRPr lang="en-GB"/>
              </a:p>
            </p:txBody>
          </p:sp>
          <p:sp>
            <p:nvSpPr>
              <p:cNvPr id="146" name="Graphic 6">
                <a:extLst>
                  <a:ext uri="{FF2B5EF4-FFF2-40B4-BE49-F238E27FC236}">
                    <a16:creationId xmlns:a16="http://schemas.microsoft.com/office/drawing/2014/main" id="{AFC62D7A-80DF-C129-7E1A-8968FB8E0F6B}"/>
                  </a:ext>
                </a:extLst>
              </p:cNvPr>
              <p:cNvSpPr/>
              <p:nvPr/>
            </p:nvSpPr>
            <p:spPr>
              <a:xfrm>
                <a:off x="5239414" y="5623084"/>
                <a:ext cx="64012" cy="416150"/>
              </a:xfrm>
              <a:custGeom>
                <a:avLst/>
                <a:gdLst>
                  <a:gd name="connsiteX0" fmla="*/ 7561 w 64012"/>
                  <a:gd name="connsiteY0" fmla="*/ 415683 h 416150"/>
                  <a:gd name="connsiteX1" fmla="*/ 6558 w 64012"/>
                  <a:gd name="connsiteY1" fmla="*/ 415683 h 416150"/>
                  <a:gd name="connsiteX2" fmla="*/ -752 w 64012"/>
                  <a:gd name="connsiteY2" fmla="*/ 406483 h 416150"/>
                  <a:gd name="connsiteX3" fmla="*/ -746 w 64012"/>
                  <a:gd name="connsiteY3" fmla="*/ 406427 h 416150"/>
                  <a:gd name="connsiteX4" fmla="*/ 46422 w 64012"/>
                  <a:gd name="connsiteY4" fmla="*/ 6954 h 416150"/>
                  <a:gd name="connsiteX5" fmla="*/ 55760 w 64012"/>
                  <a:gd name="connsiteY5" fmla="*/ -405 h 416150"/>
                  <a:gd name="connsiteX6" fmla="*/ 63148 w 64012"/>
                  <a:gd name="connsiteY6" fmla="*/ 8905 h 416150"/>
                  <a:gd name="connsiteX7" fmla="*/ 15980 w 64012"/>
                  <a:gd name="connsiteY7" fmla="*/ 408379 h 416150"/>
                  <a:gd name="connsiteX8" fmla="*/ 7561 w 64012"/>
                  <a:gd name="connsiteY8" fmla="*/ 415683 h 4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12" h="416150">
                    <a:moveTo>
                      <a:pt x="7561" y="415683"/>
                    </a:moveTo>
                    <a:lnTo>
                      <a:pt x="6558" y="415683"/>
                    </a:lnTo>
                    <a:cubicBezTo>
                      <a:pt x="1997" y="415180"/>
                      <a:pt x="-1276" y="411055"/>
                      <a:pt x="-752" y="406483"/>
                    </a:cubicBezTo>
                    <a:cubicBezTo>
                      <a:pt x="-752" y="406483"/>
                      <a:pt x="-746" y="406427"/>
                      <a:pt x="-746" y="406427"/>
                    </a:cubicBezTo>
                    <a:lnTo>
                      <a:pt x="46422" y="6954"/>
                    </a:lnTo>
                    <a:cubicBezTo>
                      <a:pt x="46962" y="2327"/>
                      <a:pt x="51144" y="-963"/>
                      <a:pt x="55760" y="-405"/>
                    </a:cubicBezTo>
                    <a:cubicBezTo>
                      <a:pt x="60377" y="96"/>
                      <a:pt x="63688" y="4278"/>
                      <a:pt x="63148" y="8905"/>
                    </a:cubicBezTo>
                    <a:lnTo>
                      <a:pt x="15980" y="408379"/>
                    </a:lnTo>
                    <a:cubicBezTo>
                      <a:pt x="15440" y="412616"/>
                      <a:pt x="11815" y="415738"/>
                      <a:pt x="7561" y="415683"/>
                    </a:cubicBezTo>
                    <a:close/>
                  </a:path>
                </a:pathLst>
              </a:custGeom>
              <a:solidFill>
                <a:srgbClr val="30373B"/>
              </a:solidFill>
              <a:ln w="5573" cap="flat">
                <a:noFill/>
                <a:prstDash val="solid"/>
                <a:miter/>
              </a:ln>
            </p:spPr>
            <p:txBody>
              <a:bodyPr rtlCol="0" anchor="ctr"/>
              <a:lstStyle/>
              <a:p>
                <a:endParaRPr lang="en-GB"/>
              </a:p>
            </p:txBody>
          </p:sp>
          <p:sp>
            <p:nvSpPr>
              <p:cNvPr id="147" name="Graphic 6">
                <a:extLst>
                  <a:ext uri="{FF2B5EF4-FFF2-40B4-BE49-F238E27FC236}">
                    <a16:creationId xmlns:a16="http://schemas.microsoft.com/office/drawing/2014/main" id="{A152EACF-9EAB-FAE0-D5E5-9B760435190C}"/>
                  </a:ext>
                </a:extLst>
              </p:cNvPr>
              <p:cNvSpPr/>
              <p:nvPr/>
            </p:nvSpPr>
            <p:spPr>
              <a:xfrm>
                <a:off x="5438052" y="5485927"/>
                <a:ext cx="46961" cy="551856"/>
              </a:xfrm>
              <a:custGeom>
                <a:avLst/>
                <a:gdLst>
                  <a:gd name="connsiteX0" fmla="*/ 7573 w 46961"/>
                  <a:gd name="connsiteY0" fmla="*/ 551390 h 551856"/>
                  <a:gd name="connsiteX1" fmla="*/ 6960 w 46961"/>
                  <a:gd name="connsiteY1" fmla="*/ 551390 h 551856"/>
                  <a:gd name="connsiteX2" fmla="*/ -790 w 46961"/>
                  <a:gd name="connsiteY2" fmla="*/ 542414 h 551856"/>
                  <a:gd name="connsiteX3" fmla="*/ 29429 w 46961"/>
                  <a:gd name="connsiteY3" fmla="*/ 122089 h 551856"/>
                  <a:gd name="connsiteX4" fmla="*/ 24411 w 46961"/>
                  <a:gd name="connsiteY4" fmla="*/ 8296 h 551856"/>
                  <a:gd name="connsiteX5" fmla="*/ 32384 w 46961"/>
                  <a:gd name="connsiteY5" fmla="*/ -457 h 551856"/>
                  <a:gd name="connsiteX6" fmla="*/ 41137 w 46961"/>
                  <a:gd name="connsiteY6" fmla="*/ 7515 h 551856"/>
                  <a:gd name="connsiteX7" fmla="*/ 46155 w 46961"/>
                  <a:gd name="connsiteY7" fmla="*/ 121810 h 551856"/>
                  <a:gd name="connsiteX8" fmla="*/ 46155 w 46961"/>
                  <a:gd name="connsiteY8" fmla="*/ 122758 h 551856"/>
                  <a:gd name="connsiteX9" fmla="*/ 15936 w 46961"/>
                  <a:gd name="connsiteY9" fmla="*/ 543640 h 551856"/>
                  <a:gd name="connsiteX10" fmla="*/ 7573 w 46961"/>
                  <a:gd name="connsiteY10" fmla="*/ 551390 h 55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961" h="551856">
                    <a:moveTo>
                      <a:pt x="7573" y="551390"/>
                    </a:moveTo>
                    <a:lnTo>
                      <a:pt x="6960" y="551390"/>
                    </a:lnTo>
                    <a:cubicBezTo>
                      <a:pt x="2366" y="551000"/>
                      <a:pt x="-1080" y="547041"/>
                      <a:pt x="-790" y="542414"/>
                    </a:cubicBezTo>
                    <a:lnTo>
                      <a:pt x="29429" y="122089"/>
                    </a:lnTo>
                    <a:lnTo>
                      <a:pt x="24411" y="8296"/>
                    </a:lnTo>
                    <a:cubicBezTo>
                      <a:pt x="24194" y="3669"/>
                      <a:pt x="27767" y="-234"/>
                      <a:pt x="32384" y="-457"/>
                    </a:cubicBezTo>
                    <a:cubicBezTo>
                      <a:pt x="37000" y="-680"/>
                      <a:pt x="40920" y="2888"/>
                      <a:pt x="41137" y="7515"/>
                    </a:cubicBezTo>
                    <a:lnTo>
                      <a:pt x="46155" y="121810"/>
                    </a:lnTo>
                    <a:lnTo>
                      <a:pt x="46155" y="122758"/>
                    </a:lnTo>
                    <a:lnTo>
                      <a:pt x="15936" y="543640"/>
                    </a:lnTo>
                    <a:cubicBezTo>
                      <a:pt x="15613" y="548044"/>
                      <a:pt x="11961" y="551390"/>
                      <a:pt x="7573" y="551390"/>
                    </a:cubicBezTo>
                    <a:close/>
                  </a:path>
                </a:pathLst>
              </a:custGeom>
              <a:solidFill>
                <a:srgbClr val="30373B"/>
              </a:solidFill>
              <a:ln w="5573" cap="flat">
                <a:noFill/>
                <a:prstDash val="solid"/>
                <a:miter/>
              </a:ln>
            </p:spPr>
            <p:txBody>
              <a:bodyPr rtlCol="0" anchor="ctr"/>
              <a:lstStyle/>
              <a:p>
                <a:endParaRPr lang="en-GB"/>
              </a:p>
            </p:txBody>
          </p:sp>
          <p:sp>
            <p:nvSpPr>
              <p:cNvPr id="148" name="Graphic 6">
                <a:extLst>
                  <a:ext uri="{FF2B5EF4-FFF2-40B4-BE49-F238E27FC236}">
                    <a16:creationId xmlns:a16="http://schemas.microsoft.com/office/drawing/2014/main" id="{ACEA9D10-A952-4615-9E48-43E3C94883C8}"/>
                  </a:ext>
                </a:extLst>
              </p:cNvPr>
              <p:cNvSpPr/>
              <p:nvPr/>
            </p:nvSpPr>
            <p:spPr>
              <a:xfrm>
                <a:off x="5292744" y="5682686"/>
                <a:ext cx="102283" cy="356589"/>
              </a:xfrm>
              <a:custGeom>
                <a:avLst/>
                <a:gdLst>
                  <a:gd name="connsiteX0" fmla="*/ 7532 w 102283"/>
                  <a:gd name="connsiteY0" fmla="*/ 356081 h 356589"/>
                  <a:gd name="connsiteX1" fmla="*/ 5525 w 102283"/>
                  <a:gd name="connsiteY1" fmla="*/ 356081 h 356589"/>
                  <a:gd name="connsiteX2" fmla="*/ -552 w 102283"/>
                  <a:gd name="connsiteY2" fmla="*/ 345934 h 356589"/>
                  <a:gd name="connsiteX3" fmla="*/ -552 w 102283"/>
                  <a:gd name="connsiteY3" fmla="*/ 345934 h 356589"/>
                  <a:gd name="connsiteX4" fmla="*/ 84973 w 102283"/>
                  <a:gd name="connsiteY4" fmla="*/ 5838 h 356589"/>
                  <a:gd name="connsiteX5" fmla="*/ 94117 w 102283"/>
                  <a:gd name="connsiteY5" fmla="*/ -407 h 356589"/>
                  <a:gd name="connsiteX6" fmla="*/ 101476 w 102283"/>
                  <a:gd name="connsiteY6" fmla="*/ 7901 h 356589"/>
                  <a:gd name="connsiteX7" fmla="*/ 101476 w 102283"/>
                  <a:gd name="connsiteY7" fmla="*/ 347662 h 356589"/>
                  <a:gd name="connsiteX8" fmla="*/ 93113 w 102283"/>
                  <a:gd name="connsiteY8" fmla="*/ 356025 h 356589"/>
                  <a:gd name="connsiteX9" fmla="*/ 84750 w 102283"/>
                  <a:gd name="connsiteY9" fmla="*/ 347662 h 356589"/>
                  <a:gd name="connsiteX10" fmla="*/ 84750 w 102283"/>
                  <a:gd name="connsiteY10" fmla="*/ 75362 h 356589"/>
                  <a:gd name="connsiteX11" fmla="*/ 15672 w 102283"/>
                  <a:gd name="connsiteY11" fmla="*/ 349725 h 356589"/>
                  <a:gd name="connsiteX12" fmla="*/ 7532 w 102283"/>
                  <a:gd name="connsiteY12" fmla="*/ 356081 h 35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83" h="356589">
                    <a:moveTo>
                      <a:pt x="7532" y="356081"/>
                    </a:moveTo>
                    <a:cubicBezTo>
                      <a:pt x="6863" y="356137"/>
                      <a:pt x="6194" y="356137"/>
                      <a:pt x="5525" y="356081"/>
                    </a:cubicBezTo>
                    <a:cubicBezTo>
                      <a:pt x="1042" y="354966"/>
                      <a:pt x="-1678" y="350394"/>
                      <a:pt x="-552" y="345934"/>
                    </a:cubicBezTo>
                    <a:cubicBezTo>
                      <a:pt x="-552" y="345934"/>
                      <a:pt x="-552" y="345934"/>
                      <a:pt x="-552" y="345934"/>
                    </a:cubicBezTo>
                    <a:lnTo>
                      <a:pt x="84973" y="5838"/>
                    </a:lnTo>
                    <a:cubicBezTo>
                      <a:pt x="86033" y="1768"/>
                      <a:pt x="89936" y="-908"/>
                      <a:pt x="94117" y="-407"/>
                    </a:cubicBezTo>
                    <a:cubicBezTo>
                      <a:pt x="98332" y="95"/>
                      <a:pt x="101504" y="3663"/>
                      <a:pt x="101476" y="7901"/>
                    </a:cubicBezTo>
                    <a:lnTo>
                      <a:pt x="101476" y="347662"/>
                    </a:lnTo>
                    <a:cubicBezTo>
                      <a:pt x="101476" y="352290"/>
                      <a:pt x="97730" y="356025"/>
                      <a:pt x="93113" y="356025"/>
                    </a:cubicBezTo>
                    <a:cubicBezTo>
                      <a:pt x="88497" y="356025"/>
                      <a:pt x="84750" y="352290"/>
                      <a:pt x="84750" y="347662"/>
                    </a:cubicBezTo>
                    <a:lnTo>
                      <a:pt x="84750" y="75362"/>
                    </a:lnTo>
                    <a:lnTo>
                      <a:pt x="15672" y="349725"/>
                    </a:lnTo>
                    <a:cubicBezTo>
                      <a:pt x="14746" y="353460"/>
                      <a:pt x="11384" y="356081"/>
                      <a:pt x="7532" y="356081"/>
                    </a:cubicBezTo>
                    <a:close/>
                  </a:path>
                </a:pathLst>
              </a:custGeom>
              <a:solidFill>
                <a:srgbClr val="30373B"/>
              </a:solidFill>
              <a:ln w="5573" cap="flat">
                <a:noFill/>
                <a:prstDash val="solid"/>
                <a:miter/>
              </a:ln>
            </p:spPr>
            <p:txBody>
              <a:bodyPr rtlCol="0" anchor="ctr"/>
              <a:lstStyle/>
              <a:p>
                <a:endParaRPr lang="en-GB"/>
              </a:p>
            </p:txBody>
          </p:sp>
          <p:sp>
            <p:nvSpPr>
              <p:cNvPr id="149" name="Graphic 6">
                <a:extLst>
                  <a:ext uri="{FF2B5EF4-FFF2-40B4-BE49-F238E27FC236}">
                    <a16:creationId xmlns:a16="http://schemas.microsoft.com/office/drawing/2014/main" id="{DD820316-7EB2-0F60-46A9-04D1C3160273}"/>
                  </a:ext>
                </a:extLst>
              </p:cNvPr>
              <p:cNvSpPr/>
              <p:nvPr/>
            </p:nvSpPr>
            <p:spPr>
              <a:xfrm>
                <a:off x="5342665" y="5197150"/>
                <a:ext cx="155283" cy="171258"/>
              </a:xfrm>
              <a:custGeom>
                <a:avLst/>
                <a:gdLst>
                  <a:gd name="connsiteX0" fmla="*/ 51110 w 155283"/>
                  <a:gd name="connsiteY0" fmla="*/ 170792 h 171258"/>
                  <a:gd name="connsiteX1" fmla="*/ 44754 w 155283"/>
                  <a:gd name="connsiteY1" fmla="*/ 170458 h 171258"/>
                  <a:gd name="connsiteX2" fmla="*/ 37255 w 155283"/>
                  <a:gd name="connsiteY2" fmla="*/ 161202 h 171258"/>
                  <a:gd name="connsiteX3" fmla="*/ 46482 w 155283"/>
                  <a:gd name="connsiteY3" fmla="*/ 153731 h 171258"/>
                  <a:gd name="connsiteX4" fmla="*/ 117791 w 155283"/>
                  <a:gd name="connsiteY4" fmla="*/ 116600 h 171258"/>
                  <a:gd name="connsiteX5" fmla="*/ 137528 w 155283"/>
                  <a:gd name="connsiteY5" fmla="*/ 59954 h 171258"/>
                  <a:gd name="connsiteX6" fmla="*/ 73857 w 155283"/>
                  <a:gd name="connsiteY6" fmla="*/ 17024 h 171258"/>
                  <a:gd name="connsiteX7" fmla="*/ 28809 w 155283"/>
                  <a:gd name="connsiteY7" fmla="*/ 56609 h 171258"/>
                  <a:gd name="connsiteX8" fmla="*/ 16041 w 155283"/>
                  <a:gd name="connsiteY8" fmla="*/ 91789 h 171258"/>
                  <a:gd name="connsiteX9" fmla="*/ 6256 w 155283"/>
                  <a:gd name="connsiteY9" fmla="*/ 98703 h 171258"/>
                  <a:gd name="connsiteX10" fmla="*/ -685 w 155283"/>
                  <a:gd name="connsiteY10" fmla="*/ 88946 h 171258"/>
                  <a:gd name="connsiteX11" fmla="*/ 13867 w 155283"/>
                  <a:gd name="connsiteY11" fmla="*/ 48525 h 171258"/>
                  <a:gd name="connsiteX12" fmla="*/ 69620 w 155283"/>
                  <a:gd name="connsiteY12" fmla="*/ 800 h 171258"/>
                  <a:gd name="connsiteX13" fmla="*/ 153752 w 155283"/>
                  <a:gd name="connsiteY13" fmla="*/ 57501 h 171258"/>
                  <a:gd name="connsiteX14" fmla="*/ 130447 w 155283"/>
                  <a:gd name="connsiteY14" fmla="*/ 127137 h 171258"/>
                  <a:gd name="connsiteX15" fmla="*/ 51110 w 155283"/>
                  <a:gd name="connsiteY15" fmla="*/ 170792 h 17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283" h="171258">
                    <a:moveTo>
                      <a:pt x="51110" y="170792"/>
                    </a:moveTo>
                    <a:cubicBezTo>
                      <a:pt x="48986" y="170792"/>
                      <a:pt x="46867" y="170680"/>
                      <a:pt x="44754" y="170458"/>
                    </a:cubicBezTo>
                    <a:cubicBezTo>
                      <a:pt x="40138" y="169955"/>
                      <a:pt x="36776" y="165830"/>
                      <a:pt x="37255" y="161202"/>
                    </a:cubicBezTo>
                    <a:cubicBezTo>
                      <a:pt x="37735" y="156631"/>
                      <a:pt x="41866" y="153230"/>
                      <a:pt x="46482" y="153731"/>
                    </a:cubicBezTo>
                    <a:cubicBezTo>
                      <a:pt x="64045" y="155515"/>
                      <a:pt x="93260" y="146874"/>
                      <a:pt x="117791" y="116600"/>
                    </a:cubicBezTo>
                    <a:cubicBezTo>
                      <a:pt x="133123" y="97643"/>
                      <a:pt x="140092" y="77572"/>
                      <a:pt x="137528" y="59954"/>
                    </a:cubicBezTo>
                    <a:cubicBezTo>
                      <a:pt x="131111" y="30963"/>
                      <a:pt x="103122" y="12107"/>
                      <a:pt x="73857" y="17024"/>
                    </a:cubicBezTo>
                    <a:cubicBezTo>
                      <a:pt x="56630" y="21206"/>
                      <a:pt x="40405" y="35255"/>
                      <a:pt x="28809" y="56609"/>
                    </a:cubicBezTo>
                    <a:cubicBezTo>
                      <a:pt x="22648" y="67537"/>
                      <a:pt x="18332" y="79468"/>
                      <a:pt x="16041" y="91789"/>
                    </a:cubicBezTo>
                    <a:cubicBezTo>
                      <a:pt x="15255" y="96417"/>
                      <a:pt x="10873" y="99539"/>
                      <a:pt x="6256" y="98703"/>
                    </a:cubicBezTo>
                    <a:cubicBezTo>
                      <a:pt x="1640" y="97922"/>
                      <a:pt x="-1471" y="93573"/>
                      <a:pt x="-685" y="88946"/>
                    </a:cubicBezTo>
                    <a:cubicBezTo>
                      <a:pt x="1908" y="74785"/>
                      <a:pt x="6819" y="61125"/>
                      <a:pt x="13867" y="48525"/>
                    </a:cubicBezTo>
                    <a:cubicBezTo>
                      <a:pt x="27972" y="22989"/>
                      <a:pt x="47765" y="6041"/>
                      <a:pt x="69620" y="800"/>
                    </a:cubicBezTo>
                    <a:cubicBezTo>
                      <a:pt x="108463" y="-6537"/>
                      <a:pt x="145980" y="18741"/>
                      <a:pt x="153752" y="57501"/>
                    </a:cubicBezTo>
                    <a:cubicBezTo>
                      <a:pt x="157097" y="79802"/>
                      <a:pt x="148790" y="104445"/>
                      <a:pt x="130447" y="127137"/>
                    </a:cubicBezTo>
                    <a:cubicBezTo>
                      <a:pt x="104633" y="159474"/>
                      <a:pt x="73634" y="170792"/>
                      <a:pt x="51110" y="170792"/>
                    </a:cubicBezTo>
                    <a:close/>
                  </a:path>
                </a:pathLst>
              </a:custGeom>
              <a:solidFill>
                <a:srgbClr val="30373B"/>
              </a:solidFill>
              <a:ln w="5573" cap="flat">
                <a:noFill/>
                <a:prstDash val="solid"/>
                <a:miter/>
              </a:ln>
            </p:spPr>
            <p:txBody>
              <a:bodyPr rtlCol="0" anchor="ctr"/>
              <a:lstStyle/>
              <a:p>
                <a:endParaRPr lang="en-GB"/>
              </a:p>
            </p:txBody>
          </p:sp>
          <p:sp>
            <p:nvSpPr>
              <p:cNvPr id="150" name="Graphic 6">
                <a:extLst>
                  <a:ext uri="{FF2B5EF4-FFF2-40B4-BE49-F238E27FC236}">
                    <a16:creationId xmlns:a16="http://schemas.microsoft.com/office/drawing/2014/main" id="{A98354E0-1BCA-1AA0-18A8-7D509B8A2B50}"/>
                  </a:ext>
                </a:extLst>
              </p:cNvPr>
              <p:cNvSpPr/>
              <p:nvPr/>
            </p:nvSpPr>
            <p:spPr>
              <a:xfrm>
                <a:off x="5254811" y="5227363"/>
                <a:ext cx="332633" cy="392326"/>
              </a:xfrm>
              <a:custGeom>
                <a:avLst/>
                <a:gdLst>
                  <a:gd name="connsiteX0" fmla="*/ 134670 w 332633"/>
                  <a:gd name="connsiteY0" fmla="*/ 391860 h 392326"/>
                  <a:gd name="connsiteX1" fmla="*/ 47806 w 332633"/>
                  <a:gd name="connsiteY1" fmla="*/ 365153 h 392326"/>
                  <a:gd name="connsiteX2" fmla="*/ -532 w 332633"/>
                  <a:gd name="connsiteY2" fmla="*/ 214619 h 392326"/>
                  <a:gd name="connsiteX3" fmla="*/ 19930 w 332633"/>
                  <a:gd name="connsiteY3" fmla="*/ 144760 h 392326"/>
                  <a:gd name="connsiteX4" fmla="*/ 100717 w 332633"/>
                  <a:gd name="connsiteY4" fmla="*/ 120954 h 392326"/>
                  <a:gd name="connsiteX5" fmla="*/ 179384 w 332633"/>
                  <a:gd name="connsiteY5" fmla="*/ 127532 h 392326"/>
                  <a:gd name="connsiteX6" fmla="*/ 239486 w 332633"/>
                  <a:gd name="connsiteY6" fmla="*/ 169347 h 392326"/>
                  <a:gd name="connsiteX7" fmla="*/ 297024 w 332633"/>
                  <a:gd name="connsiteY7" fmla="*/ 189530 h 392326"/>
                  <a:gd name="connsiteX8" fmla="*/ 315032 w 332633"/>
                  <a:gd name="connsiteY8" fmla="*/ 157081 h 392326"/>
                  <a:gd name="connsiteX9" fmla="*/ 262234 w 332633"/>
                  <a:gd name="connsiteY9" fmla="*/ 71166 h 392326"/>
                  <a:gd name="connsiteX10" fmla="*/ 218300 w 332633"/>
                  <a:gd name="connsiteY10" fmla="*/ 10673 h 392326"/>
                  <a:gd name="connsiteX11" fmla="*/ 223413 w 332633"/>
                  <a:gd name="connsiteY11" fmla="*/ 24 h 392326"/>
                  <a:gd name="connsiteX12" fmla="*/ 234079 w 332633"/>
                  <a:gd name="connsiteY12" fmla="*/ 5098 h 392326"/>
                  <a:gd name="connsiteX13" fmla="*/ 234357 w 332633"/>
                  <a:gd name="connsiteY13" fmla="*/ 6101 h 392326"/>
                  <a:gd name="connsiteX14" fmla="*/ 274500 w 332633"/>
                  <a:gd name="connsiteY14" fmla="*/ 59792 h 392326"/>
                  <a:gd name="connsiteX15" fmla="*/ 331758 w 332633"/>
                  <a:gd name="connsiteY15" fmla="*/ 157974 h 392326"/>
                  <a:gd name="connsiteX16" fmla="*/ 308063 w 332633"/>
                  <a:gd name="connsiteY16" fmla="*/ 202075 h 392326"/>
                  <a:gd name="connsiteX17" fmla="*/ 227054 w 332633"/>
                  <a:gd name="connsiteY17" fmla="*/ 180610 h 392326"/>
                  <a:gd name="connsiteX18" fmla="*/ 177489 w 332633"/>
                  <a:gd name="connsiteY18" fmla="*/ 144147 h 392326"/>
                  <a:gd name="connsiteX19" fmla="*/ 99713 w 332633"/>
                  <a:gd name="connsiteY19" fmla="*/ 137679 h 392326"/>
                  <a:gd name="connsiteX20" fmla="*/ 31917 w 332633"/>
                  <a:gd name="connsiteY20" fmla="*/ 156468 h 392326"/>
                  <a:gd name="connsiteX21" fmla="*/ 16194 w 332633"/>
                  <a:gd name="connsiteY21" fmla="*/ 213671 h 392326"/>
                  <a:gd name="connsiteX22" fmla="*/ 58846 w 332633"/>
                  <a:gd name="connsiteY22" fmla="*/ 352441 h 392326"/>
                  <a:gd name="connsiteX23" fmla="*/ 153626 w 332633"/>
                  <a:gd name="connsiteY23" fmla="*/ 374353 h 392326"/>
                  <a:gd name="connsiteX24" fmla="*/ 162575 w 332633"/>
                  <a:gd name="connsiteY24" fmla="*/ 382158 h 392326"/>
                  <a:gd name="connsiteX25" fmla="*/ 154797 w 332633"/>
                  <a:gd name="connsiteY25" fmla="*/ 391079 h 392326"/>
                  <a:gd name="connsiteX26" fmla="*/ 134670 w 332633"/>
                  <a:gd name="connsiteY26" fmla="*/ 391860 h 39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2633" h="392326">
                    <a:moveTo>
                      <a:pt x="134670" y="391860"/>
                    </a:moveTo>
                    <a:cubicBezTo>
                      <a:pt x="96200" y="391860"/>
                      <a:pt x="68323" y="383217"/>
                      <a:pt x="47806" y="365153"/>
                    </a:cubicBezTo>
                    <a:cubicBezTo>
                      <a:pt x="18647" y="339451"/>
                      <a:pt x="4152" y="294458"/>
                      <a:pt x="-532" y="214619"/>
                    </a:cubicBezTo>
                    <a:cubicBezTo>
                      <a:pt x="-2316" y="183955"/>
                      <a:pt x="4597" y="160427"/>
                      <a:pt x="19930" y="144760"/>
                    </a:cubicBezTo>
                    <a:cubicBezTo>
                      <a:pt x="36656" y="127588"/>
                      <a:pt x="63975" y="119560"/>
                      <a:pt x="100717" y="120954"/>
                    </a:cubicBezTo>
                    <a:lnTo>
                      <a:pt x="179384" y="127532"/>
                    </a:lnTo>
                    <a:cubicBezTo>
                      <a:pt x="204864" y="131212"/>
                      <a:pt x="223262" y="151451"/>
                      <a:pt x="239486" y="169347"/>
                    </a:cubicBezTo>
                    <a:cubicBezTo>
                      <a:pt x="265412" y="197949"/>
                      <a:pt x="277064" y="207093"/>
                      <a:pt x="297024" y="189530"/>
                    </a:cubicBezTo>
                    <a:cubicBezTo>
                      <a:pt x="308565" y="179328"/>
                      <a:pt x="314475" y="168734"/>
                      <a:pt x="315032" y="157081"/>
                    </a:cubicBezTo>
                    <a:cubicBezTo>
                      <a:pt x="316426" y="129651"/>
                      <a:pt x="287658" y="98596"/>
                      <a:pt x="262234" y="71166"/>
                    </a:cubicBezTo>
                    <a:cubicBezTo>
                      <a:pt x="242386" y="49701"/>
                      <a:pt x="223653" y="29462"/>
                      <a:pt x="218300" y="10673"/>
                    </a:cubicBezTo>
                    <a:cubicBezTo>
                      <a:pt x="216767" y="6325"/>
                      <a:pt x="219058" y="1530"/>
                      <a:pt x="223413" y="24"/>
                    </a:cubicBezTo>
                    <a:cubicBezTo>
                      <a:pt x="227773" y="-1537"/>
                      <a:pt x="232545" y="749"/>
                      <a:pt x="234079" y="5098"/>
                    </a:cubicBezTo>
                    <a:cubicBezTo>
                      <a:pt x="234190" y="5432"/>
                      <a:pt x="234285" y="5767"/>
                      <a:pt x="234357" y="6101"/>
                    </a:cubicBezTo>
                    <a:cubicBezTo>
                      <a:pt x="238650" y="21043"/>
                      <a:pt x="256045" y="39888"/>
                      <a:pt x="274500" y="59792"/>
                    </a:cubicBezTo>
                    <a:cubicBezTo>
                      <a:pt x="302377" y="89620"/>
                      <a:pt x="333487" y="123462"/>
                      <a:pt x="331758" y="157974"/>
                    </a:cubicBezTo>
                    <a:cubicBezTo>
                      <a:pt x="330922" y="174086"/>
                      <a:pt x="322950" y="188917"/>
                      <a:pt x="308063" y="202075"/>
                    </a:cubicBezTo>
                    <a:cubicBezTo>
                      <a:pt x="273887" y="232237"/>
                      <a:pt x="247905" y="203580"/>
                      <a:pt x="227054" y="180610"/>
                    </a:cubicBezTo>
                    <a:cubicBezTo>
                      <a:pt x="212056" y="163884"/>
                      <a:pt x="196501" y="147158"/>
                      <a:pt x="177489" y="144147"/>
                    </a:cubicBezTo>
                    <a:lnTo>
                      <a:pt x="99713" y="137679"/>
                    </a:lnTo>
                    <a:cubicBezTo>
                      <a:pt x="68156" y="136453"/>
                      <a:pt x="45298" y="142809"/>
                      <a:pt x="31917" y="156468"/>
                    </a:cubicBezTo>
                    <a:cubicBezTo>
                      <a:pt x="19762" y="168790"/>
                      <a:pt x="14633" y="187523"/>
                      <a:pt x="16194" y="213671"/>
                    </a:cubicBezTo>
                    <a:cubicBezTo>
                      <a:pt x="20599" y="288492"/>
                      <a:pt x="33366" y="330029"/>
                      <a:pt x="58846" y="352441"/>
                    </a:cubicBezTo>
                    <a:cubicBezTo>
                      <a:pt x="79251" y="370394"/>
                      <a:pt x="109414" y="377363"/>
                      <a:pt x="153626" y="374353"/>
                    </a:cubicBezTo>
                    <a:cubicBezTo>
                      <a:pt x="158243" y="374018"/>
                      <a:pt x="162251" y="377531"/>
                      <a:pt x="162575" y="382158"/>
                    </a:cubicBezTo>
                    <a:cubicBezTo>
                      <a:pt x="162898" y="386730"/>
                      <a:pt x="159413" y="390744"/>
                      <a:pt x="154797" y="391079"/>
                    </a:cubicBezTo>
                    <a:cubicBezTo>
                      <a:pt x="147884" y="391636"/>
                      <a:pt x="140970" y="391860"/>
                      <a:pt x="134670" y="391860"/>
                    </a:cubicBezTo>
                    <a:close/>
                  </a:path>
                </a:pathLst>
              </a:custGeom>
              <a:solidFill>
                <a:srgbClr val="30373B"/>
              </a:solidFill>
              <a:ln w="5573" cap="flat">
                <a:noFill/>
                <a:prstDash val="solid"/>
                <a:miter/>
              </a:ln>
            </p:spPr>
            <p:txBody>
              <a:bodyPr rtlCol="0" anchor="ctr"/>
              <a:lstStyle/>
              <a:p>
                <a:endParaRPr lang="en-GB"/>
              </a:p>
            </p:txBody>
          </p:sp>
          <p:sp>
            <p:nvSpPr>
              <p:cNvPr id="151" name="Graphic 6">
                <a:extLst>
                  <a:ext uri="{FF2B5EF4-FFF2-40B4-BE49-F238E27FC236}">
                    <a16:creationId xmlns:a16="http://schemas.microsoft.com/office/drawing/2014/main" id="{D42D43AE-3699-3F60-646C-91A9B4E39A6B}"/>
                  </a:ext>
                </a:extLst>
              </p:cNvPr>
              <p:cNvSpPr/>
              <p:nvPr/>
            </p:nvSpPr>
            <p:spPr>
              <a:xfrm>
                <a:off x="7553074" y="3241807"/>
                <a:ext cx="1224846" cy="352027"/>
              </a:xfrm>
              <a:custGeom>
                <a:avLst/>
                <a:gdLst>
                  <a:gd name="connsiteX0" fmla="*/ 1153066 w 1224846"/>
                  <a:gd name="connsiteY0" fmla="*/ 351560 h 352027"/>
                  <a:gd name="connsiteX1" fmla="*/ 7556 w 1224846"/>
                  <a:gd name="connsiteY1" fmla="*/ 351560 h 352027"/>
                  <a:gd name="connsiteX2" fmla="*/ -807 w 1224846"/>
                  <a:gd name="connsiteY2" fmla="*/ 343197 h 352027"/>
                  <a:gd name="connsiteX3" fmla="*/ 7556 w 1224846"/>
                  <a:gd name="connsiteY3" fmla="*/ 334834 h 352027"/>
                  <a:gd name="connsiteX4" fmla="*/ 1153066 w 1224846"/>
                  <a:gd name="connsiteY4" fmla="*/ 334834 h 352027"/>
                  <a:gd name="connsiteX5" fmla="*/ 1207314 w 1224846"/>
                  <a:gd name="connsiteY5" fmla="*/ 280586 h 352027"/>
                  <a:gd name="connsiteX6" fmla="*/ 1207314 w 1224846"/>
                  <a:gd name="connsiteY6" fmla="*/ 7896 h 352027"/>
                  <a:gd name="connsiteX7" fmla="*/ 1215677 w 1224846"/>
                  <a:gd name="connsiteY7" fmla="*/ -467 h 352027"/>
                  <a:gd name="connsiteX8" fmla="*/ 1224040 w 1224846"/>
                  <a:gd name="connsiteY8" fmla="*/ 7896 h 352027"/>
                  <a:gd name="connsiteX9" fmla="*/ 1224040 w 1224846"/>
                  <a:gd name="connsiteY9" fmla="*/ 280586 h 352027"/>
                  <a:gd name="connsiteX10" fmla="*/ 1153066 w 1224846"/>
                  <a:gd name="connsiteY10" fmla="*/ 351560 h 35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846" h="352027">
                    <a:moveTo>
                      <a:pt x="1153066" y="351560"/>
                    </a:moveTo>
                    <a:lnTo>
                      <a:pt x="7556" y="351560"/>
                    </a:lnTo>
                    <a:cubicBezTo>
                      <a:pt x="2928" y="351560"/>
                      <a:pt x="-807" y="347814"/>
                      <a:pt x="-807" y="343197"/>
                    </a:cubicBezTo>
                    <a:cubicBezTo>
                      <a:pt x="-807" y="338581"/>
                      <a:pt x="2928" y="334834"/>
                      <a:pt x="7556" y="334834"/>
                    </a:cubicBezTo>
                    <a:lnTo>
                      <a:pt x="1153066" y="334834"/>
                    </a:lnTo>
                    <a:cubicBezTo>
                      <a:pt x="1183005" y="334834"/>
                      <a:pt x="1207314" y="310548"/>
                      <a:pt x="1207314" y="280586"/>
                    </a:cubicBezTo>
                    <a:lnTo>
                      <a:pt x="1207314" y="7896"/>
                    </a:lnTo>
                    <a:cubicBezTo>
                      <a:pt x="1207314" y="3280"/>
                      <a:pt x="1211049" y="-467"/>
                      <a:pt x="1215677" y="-467"/>
                    </a:cubicBezTo>
                    <a:cubicBezTo>
                      <a:pt x="1220305" y="-467"/>
                      <a:pt x="1224040" y="3280"/>
                      <a:pt x="1224040" y="7896"/>
                    </a:cubicBezTo>
                    <a:lnTo>
                      <a:pt x="1224040" y="280586"/>
                    </a:lnTo>
                    <a:cubicBezTo>
                      <a:pt x="1223984" y="319770"/>
                      <a:pt x="1192260" y="351532"/>
                      <a:pt x="1153066" y="351560"/>
                    </a:cubicBezTo>
                    <a:close/>
                  </a:path>
                </a:pathLst>
              </a:custGeom>
              <a:solidFill>
                <a:srgbClr val="30373B"/>
              </a:solidFill>
              <a:ln w="5573" cap="flat">
                <a:noFill/>
                <a:prstDash val="solid"/>
                <a:miter/>
              </a:ln>
            </p:spPr>
            <p:txBody>
              <a:bodyPr rtlCol="0" anchor="ctr"/>
              <a:lstStyle/>
              <a:p>
                <a:endParaRPr lang="en-GB"/>
              </a:p>
            </p:txBody>
          </p:sp>
          <p:sp>
            <p:nvSpPr>
              <p:cNvPr id="152" name="Graphic 6">
                <a:extLst>
                  <a:ext uri="{FF2B5EF4-FFF2-40B4-BE49-F238E27FC236}">
                    <a16:creationId xmlns:a16="http://schemas.microsoft.com/office/drawing/2014/main" id="{4A892AE8-7CA1-758E-2ACB-783A93AE8B2B}"/>
                  </a:ext>
                </a:extLst>
              </p:cNvPr>
              <p:cNvSpPr/>
              <p:nvPr/>
            </p:nvSpPr>
            <p:spPr>
              <a:xfrm>
                <a:off x="7553074" y="3106326"/>
                <a:ext cx="1224567" cy="329614"/>
              </a:xfrm>
              <a:custGeom>
                <a:avLst/>
                <a:gdLst>
                  <a:gd name="connsiteX0" fmla="*/ 7556 w 1224567"/>
                  <a:gd name="connsiteY0" fmla="*/ 329147 h 329614"/>
                  <a:gd name="connsiteX1" fmla="*/ -807 w 1224567"/>
                  <a:gd name="connsiteY1" fmla="*/ 320784 h 329614"/>
                  <a:gd name="connsiteX2" fmla="*/ -807 w 1224567"/>
                  <a:gd name="connsiteY2" fmla="*/ 61419 h 329614"/>
                  <a:gd name="connsiteX3" fmla="*/ 61303 w 1224567"/>
                  <a:gd name="connsiteY3" fmla="*/ -467 h 329614"/>
                  <a:gd name="connsiteX4" fmla="*/ 1215398 w 1224567"/>
                  <a:gd name="connsiteY4" fmla="*/ -467 h 329614"/>
                  <a:gd name="connsiteX5" fmla="*/ 1223761 w 1224567"/>
                  <a:gd name="connsiteY5" fmla="*/ 7896 h 329614"/>
                  <a:gd name="connsiteX6" fmla="*/ 1215398 w 1224567"/>
                  <a:gd name="connsiteY6" fmla="*/ 16259 h 329614"/>
                  <a:gd name="connsiteX7" fmla="*/ 61303 w 1224567"/>
                  <a:gd name="connsiteY7" fmla="*/ 16259 h 329614"/>
                  <a:gd name="connsiteX8" fmla="*/ 15919 w 1224567"/>
                  <a:gd name="connsiteY8" fmla="*/ 61643 h 329614"/>
                  <a:gd name="connsiteX9" fmla="*/ 15919 w 1224567"/>
                  <a:gd name="connsiteY9" fmla="*/ 321007 h 329614"/>
                  <a:gd name="connsiteX10" fmla="*/ 7556 w 1224567"/>
                  <a:gd name="connsiteY10" fmla="*/ 329147 h 32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67" h="329614">
                    <a:moveTo>
                      <a:pt x="7556" y="329147"/>
                    </a:moveTo>
                    <a:cubicBezTo>
                      <a:pt x="2928" y="329147"/>
                      <a:pt x="-807" y="325401"/>
                      <a:pt x="-807" y="320784"/>
                    </a:cubicBezTo>
                    <a:lnTo>
                      <a:pt x="-807" y="61419"/>
                    </a:lnTo>
                    <a:cubicBezTo>
                      <a:pt x="-640" y="27232"/>
                      <a:pt x="27126" y="-406"/>
                      <a:pt x="61303" y="-467"/>
                    </a:cubicBezTo>
                    <a:lnTo>
                      <a:pt x="1215398" y="-467"/>
                    </a:lnTo>
                    <a:cubicBezTo>
                      <a:pt x="1220026" y="-467"/>
                      <a:pt x="1223761" y="3280"/>
                      <a:pt x="1223761" y="7896"/>
                    </a:cubicBezTo>
                    <a:cubicBezTo>
                      <a:pt x="1223761" y="12513"/>
                      <a:pt x="1220026" y="16259"/>
                      <a:pt x="1215398" y="16259"/>
                    </a:cubicBezTo>
                    <a:lnTo>
                      <a:pt x="61303" y="16259"/>
                    </a:lnTo>
                    <a:cubicBezTo>
                      <a:pt x="36269" y="16287"/>
                      <a:pt x="15975" y="36592"/>
                      <a:pt x="15919" y="61643"/>
                    </a:cubicBezTo>
                    <a:lnTo>
                      <a:pt x="15919" y="321007"/>
                    </a:lnTo>
                    <a:cubicBezTo>
                      <a:pt x="15808" y="325540"/>
                      <a:pt x="12072" y="329147"/>
                      <a:pt x="7556" y="329147"/>
                    </a:cubicBezTo>
                    <a:close/>
                  </a:path>
                </a:pathLst>
              </a:custGeom>
              <a:solidFill>
                <a:srgbClr val="30373B"/>
              </a:solidFill>
              <a:ln w="5573" cap="flat">
                <a:noFill/>
                <a:prstDash val="solid"/>
                <a:miter/>
              </a:ln>
            </p:spPr>
            <p:txBody>
              <a:bodyPr rtlCol="0" anchor="ctr"/>
              <a:lstStyle/>
              <a:p>
                <a:endParaRPr lang="en-GB"/>
              </a:p>
            </p:txBody>
          </p:sp>
          <p:sp>
            <p:nvSpPr>
              <p:cNvPr id="153" name="Graphic 6">
                <a:extLst>
                  <a:ext uri="{FF2B5EF4-FFF2-40B4-BE49-F238E27FC236}">
                    <a16:creationId xmlns:a16="http://schemas.microsoft.com/office/drawing/2014/main" id="{D38896DC-77E6-A640-6783-3D0940578809}"/>
                  </a:ext>
                </a:extLst>
              </p:cNvPr>
              <p:cNvSpPr/>
              <p:nvPr/>
            </p:nvSpPr>
            <p:spPr>
              <a:xfrm>
                <a:off x="5950275" y="3095175"/>
                <a:ext cx="1224846" cy="487730"/>
              </a:xfrm>
              <a:custGeom>
                <a:avLst/>
                <a:gdLst>
                  <a:gd name="connsiteX0" fmla="*/ 1138068 w 1224846"/>
                  <a:gd name="connsiteY0" fmla="*/ 487264 h 487730"/>
                  <a:gd name="connsiteX1" fmla="*/ 85221 w 1224846"/>
                  <a:gd name="connsiteY1" fmla="*/ 487264 h 487730"/>
                  <a:gd name="connsiteX2" fmla="*/ -807 w 1224846"/>
                  <a:gd name="connsiteY2" fmla="*/ 401236 h 487730"/>
                  <a:gd name="connsiteX3" fmla="*/ -807 w 1224846"/>
                  <a:gd name="connsiteY3" fmla="*/ 85505 h 487730"/>
                  <a:gd name="connsiteX4" fmla="*/ 85221 w 1224846"/>
                  <a:gd name="connsiteY4" fmla="*/ -467 h 487730"/>
                  <a:gd name="connsiteX5" fmla="*/ 1138068 w 1224846"/>
                  <a:gd name="connsiteY5" fmla="*/ -467 h 487730"/>
                  <a:gd name="connsiteX6" fmla="*/ 1224040 w 1224846"/>
                  <a:gd name="connsiteY6" fmla="*/ 85505 h 487730"/>
                  <a:gd name="connsiteX7" fmla="*/ 1224040 w 1224846"/>
                  <a:gd name="connsiteY7" fmla="*/ 401236 h 487730"/>
                  <a:gd name="connsiteX8" fmla="*/ 1138068 w 1224846"/>
                  <a:gd name="connsiteY8" fmla="*/ 487264 h 487730"/>
                  <a:gd name="connsiteX9" fmla="*/ 85221 w 1224846"/>
                  <a:gd name="connsiteY9" fmla="*/ 16259 h 487730"/>
                  <a:gd name="connsiteX10" fmla="*/ 15919 w 1224846"/>
                  <a:gd name="connsiteY10" fmla="*/ 85561 h 487730"/>
                  <a:gd name="connsiteX11" fmla="*/ 15919 w 1224846"/>
                  <a:gd name="connsiteY11" fmla="*/ 401292 h 487730"/>
                  <a:gd name="connsiteX12" fmla="*/ 85221 w 1224846"/>
                  <a:gd name="connsiteY12" fmla="*/ 470594 h 487730"/>
                  <a:gd name="connsiteX13" fmla="*/ 1138068 w 1224846"/>
                  <a:gd name="connsiteY13" fmla="*/ 470594 h 487730"/>
                  <a:gd name="connsiteX14" fmla="*/ 1207314 w 1224846"/>
                  <a:gd name="connsiteY14" fmla="*/ 401236 h 487730"/>
                  <a:gd name="connsiteX15" fmla="*/ 1207314 w 1224846"/>
                  <a:gd name="connsiteY15" fmla="*/ 85505 h 487730"/>
                  <a:gd name="connsiteX16" fmla="*/ 1138068 w 1224846"/>
                  <a:gd name="connsiteY16" fmla="*/ 16259 h 48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4846" h="487730">
                    <a:moveTo>
                      <a:pt x="1138068" y="487264"/>
                    </a:moveTo>
                    <a:lnTo>
                      <a:pt x="85221" y="487264"/>
                    </a:lnTo>
                    <a:cubicBezTo>
                      <a:pt x="37736" y="487203"/>
                      <a:pt x="-745" y="448722"/>
                      <a:pt x="-807" y="401236"/>
                    </a:cubicBezTo>
                    <a:lnTo>
                      <a:pt x="-807" y="85505"/>
                    </a:lnTo>
                    <a:cubicBezTo>
                      <a:pt x="-712" y="38042"/>
                      <a:pt x="37758" y="-406"/>
                      <a:pt x="85221" y="-467"/>
                    </a:cubicBezTo>
                    <a:lnTo>
                      <a:pt x="1138068" y="-467"/>
                    </a:lnTo>
                    <a:cubicBezTo>
                      <a:pt x="1185514" y="-378"/>
                      <a:pt x="1223928" y="38064"/>
                      <a:pt x="1224040" y="85505"/>
                    </a:cubicBezTo>
                    <a:lnTo>
                      <a:pt x="1224040" y="401236"/>
                    </a:lnTo>
                    <a:cubicBezTo>
                      <a:pt x="1223984" y="448699"/>
                      <a:pt x="1185514" y="487169"/>
                      <a:pt x="1138068" y="487264"/>
                    </a:cubicBezTo>
                    <a:close/>
                    <a:moveTo>
                      <a:pt x="85221" y="16259"/>
                    </a:moveTo>
                    <a:cubicBezTo>
                      <a:pt x="46957" y="16287"/>
                      <a:pt x="15947" y="47297"/>
                      <a:pt x="15919" y="85561"/>
                    </a:cubicBezTo>
                    <a:lnTo>
                      <a:pt x="15919" y="401292"/>
                    </a:lnTo>
                    <a:cubicBezTo>
                      <a:pt x="15947" y="439556"/>
                      <a:pt x="46957" y="470560"/>
                      <a:pt x="85221" y="470594"/>
                    </a:cubicBezTo>
                    <a:lnTo>
                      <a:pt x="1138068" y="470594"/>
                    </a:lnTo>
                    <a:cubicBezTo>
                      <a:pt x="1176315" y="470499"/>
                      <a:pt x="1207258" y="439483"/>
                      <a:pt x="1207314" y="401236"/>
                    </a:cubicBezTo>
                    <a:lnTo>
                      <a:pt x="1207314" y="85505"/>
                    </a:lnTo>
                    <a:cubicBezTo>
                      <a:pt x="1207202" y="47297"/>
                      <a:pt x="1176260" y="16348"/>
                      <a:pt x="1138068" y="16259"/>
                    </a:cubicBezTo>
                    <a:close/>
                  </a:path>
                </a:pathLst>
              </a:custGeom>
              <a:solidFill>
                <a:srgbClr val="30373B"/>
              </a:solidFill>
              <a:ln w="5573" cap="flat">
                <a:noFill/>
                <a:prstDash val="solid"/>
                <a:miter/>
              </a:ln>
            </p:spPr>
            <p:txBody>
              <a:bodyPr rtlCol="0" anchor="ctr"/>
              <a:lstStyle/>
              <a:p>
                <a:endParaRPr lang="en-GB"/>
              </a:p>
            </p:txBody>
          </p:sp>
          <p:sp>
            <p:nvSpPr>
              <p:cNvPr id="154" name="Graphic 6">
                <a:extLst>
                  <a:ext uri="{FF2B5EF4-FFF2-40B4-BE49-F238E27FC236}">
                    <a16:creationId xmlns:a16="http://schemas.microsoft.com/office/drawing/2014/main" id="{327604BF-299B-BC4A-12CD-25E5A0DF0996}"/>
                  </a:ext>
                </a:extLst>
              </p:cNvPr>
              <p:cNvSpPr/>
              <p:nvPr/>
            </p:nvSpPr>
            <p:spPr>
              <a:xfrm>
                <a:off x="5934887" y="4965479"/>
                <a:ext cx="397521" cy="397521"/>
              </a:xfrm>
              <a:custGeom>
                <a:avLst/>
                <a:gdLst>
                  <a:gd name="connsiteX0" fmla="*/ 197954 w 397521"/>
                  <a:gd name="connsiteY0" fmla="*/ 397055 h 397521"/>
                  <a:gd name="connsiteX1" fmla="*/ -807 w 397521"/>
                  <a:gd name="connsiteY1" fmla="*/ 198294 h 397521"/>
                  <a:gd name="connsiteX2" fmla="*/ 197954 w 397521"/>
                  <a:gd name="connsiteY2" fmla="*/ -467 h 397521"/>
                  <a:gd name="connsiteX3" fmla="*/ 396715 w 397521"/>
                  <a:gd name="connsiteY3" fmla="*/ 198294 h 397521"/>
                  <a:gd name="connsiteX4" fmla="*/ 197954 w 397521"/>
                  <a:gd name="connsiteY4" fmla="*/ 397055 h 397521"/>
                  <a:gd name="connsiteX5" fmla="*/ 197954 w 397521"/>
                  <a:gd name="connsiteY5" fmla="*/ 16259 h 397521"/>
                  <a:gd name="connsiteX6" fmla="*/ 15919 w 397521"/>
                  <a:gd name="connsiteY6" fmla="*/ 198294 h 397521"/>
                  <a:gd name="connsiteX7" fmla="*/ 197954 w 397521"/>
                  <a:gd name="connsiteY7" fmla="*/ 380329 h 397521"/>
                  <a:gd name="connsiteX8" fmla="*/ 379989 w 397521"/>
                  <a:gd name="connsiteY8" fmla="*/ 198294 h 397521"/>
                  <a:gd name="connsiteX9" fmla="*/ 197954 w 397521"/>
                  <a:gd name="connsiteY9" fmla="*/ 16259 h 397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521" h="397521">
                    <a:moveTo>
                      <a:pt x="197954" y="397055"/>
                    </a:moveTo>
                    <a:cubicBezTo>
                      <a:pt x="88181" y="397055"/>
                      <a:pt x="-807" y="308072"/>
                      <a:pt x="-807" y="198294"/>
                    </a:cubicBezTo>
                    <a:cubicBezTo>
                      <a:pt x="-807" y="88521"/>
                      <a:pt x="88181" y="-467"/>
                      <a:pt x="197954" y="-467"/>
                    </a:cubicBezTo>
                    <a:cubicBezTo>
                      <a:pt x="307733" y="-467"/>
                      <a:pt x="396715" y="88521"/>
                      <a:pt x="396715" y="198294"/>
                    </a:cubicBezTo>
                    <a:cubicBezTo>
                      <a:pt x="396603" y="308017"/>
                      <a:pt x="307677" y="396943"/>
                      <a:pt x="197954" y="397055"/>
                    </a:cubicBezTo>
                    <a:close/>
                    <a:moveTo>
                      <a:pt x="197954" y="16259"/>
                    </a:moveTo>
                    <a:cubicBezTo>
                      <a:pt x="97420" y="16259"/>
                      <a:pt x="15919" y="97759"/>
                      <a:pt x="15919" y="198294"/>
                    </a:cubicBezTo>
                    <a:cubicBezTo>
                      <a:pt x="15919" y="298817"/>
                      <a:pt x="97420" y="380329"/>
                      <a:pt x="197954" y="380329"/>
                    </a:cubicBezTo>
                    <a:cubicBezTo>
                      <a:pt x="298478" y="380329"/>
                      <a:pt x="379989" y="298817"/>
                      <a:pt x="379989" y="198294"/>
                    </a:cubicBezTo>
                    <a:cubicBezTo>
                      <a:pt x="379877" y="97799"/>
                      <a:pt x="298478" y="16354"/>
                      <a:pt x="197954" y="16259"/>
                    </a:cubicBezTo>
                    <a:close/>
                  </a:path>
                </a:pathLst>
              </a:custGeom>
              <a:solidFill>
                <a:srgbClr val="30373B"/>
              </a:solidFill>
              <a:ln w="5573" cap="flat">
                <a:noFill/>
                <a:prstDash val="solid"/>
                <a:miter/>
              </a:ln>
            </p:spPr>
            <p:txBody>
              <a:bodyPr rtlCol="0" anchor="ctr"/>
              <a:lstStyle/>
              <a:p>
                <a:endParaRPr lang="en-GB"/>
              </a:p>
            </p:txBody>
          </p:sp>
          <p:sp>
            <p:nvSpPr>
              <p:cNvPr id="155" name="Graphic 6">
                <a:extLst>
                  <a:ext uri="{FF2B5EF4-FFF2-40B4-BE49-F238E27FC236}">
                    <a16:creationId xmlns:a16="http://schemas.microsoft.com/office/drawing/2014/main" id="{38ED5D2D-96E6-E658-41A4-32C2A341EB69}"/>
                  </a:ext>
                </a:extLst>
              </p:cNvPr>
              <p:cNvSpPr/>
              <p:nvPr/>
            </p:nvSpPr>
            <p:spPr>
              <a:xfrm>
                <a:off x="6125285" y="4965702"/>
                <a:ext cx="16726" cy="222901"/>
              </a:xfrm>
              <a:custGeom>
                <a:avLst/>
                <a:gdLst>
                  <a:gd name="connsiteX0" fmla="*/ 7556 w 16726"/>
                  <a:gd name="connsiteY0" fmla="*/ 222435 h 222901"/>
                  <a:gd name="connsiteX1" fmla="*/ -807 w 16726"/>
                  <a:gd name="connsiteY1" fmla="*/ 214072 h 222901"/>
                  <a:gd name="connsiteX2" fmla="*/ -807 w 16726"/>
                  <a:gd name="connsiteY2" fmla="*/ 7896 h 222901"/>
                  <a:gd name="connsiteX3" fmla="*/ 7556 w 16726"/>
                  <a:gd name="connsiteY3" fmla="*/ -467 h 222901"/>
                  <a:gd name="connsiteX4" fmla="*/ 15919 w 16726"/>
                  <a:gd name="connsiteY4" fmla="*/ 7896 h 222901"/>
                  <a:gd name="connsiteX5" fmla="*/ 15919 w 16726"/>
                  <a:gd name="connsiteY5" fmla="*/ 214184 h 222901"/>
                  <a:gd name="connsiteX6" fmla="*/ 7556 w 16726"/>
                  <a:gd name="connsiteY6" fmla="*/ 222435 h 22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6" h="222901">
                    <a:moveTo>
                      <a:pt x="7556" y="222435"/>
                    </a:moveTo>
                    <a:cubicBezTo>
                      <a:pt x="2940" y="222435"/>
                      <a:pt x="-807" y="218689"/>
                      <a:pt x="-807" y="214072"/>
                    </a:cubicBezTo>
                    <a:lnTo>
                      <a:pt x="-807" y="7896"/>
                    </a:lnTo>
                    <a:cubicBezTo>
                      <a:pt x="-807" y="3280"/>
                      <a:pt x="2940" y="-467"/>
                      <a:pt x="7556" y="-467"/>
                    </a:cubicBezTo>
                    <a:cubicBezTo>
                      <a:pt x="12173" y="-467"/>
                      <a:pt x="15919" y="3280"/>
                      <a:pt x="15919" y="7896"/>
                    </a:cubicBezTo>
                    <a:lnTo>
                      <a:pt x="15919" y="214184"/>
                    </a:lnTo>
                    <a:cubicBezTo>
                      <a:pt x="15858" y="218761"/>
                      <a:pt x="12134" y="222435"/>
                      <a:pt x="7556" y="222435"/>
                    </a:cubicBezTo>
                    <a:close/>
                  </a:path>
                </a:pathLst>
              </a:custGeom>
              <a:solidFill>
                <a:srgbClr val="30373B"/>
              </a:solidFill>
              <a:ln w="5573" cap="flat">
                <a:noFill/>
                <a:prstDash val="solid"/>
                <a:miter/>
              </a:ln>
            </p:spPr>
            <p:txBody>
              <a:bodyPr rtlCol="0" anchor="ctr"/>
              <a:lstStyle/>
              <a:p>
                <a:endParaRPr lang="en-GB"/>
              </a:p>
            </p:txBody>
          </p:sp>
          <p:sp>
            <p:nvSpPr>
              <p:cNvPr id="156" name="Graphic 6">
                <a:extLst>
                  <a:ext uri="{FF2B5EF4-FFF2-40B4-BE49-F238E27FC236}">
                    <a16:creationId xmlns:a16="http://schemas.microsoft.com/office/drawing/2014/main" id="{96C732E8-263A-9048-05B4-B4901D9C3161}"/>
                  </a:ext>
                </a:extLst>
              </p:cNvPr>
              <p:cNvSpPr/>
              <p:nvPr/>
            </p:nvSpPr>
            <p:spPr>
              <a:xfrm>
                <a:off x="7561716" y="4965367"/>
                <a:ext cx="397633" cy="397633"/>
              </a:xfrm>
              <a:custGeom>
                <a:avLst/>
                <a:gdLst>
                  <a:gd name="connsiteX0" fmla="*/ 198010 w 397633"/>
                  <a:gd name="connsiteY0" fmla="*/ 397167 h 397633"/>
                  <a:gd name="connsiteX1" fmla="*/ -807 w 397633"/>
                  <a:gd name="connsiteY1" fmla="*/ 198350 h 397633"/>
                  <a:gd name="connsiteX2" fmla="*/ 198010 w 397633"/>
                  <a:gd name="connsiteY2" fmla="*/ -467 h 397633"/>
                  <a:gd name="connsiteX3" fmla="*/ 396827 w 397633"/>
                  <a:gd name="connsiteY3" fmla="*/ 198350 h 397633"/>
                  <a:gd name="connsiteX4" fmla="*/ 237762 w 397633"/>
                  <a:gd name="connsiteY4" fmla="*/ 393152 h 397633"/>
                  <a:gd name="connsiteX5" fmla="*/ 237762 w 397633"/>
                  <a:gd name="connsiteY5" fmla="*/ 393152 h 397633"/>
                  <a:gd name="connsiteX6" fmla="*/ 198010 w 397633"/>
                  <a:gd name="connsiteY6" fmla="*/ 397167 h 397633"/>
                  <a:gd name="connsiteX7" fmla="*/ 236090 w 397633"/>
                  <a:gd name="connsiteY7" fmla="*/ 384957 h 397633"/>
                  <a:gd name="connsiteX8" fmla="*/ 236090 w 397633"/>
                  <a:gd name="connsiteY8" fmla="*/ 384957 h 397633"/>
                  <a:gd name="connsiteX9" fmla="*/ 198456 w 397633"/>
                  <a:gd name="connsiteY9" fmla="*/ 16315 h 397633"/>
                  <a:gd name="connsiteX10" fmla="*/ 16254 w 397633"/>
                  <a:gd name="connsiteY10" fmla="*/ 198171 h 397633"/>
                  <a:gd name="connsiteX11" fmla="*/ 198122 w 397633"/>
                  <a:gd name="connsiteY11" fmla="*/ 380385 h 397633"/>
                  <a:gd name="connsiteX12" fmla="*/ 234417 w 397633"/>
                  <a:gd name="connsiteY12" fmla="*/ 376761 h 397633"/>
                  <a:gd name="connsiteX13" fmla="*/ 234417 w 397633"/>
                  <a:gd name="connsiteY13" fmla="*/ 376761 h 397633"/>
                  <a:gd name="connsiteX14" fmla="*/ 376086 w 397633"/>
                  <a:gd name="connsiteY14" fmla="*/ 161720 h 397633"/>
                  <a:gd name="connsiteX15" fmla="*/ 198456 w 397633"/>
                  <a:gd name="connsiteY15" fmla="*/ 16315 h 39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7633" h="397633">
                    <a:moveTo>
                      <a:pt x="198010" y="397167"/>
                    </a:moveTo>
                    <a:cubicBezTo>
                      <a:pt x="88232" y="397167"/>
                      <a:pt x="-807" y="308128"/>
                      <a:pt x="-807" y="198350"/>
                    </a:cubicBezTo>
                    <a:cubicBezTo>
                      <a:pt x="-807" y="88544"/>
                      <a:pt x="88232" y="-467"/>
                      <a:pt x="198010" y="-467"/>
                    </a:cubicBezTo>
                    <a:cubicBezTo>
                      <a:pt x="307844" y="-467"/>
                      <a:pt x="396827" y="88549"/>
                      <a:pt x="396827" y="198350"/>
                    </a:cubicBezTo>
                    <a:cubicBezTo>
                      <a:pt x="396827" y="292852"/>
                      <a:pt x="330313" y="374252"/>
                      <a:pt x="237762" y="393152"/>
                    </a:cubicBezTo>
                    <a:lnTo>
                      <a:pt x="237762" y="393152"/>
                    </a:lnTo>
                    <a:cubicBezTo>
                      <a:pt x="224660" y="395828"/>
                      <a:pt x="211335" y="397167"/>
                      <a:pt x="198010" y="397167"/>
                    </a:cubicBezTo>
                    <a:close/>
                    <a:moveTo>
                      <a:pt x="236090" y="384957"/>
                    </a:moveTo>
                    <a:lnTo>
                      <a:pt x="236090" y="384957"/>
                    </a:lnTo>
                    <a:close/>
                    <a:moveTo>
                      <a:pt x="198456" y="16315"/>
                    </a:moveTo>
                    <a:cubicBezTo>
                      <a:pt x="97933" y="16215"/>
                      <a:pt x="16366" y="97637"/>
                      <a:pt x="16254" y="198171"/>
                    </a:cubicBezTo>
                    <a:cubicBezTo>
                      <a:pt x="16143" y="298706"/>
                      <a:pt x="97542" y="380273"/>
                      <a:pt x="198122" y="380385"/>
                    </a:cubicBezTo>
                    <a:cubicBezTo>
                      <a:pt x="210276" y="380385"/>
                      <a:pt x="222486" y="379158"/>
                      <a:pt x="234417" y="376761"/>
                    </a:cubicBezTo>
                    <a:lnTo>
                      <a:pt x="234417" y="376761"/>
                    </a:lnTo>
                    <a:cubicBezTo>
                      <a:pt x="332933" y="356522"/>
                      <a:pt x="396325" y="260236"/>
                      <a:pt x="376086" y="161720"/>
                    </a:cubicBezTo>
                    <a:cubicBezTo>
                      <a:pt x="358747" y="77331"/>
                      <a:pt x="284595" y="16661"/>
                      <a:pt x="198456" y="16315"/>
                    </a:cubicBezTo>
                    <a:close/>
                  </a:path>
                </a:pathLst>
              </a:custGeom>
              <a:solidFill>
                <a:srgbClr val="30373B"/>
              </a:solidFill>
              <a:ln w="5573" cap="flat">
                <a:noFill/>
                <a:prstDash val="solid"/>
                <a:miter/>
              </a:ln>
            </p:spPr>
            <p:txBody>
              <a:bodyPr rtlCol="0" anchor="ctr"/>
              <a:lstStyle/>
              <a:p>
                <a:endParaRPr lang="en-GB"/>
              </a:p>
            </p:txBody>
          </p:sp>
          <p:sp>
            <p:nvSpPr>
              <p:cNvPr id="157" name="Graphic 6">
                <a:extLst>
                  <a:ext uri="{FF2B5EF4-FFF2-40B4-BE49-F238E27FC236}">
                    <a16:creationId xmlns:a16="http://schemas.microsoft.com/office/drawing/2014/main" id="{514BBECC-ECB9-22DA-1E25-C99C5F388BC3}"/>
                  </a:ext>
                </a:extLst>
              </p:cNvPr>
              <p:cNvSpPr/>
              <p:nvPr/>
            </p:nvSpPr>
            <p:spPr>
              <a:xfrm>
                <a:off x="7737233" y="5098055"/>
                <a:ext cx="213475" cy="79445"/>
              </a:xfrm>
              <a:custGeom>
                <a:avLst/>
                <a:gdLst>
                  <a:gd name="connsiteX0" fmla="*/ 7551 w 213475"/>
                  <a:gd name="connsiteY0" fmla="*/ 78931 h 79445"/>
                  <a:gd name="connsiteX1" fmla="*/ -421 w 213475"/>
                  <a:gd name="connsiteY1" fmla="*/ 73356 h 79445"/>
                  <a:gd name="connsiteX2" fmla="*/ 5154 w 213475"/>
                  <a:gd name="connsiteY2" fmla="*/ 62824 h 79445"/>
                  <a:gd name="connsiteX3" fmla="*/ 5154 w 213475"/>
                  <a:gd name="connsiteY3" fmla="*/ 62819 h 79445"/>
                  <a:gd name="connsiteX4" fmla="*/ 201741 w 213475"/>
                  <a:gd name="connsiteY4" fmla="*/ -71 h 79445"/>
                  <a:gd name="connsiteX5" fmla="*/ 212278 w 213475"/>
                  <a:gd name="connsiteY5" fmla="*/ 5365 h 79445"/>
                  <a:gd name="connsiteX6" fmla="*/ 206814 w 213475"/>
                  <a:gd name="connsiteY6" fmla="*/ 15874 h 79445"/>
                  <a:gd name="connsiteX7" fmla="*/ 10228 w 213475"/>
                  <a:gd name="connsiteY7" fmla="*/ 78764 h 79445"/>
                  <a:gd name="connsiteX8" fmla="*/ 7551 w 213475"/>
                  <a:gd name="connsiteY8" fmla="*/ 78931 h 7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475" h="79445">
                    <a:moveTo>
                      <a:pt x="7551" y="78931"/>
                    </a:moveTo>
                    <a:cubicBezTo>
                      <a:pt x="3983" y="78987"/>
                      <a:pt x="749" y="76740"/>
                      <a:pt x="-421" y="73356"/>
                    </a:cubicBezTo>
                    <a:cubicBezTo>
                      <a:pt x="-1815" y="68912"/>
                      <a:pt x="693" y="64201"/>
                      <a:pt x="5154" y="62824"/>
                    </a:cubicBezTo>
                    <a:cubicBezTo>
                      <a:pt x="5154" y="62824"/>
                      <a:pt x="5154" y="62819"/>
                      <a:pt x="5154" y="62819"/>
                    </a:cubicBezTo>
                    <a:lnTo>
                      <a:pt x="201741" y="-71"/>
                    </a:lnTo>
                    <a:cubicBezTo>
                      <a:pt x="206145" y="-1471"/>
                      <a:pt x="210828" y="960"/>
                      <a:pt x="212278" y="5365"/>
                    </a:cubicBezTo>
                    <a:cubicBezTo>
                      <a:pt x="213672" y="9769"/>
                      <a:pt x="211218" y="14475"/>
                      <a:pt x="206814" y="15874"/>
                    </a:cubicBezTo>
                    <a:lnTo>
                      <a:pt x="10228" y="78764"/>
                    </a:lnTo>
                    <a:cubicBezTo>
                      <a:pt x="9336" y="78970"/>
                      <a:pt x="8443" y="79032"/>
                      <a:pt x="7551" y="78931"/>
                    </a:cubicBezTo>
                    <a:close/>
                  </a:path>
                </a:pathLst>
              </a:custGeom>
              <a:solidFill>
                <a:srgbClr val="30373B"/>
              </a:solidFill>
              <a:ln w="5573" cap="flat">
                <a:noFill/>
                <a:prstDash val="solid"/>
                <a:miter/>
              </a:ln>
            </p:spPr>
            <p:txBody>
              <a:bodyPr rtlCol="0" anchor="ctr"/>
              <a:lstStyle/>
              <a:p>
                <a:endParaRPr lang="en-GB"/>
              </a:p>
            </p:txBody>
          </p:sp>
          <p:sp>
            <p:nvSpPr>
              <p:cNvPr id="158" name="Graphic 6">
                <a:extLst>
                  <a:ext uri="{FF2B5EF4-FFF2-40B4-BE49-F238E27FC236}">
                    <a16:creationId xmlns:a16="http://schemas.microsoft.com/office/drawing/2014/main" id="{B0B9BA0C-CDE9-7906-84BB-84585F73E294}"/>
                  </a:ext>
                </a:extLst>
              </p:cNvPr>
              <p:cNvSpPr/>
              <p:nvPr/>
            </p:nvSpPr>
            <p:spPr>
              <a:xfrm>
                <a:off x="758373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59" name="Graphic 6">
                <a:extLst>
                  <a:ext uri="{FF2B5EF4-FFF2-40B4-BE49-F238E27FC236}">
                    <a16:creationId xmlns:a16="http://schemas.microsoft.com/office/drawing/2014/main" id="{D901E415-F37C-2EDA-4C4A-212DD7FBEA76}"/>
                  </a:ext>
                </a:extLst>
              </p:cNvPr>
              <p:cNvSpPr/>
              <p:nvPr/>
            </p:nvSpPr>
            <p:spPr>
              <a:xfrm>
                <a:off x="773159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0" name="Graphic 6">
                <a:extLst>
                  <a:ext uri="{FF2B5EF4-FFF2-40B4-BE49-F238E27FC236}">
                    <a16:creationId xmlns:a16="http://schemas.microsoft.com/office/drawing/2014/main" id="{B77A4349-31F1-D390-C644-1CC31A900EAA}"/>
                  </a:ext>
                </a:extLst>
              </p:cNvPr>
              <p:cNvSpPr/>
              <p:nvPr/>
            </p:nvSpPr>
            <p:spPr>
              <a:xfrm>
                <a:off x="758373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7"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61" name="Graphic 6">
                <a:extLst>
                  <a:ext uri="{FF2B5EF4-FFF2-40B4-BE49-F238E27FC236}">
                    <a16:creationId xmlns:a16="http://schemas.microsoft.com/office/drawing/2014/main" id="{4BB3F4DA-2704-61B1-8C94-3416983CE5BB}"/>
                  </a:ext>
                </a:extLst>
              </p:cNvPr>
              <p:cNvSpPr/>
              <p:nvPr/>
            </p:nvSpPr>
            <p:spPr>
              <a:xfrm>
                <a:off x="773159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2" name="Graphic 6">
                <a:extLst>
                  <a:ext uri="{FF2B5EF4-FFF2-40B4-BE49-F238E27FC236}">
                    <a16:creationId xmlns:a16="http://schemas.microsoft.com/office/drawing/2014/main" id="{6B0320F4-0748-F058-FE07-8D1071106BDB}"/>
                  </a:ext>
                </a:extLst>
              </p:cNvPr>
              <p:cNvSpPr/>
              <p:nvPr/>
            </p:nvSpPr>
            <p:spPr>
              <a:xfrm>
                <a:off x="7874827"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3" name="Graphic 6">
                <a:extLst>
                  <a:ext uri="{FF2B5EF4-FFF2-40B4-BE49-F238E27FC236}">
                    <a16:creationId xmlns:a16="http://schemas.microsoft.com/office/drawing/2014/main" id="{7E2894DE-14AC-31AA-1372-505E1208265E}"/>
                  </a:ext>
                </a:extLst>
              </p:cNvPr>
              <p:cNvSpPr/>
              <p:nvPr/>
            </p:nvSpPr>
            <p:spPr>
              <a:xfrm>
                <a:off x="7874827"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64" name="Graphic 6">
                <a:extLst>
                  <a:ext uri="{FF2B5EF4-FFF2-40B4-BE49-F238E27FC236}">
                    <a16:creationId xmlns:a16="http://schemas.microsoft.com/office/drawing/2014/main" id="{20A940E3-5BD6-43F9-7879-3313BC58B189}"/>
                  </a:ext>
                </a:extLst>
              </p:cNvPr>
              <p:cNvSpPr/>
              <p:nvPr/>
            </p:nvSpPr>
            <p:spPr>
              <a:xfrm>
                <a:off x="8363171"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75"/>
                      <a:pt x="81374" y="105431"/>
                      <a:pt x="52159" y="105465"/>
                    </a:cubicBezTo>
                    <a:close/>
                    <a:moveTo>
                      <a:pt x="52159" y="16259"/>
                    </a:moveTo>
                    <a:cubicBezTo>
                      <a:pt x="32144" y="16259"/>
                      <a:pt x="15919" y="32484"/>
                      <a:pt x="15919" y="52499"/>
                    </a:cubicBezTo>
                    <a:cubicBezTo>
                      <a:pt x="15919" y="72515"/>
                      <a:pt x="32144" y="88739"/>
                      <a:pt x="52159" y="88739"/>
                    </a:cubicBezTo>
                    <a:cubicBezTo>
                      <a:pt x="72175" y="88739"/>
                      <a:pt x="88399" y="72515"/>
                      <a:pt x="88399" y="52499"/>
                    </a:cubicBezTo>
                    <a:cubicBezTo>
                      <a:pt x="88343" y="32517"/>
                      <a:pt x="72119" y="16343"/>
                      <a:pt x="52159" y="16315"/>
                    </a:cubicBezTo>
                    <a:close/>
                  </a:path>
                </a:pathLst>
              </a:custGeom>
              <a:solidFill>
                <a:srgbClr val="30373B"/>
              </a:solidFill>
              <a:ln w="5573" cap="flat">
                <a:noFill/>
                <a:prstDash val="solid"/>
                <a:miter/>
              </a:ln>
            </p:spPr>
            <p:txBody>
              <a:bodyPr rtlCol="0" anchor="ctr"/>
              <a:lstStyle/>
              <a:p>
                <a:endParaRPr lang="en-GB"/>
              </a:p>
            </p:txBody>
          </p:sp>
          <p:sp>
            <p:nvSpPr>
              <p:cNvPr id="165" name="Graphic 6">
                <a:extLst>
                  <a:ext uri="{FF2B5EF4-FFF2-40B4-BE49-F238E27FC236}">
                    <a16:creationId xmlns:a16="http://schemas.microsoft.com/office/drawing/2014/main" id="{1F6CF991-43F2-9CA2-3F73-CFCCB80553F8}"/>
                  </a:ext>
                </a:extLst>
              </p:cNvPr>
              <p:cNvSpPr/>
              <p:nvPr/>
            </p:nvSpPr>
            <p:spPr>
              <a:xfrm>
                <a:off x="8510973"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6" name="Graphic 6">
                <a:extLst>
                  <a:ext uri="{FF2B5EF4-FFF2-40B4-BE49-F238E27FC236}">
                    <a16:creationId xmlns:a16="http://schemas.microsoft.com/office/drawing/2014/main" id="{2EAD32A4-8568-4DCF-7911-571E1EA9FBE0}"/>
                  </a:ext>
                </a:extLst>
              </p:cNvPr>
              <p:cNvSpPr/>
              <p:nvPr/>
            </p:nvSpPr>
            <p:spPr>
              <a:xfrm>
                <a:off x="8363171"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09"/>
                      <a:pt x="52159" y="105465"/>
                    </a:cubicBezTo>
                    <a:close/>
                    <a:moveTo>
                      <a:pt x="52159" y="16259"/>
                    </a:moveTo>
                    <a:cubicBezTo>
                      <a:pt x="32144" y="16259"/>
                      <a:pt x="15919" y="32483"/>
                      <a:pt x="15919" y="52499"/>
                    </a:cubicBezTo>
                    <a:cubicBezTo>
                      <a:pt x="15919" y="72514"/>
                      <a:pt x="32144" y="88739"/>
                      <a:pt x="52159" y="88739"/>
                    </a:cubicBezTo>
                    <a:cubicBezTo>
                      <a:pt x="72175" y="88739"/>
                      <a:pt x="88399" y="72514"/>
                      <a:pt x="88399" y="52499"/>
                    </a:cubicBezTo>
                    <a:cubicBezTo>
                      <a:pt x="88343" y="32517"/>
                      <a:pt x="72119" y="16348"/>
                      <a:pt x="52159" y="16315"/>
                    </a:cubicBezTo>
                    <a:close/>
                  </a:path>
                </a:pathLst>
              </a:custGeom>
              <a:solidFill>
                <a:srgbClr val="30373B"/>
              </a:solidFill>
              <a:ln w="5573" cap="flat">
                <a:noFill/>
                <a:prstDash val="solid"/>
                <a:miter/>
              </a:ln>
            </p:spPr>
            <p:txBody>
              <a:bodyPr rtlCol="0" anchor="ctr"/>
              <a:lstStyle/>
              <a:p>
                <a:endParaRPr lang="en-GB"/>
              </a:p>
            </p:txBody>
          </p:sp>
          <p:sp>
            <p:nvSpPr>
              <p:cNvPr id="167" name="Graphic 6">
                <a:extLst>
                  <a:ext uri="{FF2B5EF4-FFF2-40B4-BE49-F238E27FC236}">
                    <a16:creationId xmlns:a16="http://schemas.microsoft.com/office/drawing/2014/main" id="{2EA44193-9527-289E-7573-C12BEEF3D096}"/>
                  </a:ext>
                </a:extLst>
              </p:cNvPr>
              <p:cNvSpPr/>
              <p:nvPr/>
            </p:nvSpPr>
            <p:spPr>
              <a:xfrm>
                <a:off x="8510973"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8" name="Graphic 6">
                <a:extLst>
                  <a:ext uri="{FF2B5EF4-FFF2-40B4-BE49-F238E27FC236}">
                    <a16:creationId xmlns:a16="http://schemas.microsoft.com/office/drawing/2014/main" id="{3B6774C7-3B06-7240-6471-00E417768866}"/>
                  </a:ext>
                </a:extLst>
              </p:cNvPr>
              <p:cNvSpPr/>
              <p:nvPr/>
            </p:nvSpPr>
            <p:spPr>
              <a:xfrm>
                <a:off x="8654204"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69" name="Graphic 6">
                <a:extLst>
                  <a:ext uri="{FF2B5EF4-FFF2-40B4-BE49-F238E27FC236}">
                    <a16:creationId xmlns:a16="http://schemas.microsoft.com/office/drawing/2014/main" id="{F1D66DC7-AD83-028A-679D-949673EE65F1}"/>
                  </a:ext>
                </a:extLst>
              </p:cNvPr>
              <p:cNvSpPr/>
              <p:nvPr/>
            </p:nvSpPr>
            <p:spPr>
              <a:xfrm>
                <a:off x="6727032" y="5003614"/>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86"/>
                      <a:pt x="81374" y="105465"/>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0" name="Graphic 6">
                <a:extLst>
                  <a:ext uri="{FF2B5EF4-FFF2-40B4-BE49-F238E27FC236}">
                    <a16:creationId xmlns:a16="http://schemas.microsoft.com/office/drawing/2014/main" id="{8D4A0829-DDB2-21FA-D79F-CE20C8B39411}"/>
                  </a:ext>
                </a:extLst>
              </p:cNvPr>
              <p:cNvSpPr/>
              <p:nvPr/>
            </p:nvSpPr>
            <p:spPr>
              <a:xfrm>
                <a:off x="687483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1" name="Graphic 6">
                <a:extLst>
                  <a:ext uri="{FF2B5EF4-FFF2-40B4-BE49-F238E27FC236}">
                    <a16:creationId xmlns:a16="http://schemas.microsoft.com/office/drawing/2014/main" id="{A0309058-70F9-F61B-63F8-C55DF2A0DF97}"/>
                  </a:ext>
                </a:extLst>
              </p:cNvPr>
              <p:cNvSpPr/>
              <p:nvPr/>
            </p:nvSpPr>
            <p:spPr>
              <a:xfrm>
                <a:off x="6727032" y="5160895"/>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105125 w 105931"/>
                  <a:gd name="connsiteY4" fmla="*/ 52555 h 105931"/>
                  <a:gd name="connsiteX5" fmla="*/ 52159 w 105931"/>
                  <a:gd name="connsiteY5" fmla="*/ 105465 h 105931"/>
                  <a:gd name="connsiteX6" fmla="*/ 52159 w 105931"/>
                  <a:gd name="connsiteY6" fmla="*/ 16259 h 105931"/>
                  <a:gd name="connsiteX7" fmla="*/ 15919 w 105931"/>
                  <a:gd name="connsiteY7" fmla="*/ 52499 h 105931"/>
                  <a:gd name="connsiteX8" fmla="*/ 52159 w 105931"/>
                  <a:gd name="connsiteY8" fmla="*/ 88739 h 105931"/>
                  <a:gd name="connsiteX9" fmla="*/ 88399 w 105931"/>
                  <a:gd name="connsiteY9" fmla="*/ 52499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69"/>
                      <a:pt x="-807" y="52499"/>
                    </a:cubicBezTo>
                    <a:cubicBezTo>
                      <a:pt x="-807" y="23245"/>
                      <a:pt x="22889" y="-467"/>
                      <a:pt x="52159" y="-467"/>
                    </a:cubicBezTo>
                    <a:cubicBezTo>
                      <a:pt x="81430" y="-467"/>
                      <a:pt x="105125" y="23245"/>
                      <a:pt x="105125" y="52499"/>
                    </a:cubicBezTo>
                    <a:cubicBezTo>
                      <a:pt x="105125" y="52516"/>
                      <a:pt x="105125" y="52538"/>
                      <a:pt x="105125" y="52555"/>
                    </a:cubicBezTo>
                    <a:cubicBezTo>
                      <a:pt x="105069" y="81769"/>
                      <a:pt x="81374" y="105465"/>
                      <a:pt x="52159" y="105465"/>
                    </a:cubicBezTo>
                    <a:close/>
                    <a:moveTo>
                      <a:pt x="52159" y="16259"/>
                    </a:moveTo>
                    <a:cubicBezTo>
                      <a:pt x="32144" y="16259"/>
                      <a:pt x="15919" y="32483"/>
                      <a:pt x="15919" y="52499"/>
                    </a:cubicBezTo>
                    <a:cubicBezTo>
                      <a:pt x="15919" y="72514"/>
                      <a:pt x="32144" y="88739"/>
                      <a:pt x="52159" y="88739"/>
                    </a:cubicBezTo>
                    <a:cubicBezTo>
                      <a:pt x="72174" y="88739"/>
                      <a:pt x="88399" y="72514"/>
                      <a:pt x="88399" y="52499"/>
                    </a:cubicBezTo>
                    <a:cubicBezTo>
                      <a:pt x="88343" y="32506"/>
                      <a:pt x="72174" y="16315"/>
                      <a:pt x="52159" y="16315"/>
                    </a:cubicBezTo>
                    <a:close/>
                  </a:path>
                </a:pathLst>
              </a:custGeom>
              <a:solidFill>
                <a:srgbClr val="30373B"/>
              </a:solidFill>
              <a:ln w="5573" cap="flat">
                <a:noFill/>
                <a:prstDash val="solid"/>
                <a:miter/>
              </a:ln>
            </p:spPr>
            <p:txBody>
              <a:bodyPr rtlCol="0" anchor="ctr"/>
              <a:lstStyle/>
              <a:p>
                <a:endParaRPr lang="en-GB"/>
              </a:p>
            </p:txBody>
          </p:sp>
          <p:sp>
            <p:nvSpPr>
              <p:cNvPr id="172" name="Graphic 6">
                <a:extLst>
                  <a:ext uri="{FF2B5EF4-FFF2-40B4-BE49-F238E27FC236}">
                    <a16:creationId xmlns:a16="http://schemas.microsoft.com/office/drawing/2014/main" id="{2AAA7506-410A-EDB2-0CF6-FAB72BD77FD0}"/>
                  </a:ext>
                </a:extLst>
              </p:cNvPr>
              <p:cNvSpPr/>
              <p:nvPr/>
            </p:nvSpPr>
            <p:spPr>
              <a:xfrm>
                <a:off x="6874834" y="5160895"/>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520"/>
                      <a:pt x="-751" y="81825"/>
                      <a:pt x="-807" y="52555"/>
                    </a:cubicBezTo>
                    <a:cubicBezTo>
                      <a:pt x="-862" y="23301"/>
                      <a:pt x="22833" y="-433"/>
                      <a:pt x="52103" y="-467"/>
                    </a:cubicBezTo>
                    <a:cubicBezTo>
                      <a:pt x="81374" y="-495"/>
                      <a:pt x="105069" y="23189"/>
                      <a:pt x="105125" y="52443"/>
                    </a:cubicBezTo>
                    <a:cubicBezTo>
                      <a:pt x="105125" y="52482"/>
                      <a:pt x="105125" y="52516"/>
                      <a:pt x="105125" y="52555"/>
                    </a:cubicBezTo>
                    <a:cubicBezTo>
                      <a:pt x="105069" y="81769"/>
                      <a:pt x="81430" y="105409"/>
                      <a:pt x="52215" y="105465"/>
                    </a:cubicBezTo>
                    <a:close/>
                    <a:moveTo>
                      <a:pt x="52215" y="16259"/>
                    </a:moveTo>
                    <a:cubicBezTo>
                      <a:pt x="32200" y="16231"/>
                      <a:pt x="15975" y="32428"/>
                      <a:pt x="15919" y="52443"/>
                    </a:cubicBezTo>
                    <a:cubicBezTo>
                      <a:pt x="15864" y="72459"/>
                      <a:pt x="32088" y="88683"/>
                      <a:pt x="52103" y="88739"/>
                    </a:cubicBezTo>
                    <a:cubicBezTo>
                      <a:pt x="72119" y="88794"/>
                      <a:pt x="88343" y="72570"/>
                      <a:pt x="88399" y="52555"/>
                    </a:cubicBezTo>
                    <a:cubicBezTo>
                      <a:pt x="88399" y="52538"/>
                      <a:pt x="88399" y="52516"/>
                      <a:pt x="88399" y="52499"/>
                    </a:cubicBezTo>
                    <a:cubicBezTo>
                      <a:pt x="88343" y="32539"/>
                      <a:pt x="72174" y="16376"/>
                      <a:pt x="52215" y="16315"/>
                    </a:cubicBezTo>
                    <a:close/>
                  </a:path>
                </a:pathLst>
              </a:custGeom>
              <a:solidFill>
                <a:srgbClr val="30373B"/>
              </a:solidFill>
              <a:ln w="5573" cap="flat">
                <a:noFill/>
                <a:prstDash val="solid"/>
                <a:miter/>
              </a:ln>
            </p:spPr>
            <p:txBody>
              <a:bodyPr rtlCol="0" anchor="ctr"/>
              <a:lstStyle/>
              <a:p>
                <a:endParaRPr lang="en-GB"/>
              </a:p>
            </p:txBody>
          </p:sp>
          <p:sp>
            <p:nvSpPr>
              <p:cNvPr id="173" name="Graphic 6">
                <a:extLst>
                  <a:ext uri="{FF2B5EF4-FFF2-40B4-BE49-F238E27FC236}">
                    <a16:creationId xmlns:a16="http://schemas.microsoft.com/office/drawing/2014/main" id="{2DF20DD4-5308-5D52-54DB-44970B30CCBB}"/>
                  </a:ext>
                </a:extLst>
              </p:cNvPr>
              <p:cNvSpPr/>
              <p:nvPr/>
            </p:nvSpPr>
            <p:spPr>
              <a:xfrm>
                <a:off x="7018064" y="5003614"/>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555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99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82"/>
                      <a:pt x="105125" y="52516"/>
                      <a:pt x="105125" y="52555"/>
                    </a:cubicBezTo>
                    <a:cubicBezTo>
                      <a:pt x="105069" y="81753"/>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38"/>
                      <a:pt x="88399" y="52516"/>
                      <a:pt x="88399" y="52499"/>
                    </a:cubicBezTo>
                    <a:cubicBezTo>
                      <a:pt x="88343" y="32528"/>
                      <a:pt x="72175" y="16343"/>
                      <a:pt x="52215" y="16315"/>
                    </a:cubicBezTo>
                    <a:close/>
                  </a:path>
                </a:pathLst>
              </a:custGeom>
              <a:solidFill>
                <a:srgbClr val="30373B"/>
              </a:solidFill>
              <a:ln w="5573" cap="flat">
                <a:noFill/>
                <a:prstDash val="solid"/>
                <a:miter/>
              </a:ln>
            </p:spPr>
            <p:txBody>
              <a:bodyPr rtlCol="0" anchor="ctr"/>
              <a:lstStyle/>
              <a:p>
                <a:endParaRPr lang="en-GB"/>
              </a:p>
            </p:txBody>
          </p:sp>
          <p:sp>
            <p:nvSpPr>
              <p:cNvPr id="174" name="Graphic 6">
                <a:extLst>
                  <a:ext uri="{FF2B5EF4-FFF2-40B4-BE49-F238E27FC236}">
                    <a16:creationId xmlns:a16="http://schemas.microsoft.com/office/drawing/2014/main" id="{0E5F12BF-DCDA-E6BA-C046-264B0D2105B0}"/>
                  </a:ext>
                </a:extLst>
              </p:cNvPr>
              <p:cNvSpPr/>
              <p:nvPr/>
            </p:nvSpPr>
            <p:spPr>
              <a:xfrm>
                <a:off x="817901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5" name="Graphic 6">
                <a:extLst>
                  <a:ext uri="{FF2B5EF4-FFF2-40B4-BE49-F238E27FC236}">
                    <a16:creationId xmlns:a16="http://schemas.microsoft.com/office/drawing/2014/main" id="{DCC2EC4D-EAF5-AC44-C051-5D1166AFEE36}"/>
                  </a:ext>
                </a:extLst>
              </p:cNvPr>
              <p:cNvSpPr/>
              <p:nvPr/>
            </p:nvSpPr>
            <p:spPr>
              <a:xfrm>
                <a:off x="817901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6" name="Graphic 6">
                <a:extLst>
                  <a:ext uri="{FF2B5EF4-FFF2-40B4-BE49-F238E27FC236}">
                    <a16:creationId xmlns:a16="http://schemas.microsoft.com/office/drawing/2014/main" id="{516B5E94-D967-5DAC-46A1-7F313F3F3A2C}"/>
                  </a:ext>
                </a:extLst>
              </p:cNvPr>
              <p:cNvSpPr/>
              <p:nvPr/>
            </p:nvSpPr>
            <p:spPr>
              <a:xfrm>
                <a:off x="8322248"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7" name="Graphic 6">
                <a:extLst>
                  <a:ext uri="{FF2B5EF4-FFF2-40B4-BE49-F238E27FC236}">
                    <a16:creationId xmlns:a16="http://schemas.microsoft.com/office/drawing/2014/main" id="{637730E0-296A-2067-6057-0C6C09D1ED73}"/>
                  </a:ext>
                </a:extLst>
              </p:cNvPr>
              <p:cNvSpPr/>
              <p:nvPr/>
            </p:nvSpPr>
            <p:spPr>
              <a:xfrm>
                <a:off x="8322248"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4" y="16259"/>
                      <a:pt x="15919" y="32484"/>
                      <a:pt x="15919" y="52499"/>
                    </a:cubicBezTo>
                    <a:cubicBezTo>
                      <a:pt x="15919" y="72515"/>
                      <a:pt x="32144"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78" name="Graphic 6">
                <a:extLst>
                  <a:ext uri="{FF2B5EF4-FFF2-40B4-BE49-F238E27FC236}">
                    <a16:creationId xmlns:a16="http://schemas.microsoft.com/office/drawing/2014/main" id="{34A4D711-BAC7-7178-97D9-683EBB1EDC77}"/>
                  </a:ext>
                </a:extLst>
              </p:cNvPr>
              <p:cNvSpPr/>
              <p:nvPr/>
            </p:nvSpPr>
            <p:spPr>
              <a:xfrm>
                <a:off x="5931486"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1"/>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79" name="Graphic 6">
                <a:extLst>
                  <a:ext uri="{FF2B5EF4-FFF2-40B4-BE49-F238E27FC236}">
                    <a16:creationId xmlns:a16="http://schemas.microsoft.com/office/drawing/2014/main" id="{7BEBB9F2-F109-2F89-3463-7243292515C7}"/>
                  </a:ext>
                </a:extLst>
              </p:cNvPr>
              <p:cNvSpPr/>
              <p:nvPr/>
            </p:nvSpPr>
            <p:spPr>
              <a:xfrm>
                <a:off x="6079512"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0" name="Graphic 6">
                <a:extLst>
                  <a:ext uri="{FF2B5EF4-FFF2-40B4-BE49-F238E27FC236}">
                    <a16:creationId xmlns:a16="http://schemas.microsoft.com/office/drawing/2014/main" id="{8EC8DF68-2875-2832-4BC0-4D3C631A7F65}"/>
                  </a:ext>
                </a:extLst>
              </p:cNvPr>
              <p:cNvSpPr/>
              <p:nvPr/>
            </p:nvSpPr>
            <p:spPr>
              <a:xfrm>
                <a:off x="5931486"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905" y="105465"/>
                      <a:pt x="-807" y="81753"/>
                      <a:pt x="-807" y="52499"/>
                    </a:cubicBezTo>
                    <a:cubicBezTo>
                      <a:pt x="-807" y="23245"/>
                      <a:pt x="22905" y="-467"/>
                      <a:pt x="52159" y="-467"/>
                    </a:cubicBezTo>
                    <a:cubicBezTo>
                      <a:pt x="81413" y="-467"/>
                      <a:pt x="105125" y="23245"/>
                      <a:pt x="105125" y="52499"/>
                    </a:cubicBezTo>
                    <a:cubicBezTo>
                      <a:pt x="105097" y="81736"/>
                      <a:pt x="81396" y="105437"/>
                      <a:pt x="52159" y="105465"/>
                    </a:cubicBezTo>
                    <a:close/>
                    <a:moveTo>
                      <a:pt x="52159" y="16259"/>
                    </a:moveTo>
                    <a:cubicBezTo>
                      <a:pt x="32143" y="16259"/>
                      <a:pt x="15919" y="32484"/>
                      <a:pt x="15919" y="52499"/>
                    </a:cubicBezTo>
                    <a:cubicBezTo>
                      <a:pt x="15919" y="72515"/>
                      <a:pt x="32143" y="88739"/>
                      <a:pt x="52159" y="88739"/>
                    </a:cubicBezTo>
                    <a:cubicBezTo>
                      <a:pt x="72175" y="88739"/>
                      <a:pt x="88399" y="72515"/>
                      <a:pt x="88399" y="52499"/>
                    </a:cubicBezTo>
                    <a:cubicBezTo>
                      <a:pt x="88399" y="52482"/>
                      <a:pt x="88399" y="52460"/>
                      <a:pt x="88399" y="52443"/>
                    </a:cubicBezTo>
                    <a:cubicBezTo>
                      <a:pt x="88338" y="32472"/>
                      <a:pt x="72130" y="16315"/>
                      <a:pt x="52159" y="16315"/>
                    </a:cubicBezTo>
                    <a:close/>
                  </a:path>
                </a:pathLst>
              </a:custGeom>
              <a:solidFill>
                <a:srgbClr val="30373B"/>
              </a:solidFill>
              <a:ln w="5573" cap="flat">
                <a:noFill/>
                <a:prstDash val="solid"/>
                <a:miter/>
              </a:ln>
            </p:spPr>
            <p:txBody>
              <a:bodyPr rtlCol="0" anchor="ctr"/>
              <a:lstStyle/>
              <a:p>
                <a:endParaRPr lang="en-GB"/>
              </a:p>
            </p:txBody>
          </p:sp>
          <p:sp>
            <p:nvSpPr>
              <p:cNvPr id="181" name="Graphic 6">
                <a:extLst>
                  <a:ext uri="{FF2B5EF4-FFF2-40B4-BE49-F238E27FC236}">
                    <a16:creationId xmlns:a16="http://schemas.microsoft.com/office/drawing/2014/main" id="{1E00A7C8-0116-B87A-DBDA-87588A4B83F7}"/>
                  </a:ext>
                </a:extLst>
              </p:cNvPr>
              <p:cNvSpPr/>
              <p:nvPr/>
            </p:nvSpPr>
            <p:spPr>
              <a:xfrm>
                <a:off x="6079512"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61" y="105493"/>
                      <a:pt x="-773" y="81809"/>
                      <a:pt x="-807" y="52555"/>
                    </a:cubicBezTo>
                    <a:cubicBezTo>
                      <a:pt x="-840" y="23301"/>
                      <a:pt x="22849" y="-433"/>
                      <a:pt x="52103" y="-467"/>
                    </a:cubicBezTo>
                    <a:cubicBezTo>
                      <a:pt x="81357"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53" y="32428"/>
                      <a:pt x="15919" y="52443"/>
                    </a:cubicBezTo>
                    <a:cubicBezTo>
                      <a:pt x="15886" y="72459"/>
                      <a:pt x="32088" y="88705"/>
                      <a:pt x="52103" y="88739"/>
                    </a:cubicBezTo>
                    <a:cubicBezTo>
                      <a:pt x="72119" y="88767"/>
                      <a:pt x="88343" y="72570"/>
                      <a:pt x="88399" y="52555"/>
                    </a:cubicBezTo>
                    <a:cubicBezTo>
                      <a:pt x="88399" y="52516"/>
                      <a:pt x="88399" y="52482"/>
                      <a:pt x="88399" y="52443"/>
                    </a:cubicBezTo>
                    <a:cubicBezTo>
                      <a:pt x="88343" y="32495"/>
                      <a:pt x="7216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2" name="Graphic 6">
                <a:extLst>
                  <a:ext uri="{FF2B5EF4-FFF2-40B4-BE49-F238E27FC236}">
                    <a16:creationId xmlns:a16="http://schemas.microsoft.com/office/drawing/2014/main" id="{3B4F1DA2-371B-CB11-5D75-83720FF59D7B}"/>
                  </a:ext>
                </a:extLst>
              </p:cNvPr>
              <p:cNvSpPr/>
              <p:nvPr/>
            </p:nvSpPr>
            <p:spPr>
              <a:xfrm>
                <a:off x="6222519" y="386825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1"/>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3" name="Graphic 6">
                <a:extLst>
                  <a:ext uri="{FF2B5EF4-FFF2-40B4-BE49-F238E27FC236}">
                    <a16:creationId xmlns:a16="http://schemas.microsoft.com/office/drawing/2014/main" id="{5F6DD8A4-F025-D67C-2414-27F0DF3AD35C}"/>
                  </a:ext>
                </a:extLst>
              </p:cNvPr>
              <p:cNvSpPr/>
              <p:nvPr/>
            </p:nvSpPr>
            <p:spPr>
              <a:xfrm>
                <a:off x="6222519" y="4025532"/>
                <a:ext cx="105931" cy="105931"/>
              </a:xfrm>
              <a:custGeom>
                <a:avLst/>
                <a:gdLst>
                  <a:gd name="connsiteX0" fmla="*/ 52159 w 105931"/>
                  <a:gd name="connsiteY0" fmla="*/ 105465 h 105931"/>
                  <a:gd name="connsiteX1" fmla="*/ -807 w 105931"/>
                  <a:gd name="connsiteY1" fmla="*/ 52499 h 105931"/>
                  <a:gd name="connsiteX2" fmla="*/ 52159 w 105931"/>
                  <a:gd name="connsiteY2" fmla="*/ -467 h 105931"/>
                  <a:gd name="connsiteX3" fmla="*/ 105125 w 105931"/>
                  <a:gd name="connsiteY3" fmla="*/ 52499 h 105931"/>
                  <a:gd name="connsiteX4" fmla="*/ 52159 w 105931"/>
                  <a:gd name="connsiteY4" fmla="*/ 105465 h 105931"/>
                  <a:gd name="connsiteX5" fmla="*/ 52159 w 105931"/>
                  <a:gd name="connsiteY5" fmla="*/ 16259 h 105931"/>
                  <a:gd name="connsiteX6" fmla="*/ 15919 w 105931"/>
                  <a:gd name="connsiteY6" fmla="*/ 52499 h 105931"/>
                  <a:gd name="connsiteX7" fmla="*/ 52159 w 105931"/>
                  <a:gd name="connsiteY7" fmla="*/ 88739 h 105931"/>
                  <a:gd name="connsiteX8" fmla="*/ 88399 w 105931"/>
                  <a:gd name="connsiteY8" fmla="*/ 52499 h 105931"/>
                  <a:gd name="connsiteX9" fmla="*/ 88399 w 105931"/>
                  <a:gd name="connsiteY9" fmla="*/ 52443 h 105931"/>
                  <a:gd name="connsiteX10" fmla="*/ 52159 w 105931"/>
                  <a:gd name="connsiteY10"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31" h="105931">
                    <a:moveTo>
                      <a:pt x="52159" y="105465"/>
                    </a:moveTo>
                    <a:cubicBezTo>
                      <a:pt x="22889" y="105465"/>
                      <a:pt x="-807" y="81753"/>
                      <a:pt x="-807" y="52499"/>
                    </a:cubicBezTo>
                    <a:cubicBezTo>
                      <a:pt x="-807" y="23245"/>
                      <a:pt x="22889" y="-467"/>
                      <a:pt x="52159" y="-467"/>
                    </a:cubicBezTo>
                    <a:cubicBezTo>
                      <a:pt x="81430" y="-467"/>
                      <a:pt x="105125" y="23245"/>
                      <a:pt x="105125" y="52499"/>
                    </a:cubicBezTo>
                    <a:cubicBezTo>
                      <a:pt x="105069" y="81736"/>
                      <a:pt x="81374" y="105437"/>
                      <a:pt x="52159" y="105465"/>
                    </a:cubicBezTo>
                    <a:close/>
                    <a:moveTo>
                      <a:pt x="52159" y="16259"/>
                    </a:moveTo>
                    <a:cubicBezTo>
                      <a:pt x="32143" y="16259"/>
                      <a:pt x="15919" y="32484"/>
                      <a:pt x="15919" y="52499"/>
                    </a:cubicBezTo>
                    <a:cubicBezTo>
                      <a:pt x="15919" y="72515"/>
                      <a:pt x="32143" y="88739"/>
                      <a:pt x="52159" y="88739"/>
                    </a:cubicBezTo>
                    <a:cubicBezTo>
                      <a:pt x="72174" y="88739"/>
                      <a:pt x="88399" y="72515"/>
                      <a:pt x="88399" y="52499"/>
                    </a:cubicBezTo>
                    <a:cubicBezTo>
                      <a:pt x="88399" y="52482"/>
                      <a:pt x="88399" y="52460"/>
                      <a:pt x="88399" y="52443"/>
                    </a:cubicBezTo>
                    <a:cubicBezTo>
                      <a:pt x="88343" y="32472"/>
                      <a:pt x="72119" y="16315"/>
                      <a:pt x="52159" y="16315"/>
                    </a:cubicBezTo>
                    <a:close/>
                  </a:path>
                </a:pathLst>
              </a:custGeom>
              <a:solidFill>
                <a:srgbClr val="30373B"/>
              </a:solidFill>
              <a:ln w="5573" cap="flat">
                <a:noFill/>
                <a:prstDash val="solid"/>
                <a:miter/>
              </a:ln>
            </p:spPr>
            <p:txBody>
              <a:bodyPr rtlCol="0" anchor="ctr"/>
              <a:lstStyle/>
              <a:p>
                <a:endParaRPr lang="en-GB"/>
              </a:p>
            </p:txBody>
          </p:sp>
          <p:sp>
            <p:nvSpPr>
              <p:cNvPr id="184" name="Graphic 6">
                <a:extLst>
                  <a:ext uri="{FF2B5EF4-FFF2-40B4-BE49-F238E27FC236}">
                    <a16:creationId xmlns:a16="http://schemas.microsoft.com/office/drawing/2014/main" id="{8E1000D6-40AB-34B9-02F6-D8DD68900C88}"/>
                  </a:ext>
                </a:extLst>
              </p:cNvPr>
              <p:cNvSpPr/>
              <p:nvPr/>
            </p:nvSpPr>
            <p:spPr>
              <a:xfrm>
                <a:off x="6571759"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199"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5" name="Graphic 6">
                <a:extLst>
                  <a:ext uri="{FF2B5EF4-FFF2-40B4-BE49-F238E27FC236}">
                    <a16:creationId xmlns:a16="http://schemas.microsoft.com/office/drawing/2014/main" id="{D3A1441C-C34F-81C2-38AF-5DFD37200CBA}"/>
                  </a:ext>
                </a:extLst>
              </p:cNvPr>
              <p:cNvSpPr/>
              <p:nvPr/>
            </p:nvSpPr>
            <p:spPr>
              <a:xfrm>
                <a:off x="6571759"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199"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6" name="Graphic 6">
                <a:extLst>
                  <a:ext uri="{FF2B5EF4-FFF2-40B4-BE49-F238E27FC236}">
                    <a16:creationId xmlns:a16="http://schemas.microsoft.com/office/drawing/2014/main" id="{F847CD6B-5181-82E9-A3E8-D7255FCE6134}"/>
                  </a:ext>
                </a:extLst>
              </p:cNvPr>
              <p:cNvSpPr/>
              <p:nvPr/>
            </p:nvSpPr>
            <p:spPr>
              <a:xfrm>
                <a:off x="6715100" y="386825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500"/>
                      <a:pt x="105069" y="23190"/>
                      <a:pt x="105125" y="52443"/>
                    </a:cubicBezTo>
                    <a:cubicBezTo>
                      <a:pt x="105125" y="52460"/>
                      <a:pt x="105125" y="52482"/>
                      <a:pt x="105125" y="52499"/>
                    </a:cubicBezTo>
                    <a:cubicBezTo>
                      <a:pt x="105069" y="81719"/>
                      <a:pt x="81430" y="105403"/>
                      <a:pt x="52215" y="105465"/>
                    </a:cubicBezTo>
                    <a:close/>
                    <a:moveTo>
                      <a:pt x="52215" y="16259"/>
                    </a:moveTo>
                    <a:cubicBezTo>
                      <a:pt x="32200" y="16226"/>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9"/>
                      <a:pt x="52215" y="16315"/>
                    </a:cubicBezTo>
                    <a:close/>
                  </a:path>
                </a:pathLst>
              </a:custGeom>
              <a:solidFill>
                <a:srgbClr val="30373B"/>
              </a:solidFill>
              <a:ln w="5573" cap="flat">
                <a:noFill/>
                <a:prstDash val="solid"/>
                <a:miter/>
              </a:ln>
            </p:spPr>
            <p:txBody>
              <a:bodyPr rtlCol="0" anchor="ctr"/>
              <a:lstStyle/>
              <a:p>
                <a:endParaRPr lang="en-GB"/>
              </a:p>
            </p:txBody>
          </p:sp>
          <p:sp>
            <p:nvSpPr>
              <p:cNvPr id="187" name="Graphic 6">
                <a:extLst>
                  <a:ext uri="{FF2B5EF4-FFF2-40B4-BE49-F238E27FC236}">
                    <a16:creationId xmlns:a16="http://schemas.microsoft.com/office/drawing/2014/main" id="{8DA57CD1-ECC3-BA0C-DABE-86AB486A698B}"/>
                  </a:ext>
                </a:extLst>
              </p:cNvPr>
              <p:cNvSpPr/>
              <p:nvPr/>
            </p:nvSpPr>
            <p:spPr>
              <a:xfrm>
                <a:off x="6715100" y="4025532"/>
                <a:ext cx="105931" cy="105931"/>
              </a:xfrm>
              <a:custGeom>
                <a:avLst/>
                <a:gdLst>
                  <a:gd name="connsiteX0" fmla="*/ 52215 w 105931"/>
                  <a:gd name="connsiteY0" fmla="*/ 105465 h 105931"/>
                  <a:gd name="connsiteX1" fmla="*/ -807 w 105931"/>
                  <a:gd name="connsiteY1" fmla="*/ 52555 h 105931"/>
                  <a:gd name="connsiteX2" fmla="*/ 52103 w 105931"/>
                  <a:gd name="connsiteY2" fmla="*/ -467 h 105931"/>
                  <a:gd name="connsiteX3" fmla="*/ 105125 w 105931"/>
                  <a:gd name="connsiteY3" fmla="*/ 52443 h 105931"/>
                  <a:gd name="connsiteX4" fmla="*/ 105125 w 105931"/>
                  <a:gd name="connsiteY4" fmla="*/ 52499 h 105931"/>
                  <a:gd name="connsiteX5" fmla="*/ 52215 w 105931"/>
                  <a:gd name="connsiteY5" fmla="*/ 105465 h 105931"/>
                  <a:gd name="connsiteX6" fmla="*/ 52215 w 105931"/>
                  <a:gd name="connsiteY6" fmla="*/ 16259 h 105931"/>
                  <a:gd name="connsiteX7" fmla="*/ 15919 w 105931"/>
                  <a:gd name="connsiteY7" fmla="*/ 52443 h 105931"/>
                  <a:gd name="connsiteX8" fmla="*/ 52103 w 105931"/>
                  <a:gd name="connsiteY8" fmla="*/ 88739 h 105931"/>
                  <a:gd name="connsiteX9" fmla="*/ 88399 w 105931"/>
                  <a:gd name="connsiteY9" fmla="*/ 52555 h 105931"/>
                  <a:gd name="connsiteX10" fmla="*/ 88399 w 105931"/>
                  <a:gd name="connsiteY10" fmla="*/ 52443 h 105931"/>
                  <a:gd name="connsiteX11" fmla="*/ 52215 w 105931"/>
                  <a:gd name="connsiteY11" fmla="*/ 16315 h 1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31" h="105931">
                    <a:moveTo>
                      <a:pt x="52215" y="105465"/>
                    </a:moveTo>
                    <a:cubicBezTo>
                      <a:pt x="22944" y="105493"/>
                      <a:pt x="-751" y="81809"/>
                      <a:pt x="-807" y="52555"/>
                    </a:cubicBezTo>
                    <a:cubicBezTo>
                      <a:pt x="-862" y="23301"/>
                      <a:pt x="22833" y="-433"/>
                      <a:pt x="52103" y="-467"/>
                    </a:cubicBezTo>
                    <a:cubicBezTo>
                      <a:pt x="81374" y="-495"/>
                      <a:pt x="105069" y="23189"/>
                      <a:pt x="105125" y="52443"/>
                    </a:cubicBezTo>
                    <a:cubicBezTo>
                      <a:pt x="105125" y="52460"/>
                      <a:pt x="105125" y="52482"/>
                      <a:pt x="105125" y="52499"/>
                    </a:cubicBezTo>
                    <a:cubicBezTo>
                      <a:pt x="105069" y="81719"/>
                      <a:pt x="81430" y="105403"/>
                      <a:pt x="52215" y="105465"/>
                    </a:cubicBezTo>
                    <a:close/>
                    <a:moveTo>
                      <a:pt x="52215" y="16259"/>
                    </a:moveTo>
                    <a:cubicBezTo>
                      <a:pt x="32200" y="16231"/>
                      <a:pt x="15975" y="32428"/>
                      <a:pt x="15919" y="52443"/>
                    </a:cubicBezTo>
                    <a:cubicBezTo>
                      <a:pt x="15864" y="72459"/>
                      <a:pt x="32088" y="88705"/>
                      <a:pt x="52103" y="88739"/>
                    </a:cubicBezTo>
                    <a:cubicBezTo>
                      <a:pt x="72119" y="88767"/>
                      <a:pt x="88343" y="72570"/>
                      <a:pt x="88399" y="52555"/>
                    </a:cubicBezTo>
                    <a:cubicBezTo>
                      <a:pt x="88399" y="52516"/>
                      <a:pt x="88399" y="52482"/>
                      <a:pt x="88399" y="52443"/>
                    </a:cubicBezTo>
                    <a:cubicBezTo>
                      <a:pt x="88343" y="32495"/>
                      <a:pt x="72174" y="16348"/>
                      <a:pt x="52215" y="16315"/>
                    </a:cubicBezTo>
                    <a:close/>
                  </a:path>
                </a:pathLst>
              </a:custGeom>
              <a:solidFill>
                <a:srgbClr val="30373B"/>
              </a:solidFill>
              <a:ln w="5573" cap="flat">
                <a:noFill/>
                <a:prstDash val="solid"/>
                <a:miter/>
              </a:ln>
            </p:spPr>
            <p:txBody>
              <a:bodyPr rtlCol="0" anchor="ctr"/>
              <a:lstStyle/>
              <a:p>
                <a:endParaRPr lang="en-GB"/>
              </a:p>
            </p:txBody>
          </p:sp>
          <p:sp>
            <p:nvSpPr>
              <p:cNvPr id="188" name="Graphic 6">
                <a:extLst>
                  <a:ext uri="{FF2B5EF4-FFF2-40B4-BE49-F238E27FC236}">
                    <a16:creationId xmlns:a16="http://schemas.microsoft.com/office/drawing/2014/main" id="{471182A4-818C-76EF-35A4-D853F474A767}"/>
                  </a:ext>
                </a:extLst>
              </p:cNvPr>
              <p:cNvSpPr/>
              <p:nvPr/>
            </p:nvSpPr>
            <p:spPr>
              <a:xfrm>
                <a:off x="7449596" y="4796267"/>
                <a:ext cx="1684143" cy="16726"/>
              </a:xfrm>
              <a:custGeom>
                <a:avLst/>
                <a:gdLst>
                  <a:gd name="connsiteX0" fmla="*/ 1674974 w 1684143"/>
                  <a:gd name="connsiteY0" fmla="*/ 16259 h 16726"/>
                  <a:gd name="connsiteX1" fmla="*/ 7556 w 1684143"/>
                  <a:gd name="connsiteY1" fmla="*/ 16259 h 16726"/>
                  <a:gd name="connsiteX2" fmla="*/ -807 w 1684143"/>
                  <a:gd name="connsiteY2" fmla="*/ 7896 h 16726"/>
                  <a:gd name="connsiteX3" fmla="*/ 7556 w 1684143"/>
                  <a:gd name="connsiteY3" fmla="*/ -467 h 16726"/>
                  <a:gd name="connsiteX4" fmla="*/ 1674974 w 1684143"/>
                  <a:gd name="connsiteY4" fmla="*/ -467 h 16726"/>
                  <a:gd name="connsiteX5" fmla="*/ 1683337 w 1684143"/>
                  <a:gd name="connsiteY5" fmla="*/ 7896 h 16726"/>
                  <a:gd name="connsiteX6" fmla="*/ 1674974 w 1684143"/>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4143" h="16726">
                    <a:moveTo>
                      <a:pt x="1674974" y="16259"/>
                    </a:moveTo>
                    <a:lnTo>
                      <a:pt x="7556" y="16259"/>
                    </a:lnTo>
                    <a:cubicBezTo>
                      <a:pt x="2929" y="16259"/>
                      <a:pt x="-807" y="12513"/>
                      <a:pt x="-807" y="7896"/>
                    </a:cubicBezTo>
                    <a:cubicBezTo>
                      <a:pt x="-807" y="3280"/>
                      <a:pt x="2929" y="-467"/>
                      <a:pt x="7556" y="-467"/>
                    </a:cubicBezTo>
                    <a:lnTo>
                      <a:pt x="1674974" y="-467"/>
                    </a:lnTo>
                    <a:cubicBezTo>
                      <a:pt x="1679601" y="-467"/>
                      <a:pt x="1683337" y="3280"/>
                      <a:pt x="1683337" y="7896"/>
                    </a:cubicBezTo>
                    <a:cubicBezTo>
                      <a:pt x="1683337" y="12513"/>
                      <a:pt x="1679601" y="16259"/>
                      <a:pt x="1674974" y="16259"/>
                    </a:cubicBezTo>
                    <a:close/>
                  </a:path>
                </a:pathLst>
              </a:custGeom>
              <a:solidFill>
                <a:srgbClr val="30373B"/>
              </a:solidFill>
              <a:ln w="5573" cap="flat">
                <a:noFill/>
                <a:prstDash val="solid"/>
                <a:miter/>
              </a:ln>
            </p:spPr>
            <p:txBody>
              <a:bodyPr rtlCol="0" anchor="ctr"/>
              <a:lstStyle/>
              <a:p>
                <a:endParaRPr lang="en-GB"/>
              </a:p>
            </p:txBody>
          </p:sp>
          <p:sp>
            <p:nvSpPr>
              <p:cNvPr id="189" name="Graphic 6">
                <a:extLst>
                  <a:ext uri="{FF2B5EF4-FFF2-40B4-BE49-F238E27FC236}">
                    <a16:creationId xmlns:a16="http://schemas.microsoft.com/office/drawing/2014/main" id="{26DBA74E-D12B-A00E-59EC-05316BCE8B78}"/>
                  </a:ext>
                </a:extLst>
              </p:cNvPr>
              <p:cNvSpPr/>
              <p:nvPr/>
            </p:nvSpPr>
            <p:spPr>
              <a:xfrm>
                <a:off x="7454948" y="4699312"/>
                <a:ext cx="1678791" cy="16726"/>
              </a:xfrm>
              <a:custGeom>
                <a:avLst/>
                <a:gdLst>
                  <a:gd name="connsiteX0" fmla="*/ 1669622 w 1678791"/>
                  <a:gd name="connsiteY0" fmla="*/ 16259 h 16726"/>
                  <a:gd name="connsiteX1" fmla="*/ 7556 w 1678791"/>
                  <a:gd name="connsiteY1" fmla="*/ 16259 h 16726"/>
                  <a:gd name="connsiteX2" fmla="*/ -807 w 1678791"/>
                  <a:gd name="connsiteY2" fmla="*/ 7896 h 16726"/>
                  <a:gd name="connsiteX3" fmla="*/ 7556 w 1678791"/>
                  <a:gd name="connsiteY3" fmla="*/ -467 h 16726"/>
                  <a:gd name="connsiteX4" fmla="*/ 1669622 w 1678791"/>
                  <a:gd name="connsiteY4" fmla="*/ -467 h 16726"/>
                  <a:gd name="connsiteX5" fmla="*/ 1677985 w 1678791"/>
                  <a:gd name="connsiteY5" fmla="*/ 7896 h 16726"/>
                  <a:gd name="connsiteX6" fmla="*/ 1669622 w 1678791"/>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8791" h="16726">
                    <a:moveTo>
                      <a:pt x="1669622" y="16259"/>
                    </a:moveTo>
                    <a:lnTo>
                      <a:pt x="7556" y="16259"/>
                    </a:lnTo>
                    <a:cubicBezTo>
                      <a:pt x="2929" y="16259"/>
                      <a:pt x="-807" y="12513"/>
                      <a:pt x="-807" y="7896"/>
                    </a:cubicBezTo>
                    <a:cubicBezTo>
                      <a:pt x="-807" y="3280"/>
                      <a:pt x="2929" y="-467"/>
                      <a:pt x="7556" y="-467"/>
                    </a:cubicBezTo>
                    <a:lnTo>
                      <a:pt x="1669622" y="-467"/>
                    </a:lnTo>
                    <a:cubicBezTo>
                      <a:pt x="1674249" y="-467"/>
                      <a:pt x="1677985" y="3280"/>
                      <a:pt x="1677985" y="7896"/>
                    </a:cubicBezTo>
                    <a:cubicBezTo>
                      <a:pt x="1677985" y="12513"/>
                      <a:pt x="1674249" y="16259"/>
                      <a:pt x="1669622" y="16259"/>
                    </a:cubicBezTo>
                    <a:close/>
                  </a:path>
                </a:pathLst>
              </a:custGeom>
              <a:solidFill>
                <a:srgbClr val="30373B"/>
              </a:solidFill>
              <a:ln w="5573" cap="flat">
                <a:noFill/>
                <a:prstDash val="solid"/>
                <a:miter/>
              </a:ln>
            </p:spPr>
            <p:txBody>
              <a:bodyPr rtlCol="0" anchor="ctr"/>
              <a:lstStyle/>
              <a:p>
                <a:endParaRPr lang="en-GB"/>
              </a:p>
            </p:txBody>
          </p:sp>
          <p:sp>
            <p:nvSpPr>
              <p:cNvPr id="190" name="Graphic 6">
                <a:extLst>
                  <a:ext uri="{FF2B5EF4-FFF2-40B4-BE49-F238E27FC236}">
                    <a16:creationId xmlns:a16="http://schemas.microsoft.com/office/drawing/2014/main" id="{F1A2F235-E754-2681-0188-6E0E9E9E2FDB}"/>
                  </a:ext>
                </a:extLst>
              </p:cNvPr>
              <p:cNvSpPr/>
              <p:nvPr/>
            </p:nvSpPr>
            <p:spPr>
              <a:xfrm>
                <a:off x="5517016" y="4699312"/>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1" name="Graphic 6">
                <a:extLst>
                  <a:ext uri="{FF2B5EF4-FFF2-40B4-BE49-F238E27FC236}">
                    <a16:creationId xmlns:a16="http://schemas.microsoft.com/office/drawing/2014/main" id="{3431755F-8576-4A81-F2A0-063B58E5E759}"/>
                  </a:ext>
                </a:extLst>
              </p:cNvPr>
              <p:cNvSpPr/>
              <p:nvPr/>
            </p:nvSpPr>
            <p:spPr>
              <a:xfrm>
                <a:off x="5517016" y="4796267"/>
                <a:ext cx="1774909" cy="16726"/>
              </a:xfrm>
              <a:custGeom>
                <a:avLst/>
                <a:gdLst>
                  <a:gd name="connsiteX0" fmla="*/ 1765740 w 1774909"/>
                  <a:gd name="connsiteY0" fmla="*/ 16259 h 16726"/>
                  <a:gd name="connsiteX1" fmla="*/ 7556 w 1774909"/>
                  <a:gd name="connsiteY1" fmla="*/ 16259 h 16726"/>
                  <a:gd name="connsiteX2" fmla="*/ -807 w 1774909"/>
                  <a:gd name="connsiteY2" fmla="*/ 7896 h 16726"/>
                  <a:gd name="connsiteX3" fmla="*/ 7556 w 1774909"/>
                  <a:gd name="connsiteY3" fmla="*/ -467 h 16726"/>
                  <a:gd name="connsiteX4" fmla="*/ 1765740 w 1774909"/>
                  <a:gd name="connsiteY4" fmla="*/ -467 h 16726"/>
                  <a:gd name="connsiteX5" fmla="*/ 1774103 w 1774909"/>
                  <a:gd name="connsiteY5" fmla="*/ 7896 h 16726"/>
                  <a:gd name="connsiteX6" fmla="*/ 1765740 w 1774909"/>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909" h="16726">
                    <a:moveTo>
                      <a:pt x="1765740" y="16259"/>
                    </a:moveTo>
                    <a:lnTo>
                      <a:pt x="7556" y="16259"/>
                    </a:lnTo>
                    <a:cubicBezTo>
                      <a:pt x="2940" y="16259"/>
                      <a:pt x="-807" y="12513"/>
                      <a:pt x="-807" y="7896"/>
                    </a:cubicBezTo>
                    <a:cubicBezTo>
                      <a:pt x="-807" y="3280"/>
                      <a:pt x="2940" y="-467"/>
                      <a:pt x="7556" y="-467"/>
                    </a:cubicBezTo>
                    <a:lnTo>
                      <a:pt x="1765740" y="-467"/>
                    </a:lnTo>
                    <a:cubicBezTo>
                      <a:pt x="1770368" y="-467"/>
                      <a:pt x="1774103" y="3280"/>
                      <a:pt x="1774103" y="7896"/>
                    </a:cubicBezTo>
                    <a:cubicBezTo>
                      <a:pt x="1774103" y="12513"/>
                      <a:pt x="1770368" y="16259"/>
                      <a:pt x="1765740" y="16259"/>
                    </a:cubicBezTo>
                    <a:close/>
                  </a:path>
                </a:pathLst>
              </a:custGeom>
              <a:solidFill>
                <a:srgbClr val="30373B"/>
              </a:solidFill>
              <a:ln w="5573" cap="flat">
                <a:noFill/>
                <a:prstDash val="solid"/>
                <a:miter/>
              </a:ln>
            </p:spPr>
            <p:txBody>
              <a:bodyPr rtlCol="0" anchor="ctr"/>
              <a:lstStyle/>
              <a:p>
                <a:endParaRPr lang="en-GB"/>
              </a:p>
            </p:txBody>
          </p:sp>
          <p:sp>
            <p:nvSpPr>
              <p:cNvPr id="192" name="Graphic 6">
                <a:extLst>
                  <a:ext uri="{FF2B5EF4-FFF2-40B4-BE49-F238E27FC236}">
                    <a16:creationId xmlns:a16="http://schemas.microsoft.com/office/drawing/2014/main" id="{C43A4D56-54CE-3716-AE25-8601AFF40F36}"/>
                  </a:ext>
                </a:extLst>
              </p:cNvPr>
              <p:cNvSpPr/>
              <p:nvPr/>
            </p:nvSpPr>
            <p:spPr>
              <a:xfrm>
                <a:off x="8423106" y="5388940"/>
                <a:ext cx="263937" cy="299381"/>
              </a:xfrm>
              <a:custGeom>
                <a:avLst/>
                <a:gdLst>
                  <a:gd name="connsiteX0" fmla="*/ 131162 w 263937"/>
                  <a:gd name="connsiteY0" fmla="*/ 298915 h 299381"/>
                  <a:gd name="connsiteX1" fmla="*/ 116722 w 263937"/>
                  <a:gd name="connsiteY1" fmla="*/ 294510 h 299381"/>
                  <a:gd name="connsiteX2" fmla="*/ 10791 w 263937"/>
                  <a:gd name="connsiteY2" fmla="*/ 223815 h 299381"/>
                  <a:gd name="connsiteX3" fmla="*/ -807 w 263937"/>
                  <a:gd name="connsiteY3" fmla="*/ 202183 h 299381"/>
                  <a:gd name="connsiteX4" fmla="*/ -807 w 263937"/>
                  <a:gd name="connsiteY4" fmla="*/ 96251 h 299381"/>
                  <a:gd name="connsiteX5" fmla="*/ 10791 w 263937"/>
                  <a:gd name="connsiteY5" fmla="*/ 74619 h 299381"/>
                  <a:gd name="connsiteX6" fmla="*/ 116722 w 263937"/>
                  <a:gd name="connsiteY6" fmla="*/ 3923 h 299381"/>
                  <a:gd name="connsiteX7" fmla="*/ 145602 w 263937"/>
                  <a:gd name="connsiteY7" fmla="*/ 3923 h 299381"/>
                  <a:gd name="connsiteX8" fmla="*/ 251533 w 263937"/>
                  <a:gd name="connsiteY8" fmla="*/ 74619 h 299381"/>
                  <a:gd name="connsiteX9" fmla="*/ 263130 w 263937"/>
                  <a:gd name="connsiteY9" fmla="*/ 96251 h 299381"/>
                  <a:gd name="connsiteX10" fmla="*/ 263130 w 263937"/>
                  <a:gd name="connsiteY10" fmla="*/ 110357 h 299381"/>
                  <a:gd name="connsiteX11" fmla="*/ 254767 w 263937"/>
                  <a:gd name="connsiteY11" fmla="*/ 118720 h 299381"/>
                  <a:gd name="connsiteX12" fmla="*/ 246404 w 263937"/>
                  <a:gd name="connsiteY12" fmla="*/ 110357 h 299381"/>
                  <a:gd name="connsiteX13" fmla="*/ 246404 w 263937"/>
                  <a:gd name="connsiteY13" fmla="*/ 96251 h 299381"/>
                  <a:gd name="connsiteX14" fmla="*/ 242278 w 263937"/>
                  <a:gd name="connsiteY14" fmla="*/ 88502 h 299381"/>
                  <a:gd name="connsiteX15" fmla="*/ 136347 w 263937"/>
                  <a:gd name="connsiteY15" fmla="*/ 17806 h 299381"/>
                  <a:gd name="connsiteX16" fmla="*/ 125977 w 263937"/>
                  <a:gd name="connsiteY16" fmla="*/ 17806 h 299381"/>
                  <a:gd name="connsiteX17" fmla="*/ 20045 w 263937"/>
                  <a:gd name="connsiteY17" fmla="*/ 88502 h 299381"/>
                  <a:gd name="connsiteX18" fmla="*/ 15919 w 263937"/>
                  <a:gd name="connsiteY18" fmla="*/ 96251 h 299381"/>
                  <a:gd name="connsiteX19" fmla="*/ 15919 w 263937"/>
                  <a:gd name="connsiteY19" fmla="*/ 202183 h 299381"/>
                  <a:gd name="connsiteX20" fmla="*/ 20045 w 263937"/>
                  <a:gd name="connsiteY20" fmla="*/ 209933 h 299381"/>
                  <a:gd name="connsiteX21" fmla="*/ 125977 w 263937"/>
                  <a:gd name="connsiteY21" fmla="*/ 280628 h 299381"/>
                  <a:gd name="connsiteX22" fmla="*/ 136291 w 263937"/>
                  <a:gd name="connsiteY22" fmla="*/ 280628 h 299381"/>
                  <a:gd name="connsiteX23" fmla="*/ 188421 w 263937"/>
                  <a:gd name="connsiteY23" fmla="*/ 245893 h 299381"/>
                  <a:gd name="connsiteX24" fmla="*/ 199961 w 263937"/>
                  <a:gd name="connsiteY24" fmla="*/ 248569 h 299381"/>
                  <a:gd name="connsiteX25" fmla="*/ 197731 w 263937"/>
                  <a:gd name="connsiteY25" fmla="*/ 259776 h 299381"/>
                  <a:gd name="connsiteX26" fmla="*/ 145602 w 263937"/>
                  <a:gd name="connsiteY26" fmla="*/ 294510 h 299381"/>
                  <a:gd name="connsiteX27" fmla="*/ 131162 w 263937"/>
                  <a:gd name="connsiteY27" fmla="*/ 298915 h 299381"/>
                  <a:gd name="connsiteX28" fmla="*/ 131162 w 263937"/>
                  <a:gd name="connsiteY28" fmla="*/ 228220 h 299381"/>
                  <a:gd name="connsiteX29" fmla="*/ 52103 w 263937"/>
                  <a:gd name="connsiteY29" fmla="*/ 149161 h 299381"/>
                  <a:gd name="connsiteX30" fmla="*/ 131162 w 263937"/>
                  <a:gd name="connsiteY30" fmla="*/ 70103 h 299381"/>
                  <a:gd name="connsiteX31" fmla="*/ 193550 w 263937"/>
                  <a:gd name="connsiteY31" fmla="*/ 100600 h 299381"/>
                  <a:gd name="connsiteX32" fmla="*/ 192491 w 263937"/>
                  <a:gd name="connsiteY32" fmla="*/ 112364 h 299381"/>
                  <a:gd name="connsiteX33" fmla="*/ 180671 w 263937"/>
                  <a:gd name="connsiteY33" fmla="*/ 111305 h 299381"/>
                  <a:gd name="connsiteX34" fmla="*/ 180392 w 263937"/>
                  <a:gd name="connsiteY34" fmla="*/ 110915 h 299381"/>
                  <a:gd name="connsiteX35" fmla="*/ 92971 w 263937"/>
                  <a:gd name="connsiteY35" fmla="*/ 99541 h 299381"/>
                  <a:gd name="connsiteX36" fmla="*/ 81597 w 263937"/>
                  <a:gd name="connsiteY36" fmla="*/ 186962 h 299381"/>
                  <a:gd name="connsiteX37" fmla="*/ 131162 w 263937"/>
                  <a:gd name="connsiteY37" fmla="*/ 211271 h 299381"/>
                  <a:gd name="connsiteX38" fmla="*/ 139525 w 263937"/>
                  <a:gd name="connsiteY38" fmla="*/ 219634 h 299381"/>
                  <a:gd name="connsiteX39" fmla="*/ 131162 w 263937"/>
                  <a:gd name="connsiteY39" fmla="*/ 227997 h 29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3937" h="299381">
                    <a:moveTo>
                      <a:pt x="131162" y="298915"/>
                    </a:moveTo>
                    <a:cubicBezTo>
                      <a:pt x="126032" y="298915"/>
                      <a:pt x="121014" y="297409"/>
                      <a:pt x="116722" y="294510"/>
                    </a:cubicBezTo>
                    <a:lnTo>
                      <a:pt x="10791" y="223815"/>
                    </a:lnTo>
                    <a:cubicBezTo>
                      <a:pt x="3542" y="219021"/>
                      <a:pt x="-807" y="210880"/>
                      <a:pt x="-807" y="202183"/>
                    </a:cubicBezTo>
                    <a:lnTo>
                      <a:pt x="-807" y="96251"/>
                    </a:lnTo>
                    <a:cubicBezTo>
                      <a:pt x="-807" y="87554"/>
                      <a:pt x="3542" y="79414"/>
                      <a:pt x="10791" y="74619"/>
                    </a:cubicBezTo>
                    <a:lnTo>
                      <a:pt x="116722" y="3923"/>
                    </a:lnTo>
                    <a:cubicBezTo>
                      <a:pt x="125475" y="-1930"/>
                      <a:pt x="136849" y="-1930"/>
                      <a:pt x="145602" y="3923"/>
                    </a:cubicBezTo>
                    <a:lnTo>
                      <a:pt x="251533" y="74619"/>
                    </a:lnTo>
                    <a:cubicBezTo>
                      <a:pt x="258782" y="79414"/>
                      <a:pt x="263130" y="87554"/>
                      <a:pt x="263130" y="96251"/>
                    </a:cubicBezTo>
                    <a:lnTo>
                      <a:pt x="263130" y="110357"/>
                    </a:lnTo>
                    <a:cubicBezTo>
                      <a:pt x="263130" y="114984"/>
                      <a:pt x="259395" y="118720"/>
                      <a:pt x="254767" y="118720"/>
                    </a:cubicBezTo>
                    <a:cubicBezTo>
                      <a:pt x="250139" y="118720"/>
                      <a:pt x="246404" y="114984"/>
                      <a:pt x="246404" y="110357"/>
                    </a:cubicBezTo>
                    <a:lnTo>
                      <a:pt x="246404" y="96251"/>
                    </a:lnTo>
                    <a:cubicBezTo>
                      <a:pt x="246404" y="93129"/>
                      <a:pt x="244843" y="90230"/>
                      <a:pt x="242278" y="88502"/>
                    </a:cubicBezTo>
                    <a:lnTo>
                      <a:pt x="136347" y="17806"/>
                    </a:lnTo>
                    <a:cubicBezTo>
                      <a:pt x="133169" y="15743"/>
                      <a:pt x="129155" y="15743"/>
                      <a:pt x="125977" y="17806"/>
                    </a:cubicBezTo>
                    <a:lnTo>
                      <a:pt x="20045" y="88502"/>
                    </a:lnTo>
                    <a:cubicBezTo>
                      <a:pt x="17481" y="90230"/>
                      <a:pt x="15919" y="93129"/>
                      <a:pt x="15919" y="96251"/>
                    </a:cubicBezTo>
                    <a:lnTo>
                      <a:pt x="15919" y="202183"/>
                    </a:lnTo>
                    <a:cubicBezTo>
                      <a:pt x="15919" y="205305"/>
                      <a:pt x="17481" y="208204"/>
                      <a:pt x="20045" y="209933"/>
                    </a:cubicBezTo>
                    <a:lnTo>
                      <a:pt x="125977" y="280628"/>
                    </a:lnTo>
                    <a:cubicBezTo>
                      <a:pt x="129099" y="282635"/>
                      <a:pt x="133169" y="282635"/>
                      <a:pt x="136291" y="280628"/>
                    </a:cubicBezTo>
                    <a:lnTo>
                      <a:pt x="188421" y="245893"/>
                    </a:lnTo>
                    <a:cubicBezTo>
                      <a:pt x="192323" y="243441"/>
                      <a:pt x="197509" y="244667"/>
                      <a:pt x="199961" y="248569"/>
                    </a:cubicBezTo>
                    <a:cubicBezTo>
                      <a:pt x="202248" y="252305"/>
                      <a:pt x="201299" y="257211"/>
                      <a:pt x="197731" y="259776"/>
                    </a:cubicBezTo>
                    <a:lnTo>
                      <a:pt x="145602" y="294510"/>
                    </a:lnTo>
                    <a:cubicBezTo>
                      <a:pt x="141309" y="297409"/>
                      <a:pt x="136291" y="298915"/>
                      <a:pt x="131162" y="298915"/>
                    </a:cubicBezTo>
                    <a:close/>
                    <a:moveTo>
                      <a:pt x="131162" y="228220"/>
                    </a:moveTo>
                    <a:cubicBezTo>
                      <a:pt x="87507" y="228220"/>
                      <a:pt x="52103" y="192816"/>
                      <a:pt x="52103" y="149161"/>
                    </a:cubicBezTo>
                    <a:cubicBezTo>
                      <a:pt x="52103" y="105507"/>
                      <a:pt x="87507" y="70103"/>
                      <a:pt x="131162" y="70103"/>
                    </a:cubicBezTo>
                    <a:cubicBezTo>
                      <a:pt x="155526" y="70103"/>
                      <a:pt x="178552" y="81365"/>
                      <a:pt x="193550" y="100600"/>
                    </a:cubicBezTo>
                    <a:cubicBezTo>
                      <a:pt x="196505" y="104169"/>
                      <a:pt x="196003" y="109409"/>
                      <a:pt x="192491" y="112364"/>
                    </a:cubicBezTo>
                    <a:cubicBezTo>
                      <a:pt x="188922" y="115319"/>
                      <a:pt x="183626" y="114873"/>
                      <a:pt x="180671" y="111305"/>
                    </a:cubicBezTo>
                    <a:cubicBezTo>
                      <a:pt x="180615" y="111193"/>
                      <a:pt x="180504" y="111026"/>
                      <a:pt x="180392" y="110915"/>
                    </a:cubicBezTo>
                    <a:cubicBezTo>
                      <a:pt x="159373" y="83651"/>
                      <a:pt x="120234" y="78522"/>
                      <a:pt x="92971" y="99541"/>
                    </a:cubicBezTo>
                    <a:cubicBezTo>
                      <a:pt x="65707" y="120560"/>
                      <a:pt x="60634" y="159699"/>
                      <a:pt x="81597" y="186962"/>
                    </a:cubicBezTo>
                    <a:cubicBezTo>
                      <a:pt x="93417" y="202350"/>
                      <a:pt x="111760" y="211327"/>
                      <a:pt x="131162" y="211271"/>
                    </a:cubicBezTo>
                    <a:cubicBezTo>
                      <a:pt x="135789" y="211271"/>
                      <a:pt x="139525" y="215006"/>
                      <a:pt x="139525" y="219634"/>
                    </a:cubicBezTo>
                    <a:cubicBezTo>
                      <a:pt x="139525" y="224261"/>
                      <a:pt x="135789" y="227997"/>
                      <a:pt x="131162" y="227997"/>
                    </a:cubicBezTo>
                    <a:close/>
                  </a:path>
                </a:pathLst>
              </a:custGeom>
              <a:solidFill>
                <a:srgbClr val="30373B"/>
              </a:solidFill>
              <a:ln w="5573" cap="flat">
                <a:noFill/>
                <a:prstDash val="solid"/>
                <a:miter/>
              </a:ln>
            </p:spPr>
            <p:txBody>
              <a:bodyPr rtlCol="0" anchor="ctr"/>
              <a:lstStyle/>
              <a:p>
                <a:endParaRPr lang="en-GB"/>
              </a:p>
            </p:txBody>
          </p:sp>
          <p:sp>
            <p:nvSpPr>
              <p:cNvPr id="193" name="Graphic 6">
                <a:extLst>
                  <a:ext uri="{FF2B5EF4-FFF2-40B4-BE49-F238E27FC236}">
                    <a16:creationId xmlns:a16="http://schemas.microsoft.com/office/drawing/2014/main" id="{2733E233-A2C1-48A4-E495-C03DDFC73288}"/>
                  </a:ext>
                </a:extLst>
              </p:cNvPr>
              <p:cNvSpPr/>
              <p:nvPr/>
            </p:nvSpPr>
            <p:spPr>
              <a:xfrm>
                <a:off x="6751284" y="5426504"/>
                <a:ext cx="263881" cy="299395"/>
              </a:xfrm>
              <a:custGeom>
                <a:avLst/>
                <a:gdLst>
                  <a:gd name="connsiteX0" fmla="*/ 131162 w 263881"/>
                  <a:gd name="connsiteY0" fmla="*/ 298929 h 299395"/>
                  <a:gd name="connsiteX1" fmla="*/ 116722 w 263881"/>
                  <a:gd name="connsiteY1" fmla="*/ 294580 h 299395"/>
                  <a:gd name="connsiteX2" fmla="*/ 10791 w 263881"/>
                  <a:gd name="connsiteY2" fmla="*/ 223885 h 299395"/>
                  <a:gd name="connsiteX3" fmla="*/ -807 w 263881"/>
                  <a:gd name="connsiteY3" fmla="*/ 202197 h 299395"/>
                  <a:gd name="connsiteX4" fmla="*/ -807 w 263881"/>
                  <a:gd name="connsiteY4" fmla="*/ 96265 h 299395"/>
                  <a:gd name="connsiteX5" fmla="*/ 10791 w 263881"/>
                  <a:gd name="connsiteY5" fmla="*/ 74577 h 299395"/>
                  <a:gd name="connsiteX6" fmla="*/ 116722 w 263881"/>
                  <a:gd name="connsiteY6" fmla="*/ 3882 h 299395"/>
                  <a:gd name="connsiteX7" fmla="*/ 145602 w 263881"/>
                  <a:gd name="connsiteY7" fmla="*/ 3882 h 299395"/>
                  <a:gd name="connsiteX8" fmla="*/ 251533 w 263881"/>
                  <a:gd name="connsiteY8" fmla="*/ 74577 h 299395"/>
                  <a:gd name="connsiteX9" fmla="*/ 263075 w 263881"/>
                  <a:gd name="connsiteY9" fmla="*/ 96265 h 299395"/>
                  <a:gd name="connsiteX10" fmla="*/ 263075 w 263881"/>
                  <a:gd name="connsiteY10" fmla="*/ 202197 h 299395"/>
                  <a:gd name="connsiteX11" fmla="*/ 251533 w 263881"/>
                  <a:gd name="connsiteY11" fmla="*/ 223885 h 299395"/>
                  <a:gd name="connsiteX12" fmla="*/ 145602 w 263881"/>
                  <a:gd name="connsiteY12" fmla="*/ 294580 h 299395"/>
                  <a:gd name="connsiteX13" fmla="*/ 131162 w 263881"/>
                  <a:gd name="connsiteY13" fmla="*/ 298929 h 299395"/>
                  <a:gd name="connsiteX14" fmla="*/ 131162 w 263881"/>
                  <a:gd name="connsiteY14" fmla="*/ 16148 h 299395"/>
                  <a:gd name="connsiteX15" fmla="*/ 125977 w 263881"/>
                  <a:gd name="connsiteY15" fmla="*/ 17709 h 299395"/>
                  <a:gd name="connsiteX16" fmla="*/ 20045 w 263881"/>
                  <a:gd name="connsiteY16" fmla="*/ 88404 h 299395"/>
                  <a:gd name="connsiteX17" fmla="*/ 15864 w 263881"/>
                  <a:gd name="connsiteY17" fmla="*/ 96154 h 299395"/>
                  <a:gd name="connsiteX18" fmla="*/ 15864 w 263881"/>
                  <a:gd name="connsiteY18" fmla="*/ 202085 h 299395"/>
                  <a:gd name="connsiteX19" fmla="*/ 20045 w 263881"/>
                  <a:gd name="connsiteY19" fmla="*/ 209835 h 299395"/>
                  <a:gd name="connsiteX20" fmla="*/ 125977 w 263881"/>
                  <a:gd name="connsiteY20" fmla="*/ 280530 h 299395"/>
                  <a:gd name="connsiteX21" fmla="*/ 136347 w 263881"/>
                  <a:gd name="connsiteY21" fmla="*/ 280530 h 299395"/>
                  <a:gd name="connsiteX22" fmla="*/ 242278 w 263881"/>
                  <a:gd name="connsiteY22" fmla="*/ 209835 h 299395"/>
                  <a:gd name="connsiteX23" fmla="*/ 246404 w 263881"/>
                  <a:gd name="connsiteY23" fmla="*/ 202085 h 299395"/>
                  <a:gd name="connsiteX24" fmla="*/ 246404 w 263881"/>
                  <a:gd name="connsiteY24" fmla="*/ 96154 h 299395"/>
                  <a:gd name="connsiteX25" fmla="*/ 242278 w 263881"/>
                  <a:gd name="connsiteY25" fmla="*/ 88404 h 299395"/>
                  <a:gd name="connsiteX26" fmla="*/ 136347 w 263881"/>
                  <a:gd name="connsiteY26" fmla="*/ 17709 h 299395"/>
                  <a:gd name="connsiteX27" fmla="*/ 131162 w 263881"/>
                  <a:gd name="connsiteY27" fmla="*/ 16148 h 299395"/>
                  <a:gd name="connsiteX28" fmla="*/ 131162 w 263881"/>
                  <a:gd name="connsiteY28" fmla="*/ 228011 h 299395"/>
                  <a:gd name="connsiteX29" fmla="*/ 52103 w 263881"/>
                  <a:gd name="connsiteY29" fmla="*/ 148952 h 299395"/>
                  <a:gd name="connsiteX30" fmla="*/ 131162 w 263881"/>
                  <a:gd name="connsiteY30" fmla="*/ 69894 h 299395"/>
                  <a:gd name="connsiteX31" fmla="*/ 210220 w 263881"/>
                  <a:gd name="connsiteY31" fmla="*/ 148952 h 299395"/>
                  <a:gd name="connsiteX32" fmla="*/ 201857 w 263881"/>
                  <a:gd name="connsiteY32" fmla="*/ 157315 h 299395"/>
                  <a:gd name="connsiteX33" fmla="*/ 193494 w 263881"/>
                  <a:gd name="connsiteY33" fmla="*/ 148952 h 299395"/>
                  <a:gd name="connsiteX34" fmla="*/ 131162 w 263881"/>
                  <a:gd name="connsiteY34" fmla="*/ 86620 h 299395"/>
                  <a:gd name="connsiteX35" fmla="*/ 68829 w 263881"/>
                  <a:gd name="connsiteY35" fmla="*/ 148952 h 299395"/>
                  <a:gd name="connsiteX36" fmla="*/ 131162 w 263881"/>
                  <a:gd name="connsiteY36" fmla="*/ 211285 h 299395"/>
                  <a:gd name="connsiteX37" fmla="*/ 139525 w 263881"/>
                  <a:gd name="connsiteY37" fmla="*/ 219648 h 299395"/>
                  <a:gd name="connsiteX38" fmla="*/ 131162 w 263881"/>
                  <a:gd name="connsiteY38" fmla="*/ 228011 h 29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3881" h="299395">
                    <a:moveTo>
                      <a:pt x="131162" y="298929"/>
                    </a:moveTo>
                    <a:cubicBezTo>
                      <a:pt x="126032" y="298929"/>
                      <a:pt x="121014" y="297423"/>
                      <a:pt x="116722" y="294580"/>
                    </a:cubicBezTo>
                    <a:lnTo>
                      <a:pt x="10791" y="223885"/>
                    </a:lnTo>
                    <a:cubicBezTo>
                      <a:pt x="3542" y="219034"/>
                      <a:pt x="-807" y="210895"/>
                      <a:pt x="-807" y="202197"/>
                    </a:cubicBezTo>
                    <a:lnTo>
                      <a:pt x="-807" y="96265"/>
                    </a:lnTo>
                    <a:cubicBezTo>
                      <a:pt x="-807" y="87567"/>
                      <a:pt x="3542" y="79428"/>
                      <a:pt x="10791" y="74577"/>
                    </a:cubicBezTo>
                    <a:lnTo>
                      <a:pt x="116722" y="3882"/>
                    </a:lnTo>
                    <a:cubicBezTo>
                      <a:pt x="125475" y="-1916"/>
                      <a:pt x="136849" y="-1916"/>
                      <a:pt x="145602" y="3882"/>
                    </a:cubicBezTo>
                    <a:lnTo>
                      <a:pt x="251533" y="74577"/>
                    </a:lnTo>
                    <a:cubicBezTo>
                      <a:pt x="258782" y="79428"/>
                      <a:pt x="263130" y="87567"/>
                      <a:pt x="263075" y="96265"/>
                    </a:cubicBezTo>
                    <a:lnTo>
                      <a:pt x="263075" y="202197"/>
                    </a:lnTo>
                    <a:cubicBezTo>
                      <a:pt x="263075" y="210895"/>
                      <a:pt x="258782" y="219034"/>
                      <a:pt x="251533" y="223885"/>
                    </a:cubicBezTo>
                    <a:lnTo>
                      <a:pt x="145602" y="294580"/>
                    </a:lnTo>
                    <a:cubicBezTo>
                      <a:pt x="141309" y="297423"/>
                      <a:pt x="136291" y="298929"/>
                      <a:pt x="131162" y="298929"/>
                    </a:cubicBezTo>
                    <a:close/>
                    <a:moveTo>
                      <a:pt x="131162" y="16148"/>
                    </a:moveTo>
                    <a:cubicBezTo>
                      <a:pt x="129322" y="16148"/>
                      <a:pt x="127538" y="16705"/>
                      <a:pt x="125977" y="17709"/>
                    </a:cubicBezTo>
                    <a:lnTo>
                      <a:pt x="20045" y="88404"/>
                    </a:lnTo>
                    <a:cubicBezTo>
                      <a:pt x="17425" y="90132"/>
                      <a:pt x="15864" y="93032"/>
                      <a:pt x="15864" y="96154"/>
                    </a:cubicBezTo>
                    <a:lnTo>
                      <a:pt x="15864" y="202085"/>
                    </a:lnTo>
                    <a:cubicBezTo>
                      <a:pt x="15864" y="205208"/>
                      <a:pt x="17425" y="208107"/>
                      <a:pt x="20045" y="209835"/>
                    </a:cubicBezTo>
                    <a:lnTo>
                      <a:pt x="125977" y="280530"/>
                    </a:lnTo>
                    <a:cubicBezTo>
                      <a:pt x="129155" y="282593"/>
                      <a:pt x="133169" y="282593"/>
                      <a:pt x="136347" y="280530"/>
                    </a:cubicBezTo>
                    <a:lnTo>
                      <a:pt x="242278" y="209835"/>
                    </a:lnTo>
                    <a:cubicBezTo>
                      <a:pt x="244843" y="208107"/>
                      <a:pt x="246404" y="205208"/>
                      <a:pt x="246404" y="202085"/>
                    </a:cubicBezTo>
                    <a:lnTo>
                      <a:pt x="246404" y="96154"/>
                    </a:lnTo>
                    <a:cubicBezTo>
                      <a:pt x="246404" y="93032"/>
                      <a:pt x="244899" y="90132"/>
                      <a:pt x="242278" y="88404"/>
                    </a:cubicBezTo>
                    <a:lnTo>
                      <a:pt x="136347" y="17709"/>
                    </a:lnTo>
                    <a:cubicBezTo>
                      <a:pt x="134842" y="16649"/>
                      <a:pt x="133002" y="16148"/>
                      <a:pt x="131162" y="16148"/>
                    </a:cubicBezTo>
                    <a:close/>
                    <a:moveTo>
                      <a:pt x="131162" y="228011"/>
                    </a:moveTo>
                    <a:cubicBezTo>
                      <a:pt x="87507" y="228011"/>
                      <a:pt x="52103" y="192607"/>
                      <a:pt x="52103" y="148952"/>
                    </a:cubicBezTo>
                    <a:cubicBezTo>
                      <a:pt x="52103" y="105297"/>
                      <a:pt x="87507" y="69894"/>
                      <a:pt x="131162" y="69894"/>
                    </a:cubicBezTo>
                    <a:cubicBezTo>
                      <a:pt x="174817" y="69894"/>
                      <a:pt x="210220" y="105297"/>
                      <a:pt x="210220" y="148952"/>
                    </a:cubicBezTo>
                    <a:cubicBezTo>
                      <a:pt x="210220" y="153580"/>
                      <a:pt x="206485" y="157315"/>
                      <a:pt x="201857" y="157315"/>
                    </a:cubicBezTo>
                    <a:cubicBezTo>
                      <a:pt x="197230" y="157315"/>
                      <a:pt x="193494" y="153580"/>
                      <a:pt x="193494" y="148952"/>
                    </a:cubicBezTo>
                    <a:cubicBezTo>
                      <a:pt x="193494" y="114552"/>
                      <a:pt x="165561" y="86620"/>
                      <a:pt x="131162" y="86620"/>
                    </a:cubicBezTo>
                    <a:cubicBezTo>
                      <a:pt x="96762" y="86620"/>
                      <a:pt x="68829" y="114552"/>
                      <a:pt x="68829" y="148952"/>
                    </a:cubicBezTo>
                    <a:cubicBezTo>
                      <a:pt x="68829" y="183352"/>
                      <a:pt x="96762" y="211285"/>
                      <a:pt x="131162" y="211285"/>
                    </a:cubicBezTo>
                    <a:cubicBezTo>
                      <a:pt x="135789" y="211285"/>
                      <a:pt x="139525" y="215020"/>
                      <a:pt x="139525" y="219648"/>
                    </a:cubicBezTo>
                    <a:cubicBezTo>
                      <a:pt x="139525" y="224275"/>
                      <a:pt x="135789" y="228011"/>
                      <a:pt x="131162" y="228011"/>
                    </a:cubicBezTo>
                    <a:close/>
                  </a:path>
                </a:pathLst>
              </a:custGeom>
              <a:solidFill>
                <a:srgbClr val="30373B"/>
              </a:solidFill>
              <a:ln w="5573" cap="flat">
                <a:noFill/>
                <a:prstDash val="solid"/>
                <a:miter/>
              </a:ln>
            </p:spPr>
            <p:txBody>
              <a:bodyPr rtlCol="0" anchor="ctr"/>
              <a:lstStyle/>
              <a:p>
                <a:endParaRPr lang="en-GB"/>
              </a:p>
            </p:txBody>
          </p:sp>
          <p:sp>
            <p:nvSpPr>
              <p:cNvPr id="194" name="Graphic 6">
                <a:extLst>
                  <a:ext uri="{FF2B5EF4-FFF2-40B4-BE49-F238E27FC236}">
                    <a16:creationId xmlns:a16="http://schemas.microsoft.com/office/drawing/2014/main" id="{E3FA16A8-6D7B-B770-AE59-189F3A97C723}"/>
                  </a:ext>
                </a:extLst>
              </p:cNvPr>
              <p:cNvSpPr/>
              <p:nvPr/>
            </p:nvSpPr>
            <p:spPr>
              <a:xfrm>
                <a:off x="8979495" y="5504580"/>
                <a:ext cx="519341" cy="311473"/>
              </a:xfrm>
              <a:custGeom>
                <a:avLst/>
                <a:gdLst>
                  <a:gd name="connsiteX0" fmla="*/ 439452 w 519341"/>
                  <a:gd name="connsiteY0" fmla="*/ 310895 h 311473"/>
                  <a:gd name="connsiteX1" fmla="*/ 429026 w 519341"/>
                  <a:gd name="connsiteY1" fmla="*/ 309891 h 311473"/>
                  <a:gd name="connsiteX2" fmla="*/ 172059 w 519341"/>
                  <a:gd name="connsiteY2" fmla="*/ 260773 h 311473"/>
                  <a:gd name="connsiteX3" fmla="*/ 137102 w 519341"/>
                  <a:gd name="connsiteY3" fmla="*/ 237802 h 311473"/>
                  <a:gd name="connsiteX4" fmla="*/ 115804 w 519341"/>
                  <a:gd name="connsiteY4" fmla="*/ 206469 h 311473"/>
                  <a:gd name="connsiteX5" fmla="*/ 84471 w 519341"/>
                  <a:gd name="connsiteY5" fmla="*/ 227766 h 311473"/>
                  <a:gd name="connsiteX6" fmla="*/ 23755 w 519341"/>
                  <a:gd name="connsiteY6" fmla="*/ 228213 h 311473"/>
                  <a:gd name="connsiteX7" fmla="*/ 23755 w 519341"/>
                  <a:gd name="connsiteY7" fmla="*/ 228213 h 311473"/>
                  <a:gd name="connsiteX8" fmla="*/ 116 w 519341"/>
                  <a:gd name="connsiteY8" fmla="*/ 172459 h 311473"/>
                  <a:gd name="connsiteX9" fmla="*/ 24703 w 519341"/>
                  <a:gd name="connsiteY9" fmla="*/ 43947 h 311473"/>
                  <a:gd name="connsiteX10" fmla="*/ 47673 w 519341"/>
                  <a:gd name="connsiteY10" fmla="*/ 8990 h 311473"/>
                  <a:gd name="connsiteX11" fmla="*/ 67298 w 519341"/>
                  <a:gd name="connsiteY11" fmla="*/ 683 h 311473"/>
                  <a:gd name="connsiteX12" fmla="*/ 123498 w 519341"/>
                  <a:gd name="connsiteY12" fmla="*/ 23486 h 311473"/>
                  <a:gd name="connsiteX13" fmla="*/ 144796 w 519341"/>
                  <a:gd name="connsiteY13" fmla="*/ 54875 h 311473"/>
                  <a:gd name="connsiteX14" fmla="*/ 176185 w 519341"/>
                  <a:gd name="connsiteY14" fmla="*/ 33577 h 311473"/>
                  <a:gd name="connsiteX15" fmla="*/ 217108 w 519341"/>
                  <a:gd name="connsiteY15" fmla="*/ 25103 h 311473"/>
                  <a:gd name="connsiteX16" fmla="*/ 474131 w 519341"/>
                  <a:gd name="connsiteY16" fmla="*/ 74278 h 311473"/>
                  <a:gd name="connsiteX17" fmla="*/ 517563 w 519341"/>
                  <a:gd name="connsiteY17" fmla="*/ 138171 h 311473"/>
                  <a:gd name="connsiteX18" fmla="*/ 492975 w 519341"/>
                  <a:gd name="connsiteY18" fmla="*/ 266404 h 311473"/>
                  <a:gd name="connsiteX19" fmla="*/ 439452 w 519341"/>
                  <a:gd name="connsiteY19" fmla="*/ 311006 h 311473"/>
                  <a:gd name="connsiteX20" fmla="*/ 118313 w 519341"/>
                  <a:gd name="connsiteY20" fmla="*/ 186398 h 311473"/>
                  <a:gd name="connsiteX21" fmla="*/ 119874 w 519341"/>
                  <a:gd name="connsiteY21" fmla="*/ 186398 h 311473"/>
                  <a:gd name="connsiteX22" fmla="*/ 125449 w 519341"/>
                  <a:gd name="connsiteY22" fmla="*/ 189910 h 311473"/>
                  <a:gd name="connsiteX23" fmla="*/ 151430 w 519341"/>
                  <a:gd name="connsiteY23" fmla="*/ 228213 h 311473"/>
                  <a:gd name="connsiteX24" fmla="*/ 175683 w 519341"/>
                  <a:gd name="connsiteY24" fmla="*/ 244158 h 311473"/>
                  <a:gd name="connsiteX25" fmla="*/ 432706 w 519341"/>
                  <a:gd name="connsiteY25" fmla="*/ 293277 h 311473"/>
                  <a:gd name="connsiteX26" fmla="*/ 477253 w 519341"/>
                  <a:gd name="connsiteY26" fmla="*/ 263337 h 311473"/>
                  <a:gd name="connsiteX27" fmla="*/ 477309 w 519341"/>
                  <a:gd name="connsiteY27" fmla="*/ 263170 h 311473"/>
                  <a:gd name="connsiteX28" fmla="*/ 501896 w 519341"/>
                  <a:gd name="connsiteY28" fmla="*/ 134937 h 311473"/>
                  <a:gd name="connsiteX29" fmla="*/ 472068 w 519341"/>
                  <a:gd name="connsiteY29" fmla="*/ 90390 h 311473"/>
                  <a:gd name="connsiteX30" fmla="*/ 471789 w 519341"/>
                  <a:gd name="connsiteY30" fmla="*/ 90334 h 311473"/>
                  <a:gd name="connsiteX31" fmla="*/ 214766 w 519341"/>
                  <a:gd name="connsiteY31" fmla="*/ 41216 h 311473"/>
                  <a:gd name="connsiteX32" fmla="*/ 186332 w 519341"/>
                  <a:gd name="connsiteY32" fmla="*/ 46791 h 311473"/>
                  <a:gd name="connsiteX33" fmla="*/ 148085 w 519341"/>
                  <a:gd name="connsiteY33" fmla="*/ 72772 h 311473"/>
                  <a:gd name="connsiteX34" fmla="*/ 136433 w 519341"/>
                  <a:gd name="connsiteY34" fmla="*/ 70598 h 311473"/>
                  <a:gd name="connsiteX35" fmla="*/ 110451 w 519341"/>
                  <a:gd name="connsiteY35" fmla="*/ 32239 h 311473"/>
                  <a:gd name="connsiteX36" fmla="*/ 57765 w 519341"/>
                  <a:gd name="connsiteY36" fmla="*/ 22259 h 311473"/>
                  <a:gd name="connsiteX37" fmla="*/ 41875 w 519341"/>
                  <a:gd name="connsiteY37" fmla="*/ 46456 h 311473"/>
                  <a:gd name="connsiteX38" fmla="*/ 17343 w 519341"/>
                  <a:gd name="connsiteY38" fmla="*/ 174689 h 311473"/>
                  <a:gd name="connsiteX39" fmla="*/ 33735 w 519341"/>
                  <a:gd name="connsiteY39" fmla="*/ 213716 h 311473"/>
                  <a:gd name="connsiteX40" fmla="*/ 33735 w 519341"/>
                  <a:gd name="connsiteY40" fmla="*/ 213716 h 311473"/>
                  <a:gd name="connsiteX41" fmla="*/ 75829 w 519341"/>
                  <a:gd name="connsiteY41" fmla="*/ 213382 h 311473"/>
                  <a:gd name="connsiteX42" fmla="*/ 114131 w 519341"/>
                  <a:gd name="connsiteY42" fmla="*/ 187401 h 311473"/>
                  <a:gd name="connsiteX43" fmla="*/ 118313 w 519341"/>
                  <a:gd name="connsiteY43" fmla="*/ 186398 h 31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9341" h="311473">
                    <a:moveTo>
                      <a:pt x="439452" y="310895"/>
                    </a:moveTo>
                    <a:cubicBezTo>
                      <a:pt x="435940" y="310895"/>
                      <a:pt x="432483" y="310560"/>
                      <a:pt x="429026" y="309891"/>
                    </a:cubicBezTo>
                    <a:lnTo>
                      <a:pt x="172059" y="260773"/>
                    </a:lnTo>
                    <a:cubicBezTo>
                      <a:pt x="157786" y="258096"/>
                      <a:pt x="145186" y="249845"/>
                      <a:pt x="137102" y="237802"/>
                    </a:cubicBezTo>
                    <a:lnTo>
                      <a:pt x="115804" y="206469"/>
                    </a:lnTo>
                    <a:lnTo>
                      <a:pt x="84471" y="227766"/>
                    </a:lnTo>
                    <a:cubicBezTo>
                      <a:pt x="66183" y="240199"/>
                      <a:pt x="42209" y="240367"/>
                      <a:pt x="23755" y="228213"/>
                    </a:cubicBezTo>
                    <a:lnTo>
                      <a:pt x="23755" y="228213"/>
                    </a:lnTo>
                    <a:cubicBezTo>
                      <a:pt x="5412" y="216058"/>
                      <a:pt x="-3899" y="194092"/>
                      <a:pt x="116" y="172459"/>
                    </a:cubicBezTo>
                    <a:lnTo>
                      <a:pt x="24703" y="43947"/>
                    </a:lnTo>
                    <a:cubicBezTo>
                      <a:pt x="27379" y="29675"/>
                      <a:pt x="35631" y="17075"/>
                      <a:pt x="47673" y="8990"/>
                    </a:cubicBezTo>
                    <a:cubicBezTo>
                      <a:pt x="53639" y="4976"/>
                      <a:pt x="60273" y="2132"/>
                      <a:pt x="67298" y="683"/>
                    </a:cubicBezTo>
                    <a:cubicBezTo>
                      <a:pt x="88931" y="-3833"/>
                      <a:pt x="111120" y="5199"/>
                      <a:pt x="123498" y="23486"/>
                    </a:cubicBezTo>
                    <a:lnTo>
                      <a:pt x="144796" y="54875"/>
                    </a:lnTo>
                    <a:lnTo>
                      <a:pt x="176185" y="33577"/>
                    </a:lnTo>
                    <a:cubicBezTo>
                      <a:pt x="188172" y="25493"/>
                      <a:pt x="202891" y="22427"/>
                      <a:pt x="217108" y="25103"/>
                    </a:cubicBezTo>
                    <a:lnTo>
                      <a:pt x="474131" y="74278"/>
                    </a:lnTo>
                    <a:cubicBezTo>
                      <a:pt x="503792" y="79908"/>
                      <a:pt x="523194" y="108510"/>
                      <a:pt x="517563" y="138171"/>
                    </a:cubicBezTo>
                    <a:lnTo>
                      <a:pt x="492975" y="266404"/>
                    </a:lnTo>
                    <a:cubicBezTo>
                      <a:pt x="488125" y="292162"/>
                      <a:pt x="465657" y="310895"/>
                      <a:pt x="439452" y="311006"/>
                    </a:cubicBezTo>
                    <a:close/>
                    <a:moveTo>
                      <a:pt x="118313" y="186398"/>
                    </a:moveTo>
                    <a:cubicBezTo>
                      <a:pt x="118814" y="186342"/>
                      <a:pt x="119372" y="186342"/>
                      <a:pt x="119874" y="186398"/>
                    </a:cubicBezTo>
                    <a:cubicBezTo>
                      <a:pt x="122159" y="186788"/>
                      <a:pt x="124167" y="188014"/>
                      <a:pt x="125449" y="189910"/>
                    </a:cubicBezTo>
                    <a:lnTo>
                      <a:pt x="151430" y="228213"/>
                    </a:lnTo>
                    <a:cubicBezTo>
                      <a:pt x="157061" y="236520"/>
                      <a:pt x="165815" y="242262"/>
                      <a:pt x="175683" y="244158"/>
                    </a:cubicBezTo>
                    <a:lnTo>
                      <a:pt x="432706" y="293277"/>
                    </a:lnTo>
                    <a:cubicBezTo>
                      <a:pt x="453279" y="297291"/>
                      <a:pt x="473239" y="283910"/>
                      <a:pt x="477253" y="263337"/>
                    </a:cubicBezTo>
                    <a:cubicBezTo>
                      <a:pt x="477309" y="263281"/>
                      <a:pt x="477309" y="263225"/>
                      <a:pt x="477309" y="263170"/>
                    </a:cubicBezTo>
                    <a:lnTo>
                      <a:pt x="501896" y="134937"/>
                    </a:lnTo>
                    <a:cubicBezTo>
                      <a:pt x="505966" y="114420"/>
                      <a:pt x="492585" y="94460"/>
                      <a:pt x="472068" y="90390"/>
                    </a:cubicBezTo>
                    <a:cubicBezTo>
                      <a:pt x="471957" y="90390"/>
                      <a:pt x="471901" y="90334"/>
                      <a:pt x="471789" y="90334"/>
                    </a:cubicBezTo>
                    <a:lnTo>
                      <a:pt x="214766" y="41216"/>
                    </a:lnTo>
                    <a:cubicBezTo>
                      <a:pt x="204898" y="39264"/>
                      <a:pt x="194695" y="41271"/>
                      <a:pt x="186332" y="46791"/>
                    </a:cubicBezTo>
                    <a:lnTo>
                      <a:pt x="148085" y="72772"/>
                    </a:lnTo>
                    <a:cubicBezTo>
                      <a:pt x="144238" y="75392"/>
                      <a:pt x="139053" y="74389"/>
                      <a:pt x="136433" y="70598"/>
                    </a:cubicBezTo>
                    <a:lnTo>
                      <a:pt x="110451" y="32239"/>
                    </a:lnTo>
                    <a:cubicBezTo>
                      <a:pt x="98687" y="14956"/>
                      <a:pt x="75104" y="10440"/>
                      <a:pt x="57765" y="22259"/>
                    </a:cubicBezTo>
                    <a:cubicBezTo>
                      <a:pt x="49457" y="27890"/>
                      <a:pt x="43770" y="36588"/>
                      <a:pt x="41875" y="46456"/>
                    </a:cubicBezTo>
                    <a:lnTo>
                      <a:pt x="17343" y="174689"/>
                    </a:lnTo>
                    <a:cubicBezTo>
                      <a:pt x="14332" y="189799"/>
                      <a:pt x="20856" y="205242"/>
                      <a:pt x="33735" y="213716"/>
                    </a:cubicBezTo>
                    <a:lnTo>
                      <a:pt x="33735" y="213716"/>
                    </a:lnTo>
                    <a:cubicBezTo>
                      <a:pt x="46558" y="222191"/>
                      <a:pt x="63173" y="222024"/>
                      <a:pt x="75829" y="213382"/>
                    </a:cubicBezTo>
                    <a:lnTo>
                      <a:pt x="114131" y="187401"/>
                    </a:lnTo>
                    <a:cubicBezTo>
                      <a:pt x="115413" y="186732"/>
                      <a:pt x="116863" y="186342"/>
                      <a:pt x="118313" y="186398"/>
                    </a:cubicBezTo>
                    <a:close/>
                  </a:path>
                </a:pathLst>
              </a:custGeom>
              <a:solidFill>
                <a:srgbClr val="30373B"/>
              </a:solidFill>
              <a:ln w="5573" cap="flat">
                <a:noFill/>
                <a:prstDash val="solid"/>
                <a:miter/>
              </a:ln>
            </p:spPr>
            <p:txBody>
              <a:bodyPr rtlCol="0" anchor="ctr"/>
              <a:lstStyle/>
              <a:p>
                <a:endParaRPr lang="en-GB"/>
              </a:p>
            </p:txBody>
          </p:sp>
          <p:sp>
            <p:nvSpPr>
              <p:cNvPr id="195" name="Graphic 6">
                <a:extLst>
                  <a:ext uri="{FF2B5EF4-FFF2-40B4-BE49-F238E27FC236}">
                    <a16:creationId xmlns:a16="http://schemas.microsoft.com/office/drawing/2014/main" id="{7D4B7714-4ADE-39DE-6256-E415C1403881}"/>
                  </a:ext>
                </a:extLst>
              </p:cNvPr>
              <p:cNvSpPr/>
              <p:nvPr/>
            </p:nvSpPr>
            <p:spPr>
              <a:xfrm>
                <a:off x="8564794" y="5486970"/>
                <a:ext cx="449772" cy="162196"/>
              </a:xfrm>
              <a:custGeom>
                <a:avLst/>
                <a:gdLst>
                  <a:gd name="connsiteX0" fmla="*/ 430316 w 449772"/>
                  <a:gd name="connsiteY0" fmla="*/ 161523 h 162196"/>
                  <a:gd name="connsiteX1" fmla="*/ 428756 w 449772"/>
                  <a:gd name="connsiteY1" fmla="*/ 161523 h 162196"/>
                  <a:gd name="connsiteX2" fmla="*/ 154839 w 449772"/>
                  <a:gd name="connsiteY2" fmla="*/ 109171 h 162196"/>
                  <a:gd name="connsiteX3" fmla="*/ 126683 w 449772"/>
                  <a:gd name="connsiteY3" fmla="*/ 128294 h 162196"/>
                  <a:gd name="connsiteX4" fmla="*/ 119491 w 449772"/>
                  <a:gd name="connsiteY4" fmla="*/ 129354 h 162196"/>
                  <a:gd name="connsiteX5" fmla="*/ 4918 w 449772"/>
                  <a:gd name="connsiteY5" fmla="*/ 93950 h 162196"/>
                  <a:gd name="connsiteX6" fmla="*/ -657 w 449772"/>
                  <a:gd name="connsiteY6" fmla="*/ 84416 h 162196"/>
                  <a:gd name="connsiteX7" fmla="*/ 14284 w 449772"/>
                  <a:gd name="connsiteY7" fmla="*/ 6361 h 162196"/>
                  <a:gd name="connsiteX8" fmla="*/ 23150 w 449772"/>
                  <a:gd name="connsiteY8" fmla="*/ -441 h 162196"/>
                  <a:gd name="connsiteX9" fmla="*/ 142684 w 449772"/>
                  <a:gd name="connsiteY9" fmla="*/ 8926 h 162196"/>
                  <a:gd name="connsiteX10" fmla="*/ 148985 w 449772"/>
                  <a:gd name="connsiteY10" fmla="*/ 12606 h 162196"/>
                  <a:gd name="connsiteX11" fmla="*/ 168053 w 449772"/>
                  <a:gd name="connsiteY11" fmla="*/ 40482 h 162196"/>
                  <a:gd name="connsiteX12" fmla="*/ 442025 w 449772"/>
                  <a:gd name="connsiteY12" fmla="*/ 92835 h 162196"/>
                  <a:gd name="connsiteX13" fmla="*/ 448827 w 449772"/>
                  <a:gd name="connsiteY13" fmla="*/ 102759 h 162196"/>
                  <a:gd name="connsiteX14" fmla="*/ 438902 w 449772"/>
                  <a:gd name="connsiteY14" fmla="*/ 109561 h 162196"/>
                  <a:gd name="connsiteX15" fmla="*/ 161529 w 449772"/>
                  <a:gd name="connsiteY15" fmla="*/ 56539 h 162196"/>
                  <a:gd name="connsiteX16" fmla="*/ 155954 w 449772"/>
                  <a:gd name="connsiteY16" fmla="*/ 53027 h 162196"/>
                  <a:gd name="connsiteX17" fmla="*/ 137165 w 449772"/>
                  <a:gd name="connsiteY17" fmla="*/ 25150 h 162196"/>
                  <a:gd name="connsiteX18" fmla="*/ 29059 w 449772"/>
                  <a:gd name="connsiteY18" fmla="*/ 16675 h 162196"/>
                  <a:gd name="connsiteX19" fmla="*/ 16960 w 449772"/>
                  <a:gd name="connsiteY19" fmla="*/ 80012 h 162196"/>
                  <a:gd name="connsiteX20" fmla="*/ 120551 w 449772"/>
                  <a:gd name="connsiteY20" fmla="*/ 112014 h 162196"/>
                  <a:gd name="connsiteX21" fmla="*/ 148427 w 449772"/>
                  <a:gd name="connsiteY21" fmla="*/ 93225 h 162196"/>
                  <a:gd name="connsiteX22" fmla="*/ 154672 w 449772"/>
                  <a:gd name="connsiteY22" fmla="*/ 91943 h 162196"/>
                  <a:gd name="connsiteX23" fmla="*/ 431989 w 449772"/>
                  <a:gd name="connsiteY23" fmla="*/ 144964 h 162196"/>
                  <a:gd name="connsiteX24" fmla="*/ 439571 w 449772"/>
                  <a:gd name="connsiteY24" fmla="*/ 154108 h 162196"/>
                  <a:gd name="connsiteX25" fmla="*/ 430428 w 449772"/>
                  <a:gd name="connsiteY25" fmla="*/ 161690 h 16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9772" h="162196">
                    <a:moveTo>
                      <a:pt x="430316" y="161523"/>
                    </a:moveTo>
                    <a:lnTo>
                      <a:pt x="428756" y="161523"/>
                    </a:lnTo>
                    <a:lnTo>
                      <a:pt x="154839" y="109171"/>
                    </a:lnTo>
                    <a:lnTo>
                      <a:pt x="126683" y="128294"/>
                    </a:lnTo>
                    <a:cubicBezTo>
                      <a:pt x="124565" y="129688"/>
                      <a:pt x="121944" y="130078"/>
                      <a:pt x="119491" y="129354"/>
                    </a:cubicBezTo>
                    <a:lnTo>
                      <a:pt x="4918" y="93950"/>
                    </a:lnTo>
                    <a:cubicBezTo>
                      <a:pt x="904" y="92612"/>
                      <a:pt x="-1438" y="88542"/>
                      <a:pt x="-657" y="84416"/>
                    </a:cubicBezTo>
                    <a:lnTo>
                      <a:pt x="14284" y="6361"/>
                    </a:lnTo>
                    <a:cubicBezTo>
                      <a:pt x="15065" y="2124"/>
                      <a:pt x="18856" y="-775"/>
                      <a:pt x="23150" y="-441"/>
                    </a:cubicBezTo>
                    <a:lnTo>
                      <a:pt x="142684" y="8926"/>
                    </a:lnTo>
                    <a:cubicBezTo>
                      <a:pt x="145249" y="9149"/>
                      <a:pt x="147535" y="10487"/>
                      <a:pt x="148985" y="12606"/>
                    </a:cubicBezTo>
                    <a:lnTo>
                      <a:pt x="168053" y="40482"/>
                    </a:lnTo>
                    <a:lnTo>
                      <a:pt x="442025" y="92835"/>
                    </a:lnTo>
                    <a:cubicBezTo>
                      <a:pt x="446652" y="93671"/>
                      <a:pt x="449663" y="98132"/>
                      <a:pt x="448827" y="102759"/>
                    </a:cubicBezTo>
                    <a:cubicBezTo>
                      <a:pt x="447990" y="107386"/>
                      <a:pt x="443530" y="110397"/>
                      <a:pt x="438902" y="109561"/>
                    </a:cubicBezTo>
                    <a:lnTo>
                      <a:pt x="161529" y="56539"/>
                    </a:lnTo>
                    <a:cubicBezTo>
                      <a:pt x="159243" y="56205"/>
                      <a:pt x="157236" y="54923"/>
                      <a:pt x="155954" y="53027"/>
                    </a:cubicBezTo>
                    <a:lnTo>
                      <a:pt x="137165" y="25150"/>
                    </a:lnTo>
                    <a:lnTo>
                      <a:pt x="29059" y="16675"/>
                    </a:lnTo>
                    <a:lnTo>
                      <a:pt x="16960" y="80012"/>
                    </a:lnTo>
                    <a:lnTo>
                      <a:pt x="120551" y="112014"/>
                    </a:lnTo>
                    <a:lnTo>
                      <a:pt x="148427" y="93225"/>
                    </a:lnTo>
                    <a:cubicBezTo>
                      <a:pt x="150267" y="91998"/>
                      <a:pt x="152497" y="91497"/>
                      <a:pt x="154672" y="91943"/>
                    </a:cubicBezTo>
                    <a:lnTo>
                      <a:pt x="431989" y="144964"/>
                    </a:lnTo>
                    <a:cubicBezTo>
                      <a:pt x="436616" y="145411"/>
                      <a:pt x="440017" y="149480"/>
                      <a:pt x="439571" y="154108"/>
                    </a:cubicBezTo>
                    <a:cubicBezTo>
                      <a:pt x="439126" y="158736"/>
                      <a:pt x="435056" y="162137"/>
                      <a:pt x="430428" y="161690"/>
                    </a:cubicBezTo>
                    <a:close/>
                  </a:path>
                </a:pathLst>
              </a:custGeom>
              <a:solidFill>
                <a:srgbClr val="30373B"/>
              </a:solidFill>
              <a:ln w="5573" cap="flat">
                <a:noFill/>
                <a:prstDash val="solid"/>
                <a:miter/>
              </a:ln>
            </p:spPr>
            <p:txBody>
              <a:bodyPr rtlCol="0" anchor="ctr"/>
              <a:lstStyle/>
              <a:p>
                <a:endParaRPr lang="en-GB"/>
              </a:p>
            </p:txBody>
          </p:sp>
          <p:sp>
            <p:nvSpPr>
              <p:cNvPr id="196" name="Graphic 6">
                <a:extLst>
                  <a:ext uri="{FF2B5EF4-FFF2-40B4-BE49-F238E27FC236}">
                    <a16:creationId xmlns:a16="http://schemas.microsoft.com/office/drawing/2014/main" id="{589F3B71-D475-BDA5-E072-5BD74CA0118D}"/>
                  </a:ext>
                </a:extLst>
              </p:cNvPr>
              <p:cNvSpPr/>
              <p:nvPr/>
            </p:nvSpPr>
            <p:spPr>
              <a:xfrm>
                <a:off x="9181135" y="5677828"/>
                <a:ext cx="294913" cy="74148"/>
              </a:xfrm>
              <a:custGeom>
                <a:avLst/>
                <a:gdLst>
                  <a:gd name="connsiteX0" fmla="*/ 284645 w 294913"/>
                  <a:gd name="connsiteY0" fmla="*/ 73474 h 74148"/>
                  <a:gd name="connsiteX1" fmla="*/ 282916 w 294913"/>
                  <a:gd name="connsiteY1" fmla="*/ 73474 h 74148"/>
                  <a:gd name="connsiteX2" fmla="*/ 5878 w 294913"/>
                  <a:gd name="connsiteY2" fmla="*/ 16104 h 74148"/>
                  <a:gd name="connsiteX3" fmla="*/ -646 w 294913"/>
                  <a:gd name="connsiteY3" fmla="*/ 6180 h 74148"/>
                  <a:gd name="connsiteX4" fmla="*/ 9279 w 294913"/>
                  <a:gd name="connsiteY4" fmla="*/ -287 h 74148"/>
                  <a:gd name="connsiteX5" fmla="*/ 286540 w 294913"/>
                  <a:gd name="connsiteY5" fmla="*/ 56916 h 74148"/>
                  <a:gd name="connsiteX6" fmla="*/ 294067 w 294913"/>
                  <a:gd name="connsiteY6" fmla="*/ 66115 h 74148"/>
                  <a:gd name="connsiteX7" fmla="*/ 284868 w 294913"/>
                  <a:gd name="connsiteY7" fmla="*/ 73642 h 7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913" h="74148">
                    <a:moveTo>
                      <a:pt x="284645" y="73474"/>
                    </a:moveTo>
                    <a:cubicBezTo>
                      <a:pt x="284087" y="73530"/>
                      <a:pt x="283474" y="73530"/>
                      <a:pt x="282916" y="73474"/>
                    </a:cubicBezTo>
                    <a:lnTo>
                      <a:pt x="5878" y="16104"/>
                    </a:lnTo>
                    <a:cubicBezTo>
                      <a:pt x="1361" y="15157"/>
                      <a:pt x="-1537" y="10752"/>
                      <a:pt x="-646" y="6180"/>
                    </a:cubicBezTo>
                    <a:cubicBezTo>
                      <a:pt x="302" y="1664"/>
                      <a:pt x="4763" y="-1235"/>
                      <a:pt x="9279" y="-287"/>
                    </a:cubicBezTo>
                    <a:lnTo>
                      <a:pt x="286540" y="56916"/>
                    </a:lnTo>
                    <a:cubicBezTo>
                      <a:pt x="291168" y="57362"/>
                      <a:pt x="294513" y="61487"/>
                      <a:pt x="294067" y="66115"/>
                    </a:cubicBezTo>
                    <a:cubicBezTo>
                      <a:pt x="293621" y="70743"/>
                      <a:pt x="289495" y="74088"/>
                      <a:pt x="284868" y="73642"/>
                    </a:cubicBezTo>
                    <a:close/>
                  </a:path>
                </a:pathLst>
              </a:custGeom>
              <a:solidFill>
                <a:srgbClr val="30373B"/>
              </a:solidFill>
              <a:ln w="5573" cap="flat">
                <a:noFill/>
                <a:prstDash val="solid"/>
                <a:miter/>
              </a:ln>
            </p:spPr>
            <p:txBody>
              <a:bodyPr rtlCol="0" anchor="ctr"/>
              <a:lstStyle/>
              <a:p>
                <a:endParaRPr lang="en-GB"/>
              </a:p>
            </p:txBody>
          </p:sp>
          <p:sp>
            <p:nvSpPr>
              <p:cNvPr id="197" name="Graphic 6">
                <a:extLst>
                  <a:ext uri="{FF2B5EF4-FFF2-40B4-BE49-F238E27FC236}">
                    <a16:creationId xmlns:a16="http://schemas.microsoft.com/office/drawing/2014/main" id="{437D16E4-E18C-3954-6515-6DCF2CFC2EC9}"/>
                  </a:ext>
                </a:extLst>
              </p:cNvPr>
              <p:cNvSpPr/>
              <p:nvPr/>
            </p:nvSpPr>
            <p:spPr>
              <a:xfrm>
                <a:off x="5515845" y="6034271"/>
                <a:ext cx="502226" cy="241970"/>
              </a:xfrm>
              <a:custGeom>
                <a:avLst/>
                <a:gdLst>
                  <a:gd name="connsiteX0" fmla="*/ 446447 w 502226"/>
                  <a:gd name="connsiteY0" fmla="*/ 241448 h 241970"/>
                  <a:gd name="connsiteX1" fmla="*/ 446057 w 502226"/>
                  <a:gd name="connsiteY1" fmla="*/ 241448 h 241970"/>
                  <a:gd name="connsiteX2" fmla="*/ 184406 w 502226"/>
                  <a:gd name="connsiteY2" fmla="*/ 240221 h 241970"/>
                  <a:gd name="connsiteX3" fmla="*/ 145881 w 502226"/>
                  <a:gd name="connsiteY3" fmla="*/ 224053 h 241970"/>
                  <a:gd name="connsiteX4" fmla="*/ 119175 w 502226"/>
                  <a:gd name="connsiteY4" fmla="*/ 197124 h 241970"/>
                  <a:gd name="connsiteX5" fmla="*/ 92246 w 502226"/>
                  <a:gd name="connsiteY5" fmla="*/ 223774 h 241970"/>
                  <a:gd name="connsiteX6" fmla="*/ 14977 w 502226"/>
                  <a:gd name="connsiteY6" fmla="*/ 223328 h 241970"/>
                  <a:gd name="connsiteX7" fmla="*/ -806 w 502226"/>
                  <a:gd name="connsiteY7" fmla="*/ 184747 h 241970"/>
                  <a:gd name="connsiteX8" fmla="*/ -193 w 502226"/>
                  <a:gd name="connsiteY8" fmla="*/ 53894 h 241970"/>
                  <a:gd name="connsiteX9" fmla="*/ 54718 w 502226"/>
                  <a:gd name="connsiteY9" fmla="*/ -466 h 241970"/>
                  <a:gd name="connsiteX10" fmla="*/ 93250 w 502226"/>
                  <a:gd name="connsiteY10" fmla="*/ 15703 h 241970"/>
                  <a:gd name="connsiteX11" fmla="*/ 119955 w 502226"/>
                  <a:gd name="connsiteY11" fmla="*/ 42687 h 241970"/>
                  <a:gd name="connsiteX12" fmla="*/ 146884 w 502226"/>
                  <a:gd name="connsiteY12" fmla="*/ 15981 h 241970"/>
                  <a:gd name="connsiteX13" fmla="*/ 185354 w 502226"/>
                  <a:gd name="connsiteY13" fmla="*/ 147 h 241970"/>
                  <a:gd name="connsiteX14" fmla="*/ 185354 w 502226"/>
                  <a:gd name="connsiteY14" fmla="*/ 147 h 241970"/>
                  <a:gd name="connsiteX15" fmla="*/ 447060 w 502226"/>
                  <a:gd name="connsiteY15" fmla="*/ 1429 h 241970"/>
                  <a:gd name="connsiteX16" fmla="*/ 501420 w 502226"/>
                  <a:gd name="connsiteY16" fmla="*/ 56346 h 241970"/>
                  <a:gd name="connsiteX17" fmla="*/ 500751 w 502226"/>
                  <a:gd name="connsiteY17" fmla="*/ 187144 h 241970"/>
                  <a:gd name="connsiteX18" fmla="*/ 446224 w 502226"/>
                  <a:gd name="connsiteY18" fmla="*/ 241504 h 241970"/>
                  <a:gd name="connsiteX19" fmla="*/ 119231 w 502226"/>
                  <a:gd name="connsiteY19" fmla="*/ 177053 h 241970"/>
                  <a:gd name="connsiteX20" fmla="*/ 119231 w 502226"/>
                  <a:gd name="connsiteY20" fmla="*/ 177053 h 241970"/>
                  <a:gd name="connsiteX21" fmla="*/ 125140 w 502226"/>
                  <a:gd name="connsiteY21" fmla="*/ 179561 h 241970"/>
                  <a:gd name="connsiteX22" fmla="*/ 157701 w 502226"/>
                  <a:gd name="connsiteY22" fmla="*/ 212400 h 241970"/>
                  <a:gd name="connsiteX23" fmla="*/ 184462 w 502226"/>
                  <a:gd name="connsiteY23" fmla="*/ 223551 h 241970"/>
                  <a:gd name="connsiteX24" fmla="*/ 446113 w 502226"/>
                  <a:gd name="connsiteY24" fmla="*/ 224778 h 241970"/>
                  <a:gd name="connsiteX25" fmla="*/ 446391 w 502226"/>
                  <a:gd name="connsiteY25" fmla="*/ 224778 h 241970"/>
                  <a:gd name="connsiteX26" fmla="*/ 484192 w 502226"/>
                  <a:gd name="connsiteY26" fmla="*/ 187089 h 241970"/>
                  <a:gd name="connsiteX27" fmla="*/ 484861 w 502226"/>
                  <a:gd name="connsiteY27" fmla="*/ 56235 h 241970"/>
                  <a:gd name="connsiteX28" fmla="*/ 447116 w 502226"/>
                  <a:gd name="connsiteY28" fmla="*/ 18155 h 241970"/>
                  <a:gd name="connsiteX29" fmla="*/ 185410 w 502226"/>
                  <a:gd name="connsiteY29" fmla="*/ 16873 h 241970"/>
                  <a:gd name="connsiteX30" fmla="*/ 158592 w 502226"/>
                  <a:gd name="connsiteY30" fmla="*/ 28024 h 241970"/>
                  <a:gd name="connsiteX31" fmla="*/ 125698 w 502226"/>
                  <a:gd name="connsiteY31" fmla="*/ 60584 h 241970"/>
                  <a:gd name="connsiteX32" fmla="*/ 113951 w 502226"/>
                  <a:gd name="connsiteY32" fmla="*/ 60640 h 241970"/>
                  <a:gd name="connsiteX33" fmla="*/ 113878 w 502226"/>
                  <a:gd name="connsiteY33" fmla="*/ 60584 h 241970"/>
                  <a:gd name="connsiteX34" fmla="*/ 81318 w 502226"/>
                  <a:gd name="connsiteY34" fmla="*/ 27689 h 241970"/>
                  <a:gd name="connsiteX35" fmla="*/ 27622 w 502226"/>
                  <a:gd name="connsiteY35" fmla="*/ 27633 h 241970"/>
                  <a:gd name="connsiteX36" fmla="*/ 16477 w 502226"/>
                  <a:gd name="connsiteY36" fmla="*/ 54172 h 241970"/>
                  <a:gd name="connsiteX37" fmla="*/ 15864 w 502226"/>
                  <a:gd name="connsiteY37" fmla="*/ 185026 h 241970"/>
                  <a:gd name="connsiteX38" fmla="*/ 15864 w 502226"/>
                  <a:gd name="connsiteY38" fmla="*/ 185026 h 241970"/>
                  <a:gd name="connsiteX39" fmla="*/ 27015 w 502226"/>
                  <a:gd name="connsiteY39" fmla="*/ 211899 h 241970"/>
                  <a:gd name="connsiteX40" fmla="*/ 39280 w 502226"/>
                  <a:gd name="connsiteY40" fmla="*/ 220150 h 241970"/>
                  <a:gd name="connsiteX41" fmla="*/ 80593 w 502226"/>
                  <a:gd name="connsiteY41" fmla="*/ 212178 h 241970"/>
                  <a:gd name="connsiteX42" fmla="*/ 113488 w 502226"/>
                  <a:gd name="connsiteY42" fmla="*/ 179617 h 241970"/>
                  <a:gd name="connsiteX43" fmla="*/ 119231 w 502226"/>
                  <a:gd name="connsiteY43" fmla="*/ 177053 h 241970"/>
                  <a:gd name="connsiteX44" fmla="*/ 7724 w 502226"/>
                  <a:gd name="connsiteY44" fmla="*/ 184858 h 241970"/>
                  <a:gd name="connsiteX45" fmla="*/ 7724 w 502226"/>
                  <a:gd name="connsiteY45" fmla="*/ 184858 h 24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02226" h="241970">
                    <a:moveTo>
                      <a:pt x="446447" y="241448"/>
                    </a:moveTo>
                    <a:lnTo>
                      <a:pt x="446057" y="241448"/>
                    </a:lnTo>
                    <a:lnTo>
                      <a:pt x="184406" y="240221"/>
                    </a:lnTo>
                    <a:cubicBezTo>
                      <a:pt x="169922" y="240165"/>
                      <a:pt x="156050" y="234367"/>
                      <a:pt x="145881" y="224053"/>
                    </a:cubicBezTo>
                    <a:lnTo>
                      <a:pt x="119175" y="197124"/>
                    </a:lnTo>
                    <a:lnTo>
                      <a:pt x="92246" y="223774"/>
                    </a:lnTo>
                    <a:cubicBezTo>
                      <a:pt x="70787" y="245016"/>
                      <a:pt x="36192" y="244793"/>
                      <a:pt x="14977" y="223328"/>
                    </a:cubicBezTo>
                    <a:cubicBezTo>
                      <a:pt x="4825" y="213069"/>
                      <a:pt x="-851" y="199187"/>
                      <a:pt x="-806" y="184747"/>
                    </a:cubicBezTo>
                    <a:lnTo>
                      <a:pt x="-193" y="53894"/>
                    </a:lnTo>
                    <a:cubicBezTo>
                      <a:pt x="-43" y="23731"/>
                      <a:pt x="24545" y="-633"/>
                      <a:pt x="54718" y="-466"/>
                    </a:cubicBezTo>
                    <a:cubicBezTo>
                      <a:pt x="69197" y="-410"/>
                      <a:pt x="83058" y="5444"/>
                      <a:pt x="93250" y="15703"/>
                    </a:cubicBezTo>
                    <a:lnTo>
                      <a:pt x="119955" y="42687"/>
                    </a:lnTo>
                    <a:lnTo>
                      <a:pt x="146884" y="15981"/>
                    </a:lnTo>
                    <a:cubicBezTo>
                      <a:pt x="157143" y="5890"/>
                      <a:pt x="170953" y="203"/>
                      <a:pt x="185354" y="147"/>
                    </a:cubicBezTo>
                    <a:lnTo>
                      <a:pt x="185354" y="147"/>
                    </a:lnTo>
                    <a:lnTo>
                      <a:pt x="447060" y="1429"/>
                    </a:lnTo>
                    <a:cubicBezTo>
                      <a:pt x="477212" y="1653"/>
                      <a:pt x="501515" y="26184"/>
                      <a:pt x="501420" y="56346"/>
                    </a:cubicBezTo>
                    <a:lnTo>
                      <a:pt x="500751" y="187144"/>
                    </a:lnTo>
                    <a:cubicBezTo>
                      <a:pt x="500601" y="217195"/>
                      <a:pt x="476248" y="241448"/>
                      <a:pt x="446224" y="241504"/>
                    </a:cubicBezTo>
                    <a:close/>
                    <a:moveTo>
                      <a:pt x="119231" y="177053"/>
                    </a:moveTo>
                    <a:lnTo>
                      <a:pt x="119231" y="177053"/>
                    </a:lnTo>
                    <a:cubicBezTo>
                      <a:pt x="121450" y="177109"/>
                      <a:pt x="123568" y="178001"/>
                      <a:pt x="125140" y="179561"/>
                    </a:cubicBezTo>
                    <a:lnTo>
                      <a:pt x="157701" y="212400"/>
                    </a:lnTo>
                    <a:cubicBezTo>
                      <a:pt x="164781" y="219537"/>
                      <a:pt x="174415" y="223551"/>
                      <a:pt x="184462" y="223551"/>
                    </a:cubicBezTo>
                    <a:lnTo>
                      <a:pt x="446113" y="224778"/>
                    </a:lnTo>
                    <a:lnTo>
                      <a:pt x="446391" y="224778"/>
                    </a:lnTo>
                    <a:cubicBezTo>
                      <a:pt x="467210" y="224722"/>
                      <a:pt x="484097" y="207884"/>
                      <a:pt x="484192" y="187089"/>
                    </a:cubicBezTo>
                    <a:lnTo>
                      <a:pt x="484861" y="56235"/>
                    </a:lnTo>
                    <a:cubicBezTo>
                      <a:pt x="484923" y="35327"/>
                      <a:pt x="468040" y="18267"/>
                      <a:pt x="447116" y="18155"/>
                    </a:cubicBezTo>
                    <a:lnTo>
                      <a:pt x="185410" y="16873"/>
                    </a:lnTo>
                    <a:cubicBezTo>
                      <a:pt x="175346" y="16929"/>
                      <a:pt x="165707" y="20887"/>
                      <a:pt x="158592" y="28024"/>
                    </a:cubicBezTo>
                    <a:lnTo>
                      <a:pt x="125698" y="60584"/>
                    </a:lnTo>
                    <a:cubicBezTo>
                      <a:pt x="122476" y="63873"/>
                      <a:pt x="117212" y="63873"/>
                      <a:pt x="113951" y="60640"/>
                    </a:cubicBezTo>
                    <a:cubicBezTo>
                      <a:pt x="113928" y="60640"/>
                      <a:pt x="113901" y="60584"/>
                      <a:pt x="113878" y="60584"/>
                    </a:cubicBezTo>
                    <a:lnTo>
                      <a:pt x="81318" y="27689"/>
                    </a:lnTo>
                    <a:cubicBezTo>
                      <a:pt x="66505" y="12859"/>
                      <a:pt x="42464" y="12803"/>
                      <a:pt x="27622" y="27633"/>
                    </a:cubicBezTo>
                    <a:cubicBezTo>
                      <a:pt x="20569" y="34658"/>
                      <a:pt x="16566" y="44193"/>
                      <a:pt x="16477" y="54172"/>
                    </a:cubicBezTo>
                    <a:lnTo>
                      <a:pt x="15864" y="185026"/>
                    </a:lnTo>
                    <a:lnTo>
                      <a:pt x="15864" y="185026"/>
                    </a:lnTo>
                    <a:cubicBezTo>
                      <a:pt x="15819" y="195117"/>
                      <a:pt x="19839" y="204818"/>
                      <a:pt x="27015" y="211899"/>
                    </a:cubicBezTo>
                    <a:cubicBezTo>
                      <a:pt x="30499" y="215467"/>
                      <a:pt x="34675" y="218255"/>
                      <a:pt x="39280" y="220150"/>
                    </a:cubicBezTo>
                    <a:cubicBezTo>
                      <a:pt x="53392" y="226116"/>
                      <a:pt x="69716" y="222993"/>
                      <a:pt x="80593" y="212178"/>
                    </a:cubicBezTo>
                    <a:lnTo>
                      <a:pt x="113488" y="179617"/>
                    </a:lnTo>
                    <a:cubicBezTo>
                      <a:pt x="114993" y="178057"/>
                      <a:pt x="117056" y="177109"/>
                      <a:pt x="119231" y="177053"/>
                    </a:cubicBezTo>
                    <a:close/>
                    <a:moveTo>
                      <a:pt x="7724" y="184858"/>
                    </a:moveTo>
                    <a:lnTo>
                      <a:pt x="7724" y="184858"/>
                    </a:lnTo>
                    <a:close/>
                  </a:path>
                </a:pathLst>
              </a:custGeom>
              <a:solidFill>
                <a:srgbClr val="30373B"/>
              </a:solidFill>
              <a:ln w="5573" cap="flat">
                <a:noFill/>
                <a:prstDash val="solid"/>
                <a:miter/>
              </a:ln>
            </p:spPr>
            <p:txBody>
              <a:bodyPr rtlCol="0" anchor="ctr"/>
              <a:lstStyle/>
              <a:p>
                <a:endParaRPr lang="en-GB"/>
              </a:p>
            </p:txBody>
          </p:sp>
          <p:sp>
            <p:nvSpPr>
              <p:cNvPr id="198" name="Graphic 6">
                <a:extLst>
                  <a:ext uri="{FF2B5EF4-FFF2-40B4-BE49-F238E27FC236}">
                    <a16:creationId xmlns:a16="http://schemas.microsoft.com/office/drawing/2014/main" id="{C44D982C-F68C-82CE-7941-0100A6E0CB6A}"/>
                  </a:ext>
                </a:extLst>
              </p:cNvPr>
              <p:cNvSpPr/>
              <p:nvPr/>
            </p:nvSpPr>
            <p:spPr>
              <a:xfrm>
                <a:off x="5088160" y="6091201"/>
                <a:ext cx="444801" cy="122709"/>
              </a:xfrm>
              <a:custGeom>
                <a:avLst/>
                <a:gdLst>
                  <a:gd name="connsiteX0" fmla="*/ 126423 w 444801"/>
                  <a:gd name="connsiteY0" fmla="*/ 122241 h 122709"/>
                  <a:gd name="connsiteX1" fmla="*/ 125475 w 444801"/>
                  <a:gd name="connsiteY1" fmla="*/ 122241 h 122709"/>
                  <a:gd name="connsiteX2" fmla="*/ 6553 w 444801"/>
                  <a:gd name="connsiteY2" fmla="*/ 108358 h 122709"/>
                  <a:gd name="connsiteX3" fmla="*/ -806 w 444801"/>
                  <a:gd name="connsiteY3" fmla="*/ 99995 h 122709"/>
                  <a:gd name="connsiteX4" fmla="*/ -416 w 444801"/>
                  <a:gd name="connsiteY4" fmla="*/ 20547 h 122709"/>
                  <a:gd name="connsiteX5" fmla="*/ 7055 w 444801"/>
                  <a:gd name="connsiteY5" fmla="*/ 12240 h 122709"/>
                  <a:gd name="connsiteX6" fmla="*/ 126256 w 444801"/>
                  <a:gd name="connsiteY6" fmla="*/ -417 h 122709"/>
                  <a:gd name="connsiteX7" fmla="*/ 133113 w 444801"/>
                  <a:gd name="connsiteY7" fmla="*/ 2036 h 122709"/>
                  <a:gd name="connsiteX8" fmla="*/ 157031 w 444801"/>
                  <a:gd name="connsiteY8" fmla="*/ 26178 h 122709"/>
                  <a:gd name="connsiteX9" fmla="*/ 389356 w 444801"/>
                  <a:gd name="connsiteY9" fmla="*/ 27404 h 122709"/>
                  <a:gd name="connsiteX10" fmla="*/ 397719 w 444801"/>
                  <a:gd name="connsiteY10" fmla="*/ 35767 h 122709"/>
                  <a:gd name="connsiteX11" fmla="*/ 389356 w 444801"/>
                  <a:gd name="connsiteY11" fmla="*/ 44130 h 122709"/>
                  <a:gd name="connsiteX12" fmla="*/ 389356 w 444801"/>
                  <a:gd name="connsiteY12" fmla="*/ 44130 h 122709"/>
                  <a:gd name="connsiteX13" fmla="*/ 153631 w 444801"/>
                  <a:gd name="connsiteY13" fmla="*/ 42904 h 122709"/>
                  <a:gd name="connsiteX14" fmla="*/ 147721 w 444801"/>
                  <a:gd name="connsiteY14" fmla="*/ 40450 h 122709"/>
                  <a:gd name="connsiteX15" fmla="*/ 124137 w 444801"/>
                  <a:gd name="connsiteY15" fmla="*/ 16644 h 122709"/>
                  <a:gd name="connsiteX16" fmla="*/ 16366 w 444801"/>
                  <a:gd name="connsiteY16" fmla="*/ 27794 h 122709"/>
                  <a:gd name="connsiteX17" fmla="*/ 16031 w 444801"/>
                  <a:gd name="connsiteY17" fmla="*/ 92301 h 122709"/>
                  <a:gd name="connsiteX18" fmla="*/ 123747 w 444801"/>
                  <a:gd name="connsiteY18" fmla="*/ 104846 h 122709"/>
                  <a:gd name="connsiteX19" fmla="*/ 147498 w 444801"/>
                  <a:gd name="connsiteY19" fmla="*/ 81262 h 122709"/>
                  <a:gd name="connsiteX20" fmla="*/ 153463 w 444801"/>
                  <a:gd name="connsiteY20" fmla="*/ 78865 h 122709"/>
                  <a:gd name="connsiteX21" fmla="*/ 435631 w 444801"/>
                  <a:gd name="connsiteY21" fmla="*/ 80091 h 122709"/>
                  <a:gd name="connsiteX22" fmla="*/ 443994 w 444801"/>
                  <a:gd name="connsiteY22" fmla="*/ 88454 h 122709"/>
                  <a:gd name="connsiteX23" fmla="*/ 435631 w 444801"/>
                  <a:gd name="connsiteY23" fmla="*/ 96817 h 122709"/>
                  <a:gd name="connsiteX24" fmla="*/ 435631 w 444801"/>
                  <a:gd name="connsiteY24" fmla="*/ 96817 h 122709"/>
                  <a:gd name="connsiteX25" fmla="*/ 156864 w 444801"/>
                  <a:gd name="connsiteY25" fmla="*/ 95591 h 122709"/>
                  <a:gd name="connsiteX26" fmla="*/ 132723 w 444801"/>
                  <a:gd name="connsiteY26" fmla="*/ 119509 h 122709"/>
                  <a:gd name="connsiteX27" fmla="*/ 126423 w 444801"/>
                  <a:gd name="connsiteY27" fmla="*/ 122241 h 12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4801" h="122709">
                    <a:moveTo>
                      <a:pt x="126423" y="122241"/>
                    </a:moveTo>
                    <a:lnTo>
                      <a:pt x="125475" y="122241"/>
                    </a:lnTo>
                    <a:lnTo>
                      <a:pt x="6553" y="108358"/>
                    </a:lnTo>
                    <a:cubicBezTo>
                      <a:pt x="2332" y="107857"/>
                      <a:pt x="-840" y="104233"/>
                      <a:pt x="-806" y="99995"/>
                    </a:cubicBezTo>
                    <a:lnTo>
                      <a:pt x="-416" y="20547"/>
                    </a:lnTo>
                    <a:cubicBezTo>
                      <a:pt x="-411" y="16254"/>
                      <a:pt x="2806" y="12685"/>
                      <a:pt x="7055" y="12240"/>
                    </a:cubicBezTo>
                    <a:lnTo>
                      <a:pt x="126256" y="-417"/>
                    </a:lnTo>
                    <a:cubicBezTo>
                      <a:pt x="128798" y="-696"/>
                      <a:pt x="131329" y="197"/>
                      <a:pt x="133113" y="2036"/>
                    </a:cubicBezTo>
                    <a:lnTo>
                      <a:pt x="157031" y="26178"/>
                    </a:lnTo>
                    <a:lnTo>
                      <a:pt x="389356" y="27404"/>
                    </a:lnTo>
                    <a:cubicBezTo>
                      <a:pt x="393972" y="27404"/>
                      <a:pt x="397719" y="31140"/>
                      <a:pt x="397719" y="35767"/>
                    </a:cubicBezTo>
                    <a:cubicBezTo>
                      <a:pt x="397719" y="40395"/>
                      <a:pt x="393972" y="44130"/>
                      <a:pt x="389356" y="44130"/>
                    </a:cubicBezTo>
                    <a:lnTo>
                      <a:pt x="389356" y="44130"/>
                    </a:lnTo>
                    <a:lnTo>
                      <a:pt x="153631" y="42904"/>
                    </a:lnTo>
                    <a:cubicBezTo>
                      <a:pt x="151412" y="42904"/>
                      <a:pt x="149287" y="42012"/>
                      <a:pt x="147721" y="40450"/>
                    </a:cubicBezTo>
                    <a:lnTo>
                      <a:pt x="124137" y="16644"/>
                    </a:lnTo>
                    <a:lnTo>
                      <a:pt x="16366" y="27794"/>
                    </a:lnTo>
                    <a:lnTo>
                      <a:pt x="16031" y="92301"/>
                    </a:lnTo>
                    <a:lnTo>
                      <a:pt x="123747" y="104846"/>
                    </a:lnTo>
                    <a:lnTo>
                      <a:pt x="147498" y="81262"/>
                    </a:lnTo>
                    <a:cubicBezTo>
                      <a:pt x="149176" y="79868"/>
                      <a:pt x="151267" y="78976"/>
                      <a:pt x="153463" y="78865"/>
                    </a:cubicBezTo>
                    <a:lnTo>
                      <a:pt x="435631" y="80091"/>
                    </a:lnTo>
                    <a:cubicBezTo>
                      <a:pt x="440248" y="80091"/>
                      <a:pt x="443994" y="83827"/>
                      <a:pt x="443994" y="88454"/>
                    </a:cubicBezTo>
                    <a:cubicBezTo>
                      <a:pt x="443994" y="93082"/>
                      <a:pt x="440248" y="96817"/>
                      <a:pt x="435631" y="96817"/>
                    </a:cubicBezTo>
                    <a:lnTo>
                      <a:pt x="435631" y="96817"/>
                    </a:lnTo>
                    <a:lnTo>
                      <a:pt x="156864" y="95591"/>
                    </a:lnTo>
                    <a:lnTo>
                      <a:pt x="132723" y="119509"/>
                    </a:lnTo>
                    <a:cubicBezTo>
                      <a:pt x="131112" y="121293"/>
                      <a:pt x="128815" y="122297"/>
                      <a:pt x="126423" y="122241"/>
                    </a:cubicBezTo>
                    <a:close/>
                  </a:path>
                </a:pathLst>
              </a:custGeom>
              <a:solidFill>
                <a:srgbClr val="30373B"/>
              </a:solidFill>
              <a:ln w="5573" cap="flat">
                <a:noFill/>
                <a:prstDash val="solid"/>
                <a:miter/>
              </a:ln>
            </p:spPr>
            <p:txBody>
              <a:bodyPr rtlCol="0" anchor="ctr"/>
              <a:lstStyle/>
              <a:p>
                <a:endParaRPr lang="en-GB"/>
              </a:p>
            </p:txBody>
          </p:sp>
          <p:sp>
            <p:nvSpPr>
              <p:cNvPr id="199" name="Graphic 6">
                <a:extLst>
                  <a:ext uri="{FF2B5EF4-FFF2-40B4-BE49-F238E27FC236}">
                    <a16:creationId xmlns:a16="http://schemas.microsoft.com/office/drawing/2014/main" id="{4EAB0DA3-6AA1-45A2-4D27-169468138A96}"/>
                  </a:ext>
                </a:extLst>
              </p:cNvPr>
              <p:cNvSpPr/>
              <p:nvPr/>
            </p:nvSpPr>
            <p:spPr>
              <a:xfrm>
                <a:off x="7357993" y="2601869"/>
                <a:ext cx="16726" cy="3562642"/>
              </a:xfrm>
              <a:custGeom>
                <a:avLst/>
                <a:gdLst>
                  <a:gd name="connsiteX0" fmla="*/ 7556 w 16726"/>
                  <a:gd name="connsiteY0" fmla="*/ 3562176 h 3562642"/>
                  <a:gd name="connsiteX1" fmla="*/ -807 w 16726"/>
                  <a:gd name="connsiteY1" fmla="*/ 3553813 h 3562642"/>
                  <a:gd name="connsiteX2" fmla="*/ -807 w 16726"/>
                  <a:gd name="connsiteY2" fmla="*/ 3520361 h 3562642"/>
                  <a:gd name="connsiteX3" fmla="*/ 7556 w 16726"/>
                  <a:gd name="connsiteY3" fmla="*/ 3511998 h 3562642"/>
                  <a:gd name="connsiteX4" fmla="*/ 15919 w 16726"/>
                  <a:gd name="connsiteY4" fmla="*/ 3520361 h 3562642"/>
                  <a:gd name="connsiteX5" fmla="*/ 15919 w 16726"/>
                  <a:gd name="connsiteY5" fmla="*/ 3553813 h 3562642"/>
                  <a:gd name="connsiteX6" fmla="*/ 7556 w 16726"/>
                  <a:gd name="connsiteY6" fmla="*/ 3562176 h 3562642"/>
                  <a:gd name="connsiteX7" fmla="*/ 7556 w 16726"/>
                  <a:gd name="connsiteY7" fmla="*/ 3461820 h 3562642"/>
                  <a:gd name="connsiteX8" fmla="*/ -807 w 16726"/>
                  <a:gd name="connsiteY8" fmla="*/ 3453457 h 3562642"/>
                  <a:gd name="connsiteX9" fmla="*/ -807 w 16726"/>
                  <a:gd name="connsiteY9" fmla="*/ 3420005 h 3562642"/>
                  <a:gd name="connsiteX10" fmla="*/ 7556 w 16726"/>
                  <a:gd name="connsiteY10" fmla="*/ 3411642 h 3562642"/>
                  <a:gd name="connsiteX11" fmla="*/ 15919 w 16726"/>
                  <a:gd name="connsiteY11" fmla="*/ 3420005 h 3562642"/>
                  <a:gd name="connsiteX12" fmla="*/ 15919 w 16726"/>
                  <a:gd name="connsiteY12" fmla="*/ 3453457 h 3562642"/>
                  <a:gd name="connsiteX13" fmla="*/ 7556 w 16726"/>
                  <a:gd name="connsiteY13" fmla="*/ 3461820 h 3562642"/>
                  <a:gd name="connsiteX14" fmla="*/ 7556 w 16726"/>
                  <a:gd name="connsiteY14" fmla="*/ 3361463 h 3562642"/>
                  <a:gd name="connsiteX15" fmla="*/ -807 w 16726"/>
                  <a:gd name="connsiteY15" fmla="*/ 3353100 h 3562642"/>
                  <a:gd name="connsiteX16" fmla="*/ -807 w 16726"/>
                  <a:gd name="connsiteY16" fmla="*/ 3319648 h 3562642"/>
                  <a:gd name="connsiteX17" fmla="*/ 7556 w 16726"/>
                  <a:gd name="connsiteY17" fmla="*/ 3311285 h 3562642"/>
                  <a:gd name="connsiteX18" fmla="*/ 15919 w 16726"/>
                  <a:gd name="connsiteY18" fmla="*/ 3319648 h 3562642"/>
                  <a:gd name="connsiteX19" fmla="*/ 15919 w 16726"/>
                  <a:gd name="connsiteY19" fmla="*/ 3353100 h 3562642"/>
                  <a:gd name="connsiteX20" fmla="*/ 7556 w 16726"/>
                  <a:gd name="connsiteY20" fmla="*/ 3361463 h 3562642"/>
                  <a:gd name="connsiteX21" fmla="*/ 7556 w 16726"/>
                  <a:gd name="connsiteY21" fmla="*/ 3261107 h 3562642"/>
                  <a:gd name="connsiteX22" fmla="*/ -807 w 16726"/>
                  <a:gd name="connsiteY22" fmla="*/ 3252744 h 3562642"/>
                  <a:gd name="connsiteX23" fmla="*/ -807 w 16726"/>
                  <a:gd name="connsiteY23" fmla="*/ 3219292 h 3562642"/>
                  <a:gd name="connsiteX24" fmla="*/ 7556 w 16726"/>
                  <a:gd name="connsiteY24" fmla="*/ 3210929 h 3562642"/>
                  <a:gd name="connsiteX25" fmla="*/ 15919 w 16726"/>
                  <a:gd name="connsiteY25" fmla="*/ 3219292 h 3562642"/>
                  <a:gd name="connsiteX26" fmla="*/ 15919 w 16726"/>
                  <a:gd name="connsiteY26" fmla="*/ 3252744 h 3562642"/>
                  <a:gd name="connsiteX27" fmla="*/ 7556 w 16726"/>
                  <a:gd name="connsiteY27" fmla="*/ 3261107 h 3562642"/>
                  <a:gd name="connsiteX28" fmla="*/ 7556 w 16726"/>
                  <a:gd name="connsiteY28" fmla="*/ 3160751 h 3562642"/>
                  <a:gd name="connsiteX29" fmla="*/ -807 w 16726"/>
                  <a:gd name="connsiteY29" fmla="*/ 3152388 h 3562642"/>
                  <a:gd name="connsiteX30" fmla="*/ -807 w 16726"/>
                  <a:gd name="connsiteY30" fmla="*/ 3118936 h 3562642"/>
                  <a:gd name="connsiteX31" fmla="*/ 7556 w 16726"/>
                  <a:gd name="connsiteY31" fmla="*/ 3110573 h 3562642"/>
                  <a:gd name="connsiteX32" fmla="*/ 15919 w 16726"/>
                  <a:gd name="connsiteY32" fmla="*/ 3118936 h 3562642"/>
                  <a:gd name="connsiteX33" fmla="*/ 15919 w 16726"/>
                  <a:gd name="connsiteY33" fmla="*/ 3152388 h 3562642"/>
                  <a:gd name="connsiteX34" fmla="*/ 7556 w 16726"/>
                  <a:gd name="connsiteY34" fmla="*/ 3160751 h 3562642"/>
                  <a:gd name="connsiteX35" fmla="*/ 7556 w 16726"/>
                  <a:gd name="connsiteY35" fmla="*/ 3060395 h 3562642"/>
                  <a:gd name="connsiteX36" fmla="*/ -807 w 16726"/>
                  <a:gd name="connsiteY36" fmla="*/ 3052032 h 3562642"/>
                  <a:gd name="connsiteX37" fmla="*/ -807 w 16726"/>
                  <a:gd name="connsiteY37" fmla="*/ 3018580 h 3562642"/>
                  <a:gd name="connsiteX38" fmla="*/ 7556 w 16726"/>
                  <a:gd name="connsiteY38" fmla="*/ 3010217 h 3562642"/>
                  <a:gd name="connsiteX39" fmla="*/ 15919 w 16726"/>
                  <a:gd name="connsiteY39" fmla="*/ 3018580 h 3562642"/>
                  <a:gd name="connsiteX40" fmla="*/ 15919 w 16726"/>
                  <a:gd name="connsiteY40" fmla="*/ 3052032 h 3562642"/>
                  <a:gd name="connsiteX41" fmla="*/ 7556 w 16726"/>
                  <a:gd name="connsiteY41" fmla="*/ 3060395 h 3562642"/>
                  <a:gd name="connsiteX42" fmla="*/ 7556 w 16726"/>
                  <a:gd name="connsiteY42" fmla="*/ 2960039 h 3562642"/>
                  <a:gd name="connsiteX43" fmla="*/ -807 w 16726"/>
                  <a:gd name="connsiteY43" fmla="*/ 2951676 h 3562642"/>
                  <a:gd name="connsiteX44" fmla="*/ -807 w 16726"/>
                  <a:gd name="connsiteY44" fmla="*/ 2918224 h 3562642"/>
                  <a:gd name="connsiteX45" fmla="*/ 7556 w 16726"/>
                  <a:gd name="connsiteY45" fmla="*/ 2909861 h 3562642"/>
                  <a:gd name="connsiteX46" fmla="*/ 15919 w 16726"/>
                  <a:gd name="connsiteY46" fmla="*/ 2918224 h 3562642"/>
                  <a:gd name="connsiteX47" fmla="*/ 15919 w 16726"/>
                  <a:gd name="connsiteY47" fmla="*/ 2951676 h 3562642"/>
                  <a:gd name="connsiteX48" fmla="*/ 7556 w 16726"/>
                  <a:gd name="connsiteY48" fmla="*/ 2960039 h 3562642"/>
                  <a:gd name="connsiteX49" fmla="*/ 7556 w 16726"/>
                  <a:gd name="connsiteY49" fmla="*/ 2859683 h 3562642"/>
                  <a:gd name="connsiteX50" fmla="*/ -807 w 16726"/>
                  <a:gd name="connsiteY50" fmla="*/ 2851320 h 3562642"/>
                  <a:gd name="connsiteX51" fmla="*/ -807 w 16726"/>
                  <a:gd name="connsiteY51" fmla="*/ 2817868 h 3562642"/>
                  <a:gd name="connsiteX52" fmla="*/ 7556 w 16726"/>
                  <a:gd name="connsiteY52" fmla="*/ 2809505 h 3562642"/>
                  <a:gd name="connsiteX53" fmla="*/ 15919 w 16726"/>
                  <a:gd name="connsiteY53" fmla="*/ 2817868 h 3562642"/>
                  <a:gd name="connsiteX54" fmla="*/ 15919 w 16726"/>
                  <a:gd name="connsiteY54" fmla="*/ 2851320 h 3562642"/>
                  <a:gd name="connsiteX55" fmla="*/ 7556 w 16726"/>
                  <a:gd name="connsiteY55" fmla="*/ 2859683 h 3562642"/>
                  <a:gd name="connsiteX56" fmla="*/ 7556 w 16726"/>
                  <a:gd name="connsiteY56" fmla="*/ 2759327 h 3562642"/>
                  <a:gd name="connsiteX57" fmla="*/ -807 w 16726"/>
                  <a:gd name="connsiteY57" fmla="*/ 2750964 h 3562642"/>
                  <a:gd name="connsiteX58" fmla="*/ -807 w 16726"/>
                  <a:gd name="connsiteY58" fmla="*/ 2717512 h 3562642"/>
                  <a:gd name="connsiteX59" fmla="*/ 7556 w 16726"/>
                  <a:gd name="connsiteY59" fmla="*/ 2709149 h 3562642"/>
                  <a:gd name="connsiteX60" fmla="*/ 15919 w 16726"/>
                  <a:gd name="connsiteY60" fmla="*/ 2717512 h 3562642"/>
                  <a:gd name="connsiteX61" fmla="*/ 15919 w 16726"/>
                  <a:gd name="connsiteY61" fmla="*/ 2750964 h 3562642"/>
                  <a:gd name="connsiteX62" fmla="*/ 7556 w 16726"/>
                  <a:gd name="connsiteY62" fmla="*/ 2759327 h 3562642"/>
                  <a:gd name="connsiteX63" fmla="*/ 7556 w 16726"/>
                  <a:gd name="connsiteY63" fmla="*/ 2658971 h 3562642"/>
                  <a:gd name="connsiteX64" fmla="*/ -807 w 16726"/>
                  <a:gd name="connsiteY64" fmla="*/ 2650608 h 3562642"/>
                  <a:gd name="connsiteX65" fmla="*/ -807 w 16726"/>
                  <a:gd name="connsiteY65" fmla="*/ 2617156 h 3562642"/>
                  <a:gd name="connsiteX66" fmla="*/ 7556 w 16726"/>
                  <a:gd name="connsiteY66" fmla="*/ 2608793 h 3562642"/>
                  <a:gd name="connsiteX67" fmla="*/ 15919 w 16726"/>
                  <a:gd name="connsiteY67" fmla="*/ 2617156 h 3562642"/>
                  <a:gd name="connsiteX68" fmla="*/ 15919 w 16726"/>
                  <a:gd name="connsiteY68" fmla="*/ 2650608 h 3562642"/>
                  <a:gd name="connsiteX69" fmla="*/ 7556 w 16726"/>
                  <a:gd name="connsiteY69" fmla="*/ 2658971 h 3562642"/>
                  <a:gd name="connsiteX70" fmla="*/ 7556 w 16726"/>
                  <a:gd name="connsiteY70" fmla="*/ 2558614 h 3562642"/>
                  <a:gd name="connsiteX71" fmla="*/ -807 w 16726"/>
                  <a:gd name="connsiteY71" fmla="*/ 2550251 h 3562642"/>
                  <a:gd name="connsiteX72" fmla="*/ -807 w 16726"/>
                  <a:gd name="connsiteY72" fmla="*/ 2516799 h 3562642"/>
                  <a:gd name="connsiteX73" fmla="*/ 7556 w 16726"/>
                  <a:gd name="connsiteY73" fmla="*/ 2508436 h 3562642"/>
                  <a:gd name="connsiteX74" fmla="*/ 15919 w 16726"/>
                  <a:gd name="connsiteY74" fmla="*/ 2516799 h 3562642"/>
                  <a:gd name="connsiteX75" fmla="*/ 15919 w 16726"/>
                  <a:gd name="connsiteY75" fmla="*/ 2550251 h 3562642"/>
                  <a:gd name="connsiteX76" fmla="*/ 7556 w 16726"/>
                  <a:gd name="connsiteY76" fmla="*/ 2558614 h 3562642"/>
                  <a:gd name="connsiteX77" fmla="*/ 7556 w 16726"/>
                  <a:gd name="connsiteY77" fmla="*/ 2458258 h 3562642"/>
                  <a:gd name="connsiteX78" fmla="*/ -807 w 16726"/>
                  <a:gd name="connsiteY78" fmla="*/ 2449895 h 3562642"/>
                  <a:gd name="connsiteX79" fmla="*/ -807 w 16726"/>
                  <a:gd name="connsiteY79" fmla="*/ 2416443 h 3562642"/>
                  <a:gd name="connsiteX80" fmla="*/ 7556 w 16726"/>
                  <a:gd name="connsiteY80" fmla="*/ 2408080 h 3562642"/>
                  <a:gd name="connsiteX81" fmla="*/ 15919 w 16726"/>
                  <a:gd name="connsiteY81" fmla="*/ 2416443 h 3562642"/>
                  <a:gd name="connsiteX82" fmla="*/ 15919 w 16726"/>
                  <a:gd name="connsiteY82" fmla="*/ 2449895 h 3562642"/>
                  <a:gd name="connsiteX83" fmla="*/ 7556 w 16726"/>
                  <a:gd name="connsiteY83" fmla="*/ 2458258 h 3562642"/>
                  <a:gd name="connsiteX84" fmla="*/ 7556 w 16726"/>
                  <a:gd name="connsiteY84" fmla="*/ 2357902 h 3562642"/>
                  <a:gd name="connsiteX85" fmla="*/ -807 w 16726"/>
                  <a:gd name="connsiteY85" fmla="*/ 2349539 h 3562642"/>
                  <a:gd name="connsiteX86" fmla="*/ -807 w 16726"/>
                  <a:gd name="connsiteY86" fmla="*/ 2316087 h 3562642"/>
                  <a:gd name="connsiteX87" fmla="*/ 7556 w 16726"/>
                  <a:gd name="connsiteY87" fmla="*/ 2307724 h 3562642"/>
                  <a:gd name="connsiteX88" fmla="*/ 15919 w 16726"/>
                  <a:gd name="connsiteY88" fmla="*/ 2316087 h 3562642"/>
                  <a:gd name="connsiteX89" fmla="*/ 15919 w 16726"/>
                  <a:gd name="connsiteY89" fmla="*/ 2349539 h 3562642"/>
                  <a:gd name="connsiteX90" fmla="*/ 7556 w 16726"/>
                  <a:gd name="connsiteY90" fmla="*/ 2357902 h 3562642"/>
                  <a:gd name="connsiteX91" fmla="*/ 7556 w 16726"/>
                  <a:gd name="connsiteY91" fmla="*/ 2257546 h 3562642"/>
                  <a:gd name="connsiteX92" fmla="*/ -807 w 16726"/>
                  <a:gd name="connsiteY92" fmla="*/ 2249183 h 3562642"/>
                  <a:gd name="connsiteX93" fmla="*/ -807 w 16726"/>
                  <a:gd name="connsiteY93" fmla="*/ 2215731 h 3562642"/>
                  <a:gd name="connsiteX94" fmla="*/ 7556 w 16726"/>
                  <a:gd name="connsiteY94" fmla="*/ 2207368 h 3562642"/>
                  <a:gd name="connsiteX95" fmla="*/ 15919 w 16726"/>
                  <a:gd name="connsiteY95" fmla="*/ 2215731 h 3562642"/>
                  <a:gd name="connsiteX96" fmla="*/ 15919 w 16726"/>
                  <a:gd name="connsiteY96" fmla="*/ 2249183 h 3562642"/>
                  <a:gd name="connsiteX97" fmla="*/ 7556 w 16726"/>
                  <a:gd name="connsiteY97" fmla="*/ 2257546 h 3562642"/>
                  <a:gd name="connsiteX98" fmla="*/ 7556 w 16726"/>
                  <a:gd name="connsiteY98" fmla="*/ 2157190 h 3562642"/>
                  <a:gd name="connsiteX99" fmla="*/ -807 w 16726"/>
                  <a:gd name="connsiteY99" fmla="*/ 2148827 h 3562642"/>
                  <a:gd name="connsiteX100" fmla="*/ -807 w 16726"/>
                  <a:gd name="connsiteY100" fmla="*/ 2115375 h 3562642"/>
                  <a:gd name="connsiteX101" fmla="*/ 7556 w 16726"/>
                  <a:gd name="connsiteY101" fmla="*/ 2107012 h 3562642"/>
                  <a:gd name="connsiteX102" fmla="*/ 15919 w 16726"/>
                  <a:gd name="connsiteY102" fmla="*/ 2115375 h 3562642"/>
                  <a:gd name="connsiteX103" fmla="*/ 15919 w 16726"/>
                  <a:gd name="connsiteY103" fmla="*/ 2148827 h 3562642"/>
                  <a:gd name="connsiteX104" fmla="*/ 7556 w 16726"/>
                  <a:gd name="connsiteY104" fmla="*/ 2157190 h 3562642"/>
                  <a:gd name="connsiteX105" fmla="*/ 7556 w 16726"/>
                  <a:gd name="connsiteY105" fmla="*/ 2056834 h 3562642"/>
                  <a:gd name="connsiteX106" fmla="*/ -807 w 16726"/>
                  <a:gd name="connsiteY106" fmla="*/ 2048471 h 3562642"/>
                  <a:gd name="connsiteX107" fmla="*/ -807 w 16726"/>
                  <a:gd name="connsiteY107" fmla="*/ 2015019 h 3562642"/>
                  <a:gd name="connsiteX108" fmla="*/ 7556 w 16726"/>
                  <a:gd name="connsiteY108" fmla="*/ 2006656 h 3562642"/>
                  <a:gd name="connsiteX109" fmla="*/ 15919 w 16726"/>
                  <a:gd name="connsiteY109" fmla="*/ 2015019 h 3562642"/>
                  <a:gd name="connsiteX110" fmla="*/ 15919 w 16726"/>
                  <a:gd name="connsiteY110" fmla="*/ 2048471 h 3562642"/>
                  <a:gd name="connsiteX111" fmla="*/ 7556 w 16726"/>
                  <a:gd name="connsiteY111" fmla="*/ 2056834 h 3562642"/>
                  <a:gd name="connsiteX112" fmla="*/ 7556 w 16726"/>
                  <a:gd name="connsiteY112" fmla="*/ 1956478 h 3562642"/>
                  <a:gd name="connsiteX113" fmla="*/ -807 w 16726"/>
                  <a:gd name="connsiteY113" fmla="*/ 1948115 h 3562642"/>
                  <a:gd name="connsiteX114" fmla="*/ -807 w 16726"/>
                  <a:gd name="connsiteY114" fmla="*/ 1914663 h 3562642"/>
                  <a:gd name="connsiteX115" fmla="*/ 7556 w 16726"/>
                  <a:gd name="connsiteY115" fmla="*/ 1906300 h 3562642"/>
                  <a:gd name="connsiteX116" fmla="*/ 15919 w 16726"/>
                  <a:gd name="connsiteY116" fmla="*/ 1914663 h 3562642"/>
                  <a:gd name="connsiteX117" fmla="*/ 15919 w 16726"/>
                  <a:gd name="connsiteY117" fmla="*/ 1948115 h 3562642"/>
                  <a:gd name="connsiteX118" fmla="*/ 7556 w 16726"/>
                  <a:gd name="connsiteY118" fmla="*/ 1956478 h 3562642"/>
                  <a:gd name="connsiteX119" fmla="*/ 7556 w 16726"/>
                  <a:gd name="connsiteY119" fmla="*/ 1856122 h 3562642"/>
                  <a:gd name="connsiteX120" fmla="*/ -807 w 16726"/>
                  <a:gd name="connsiteY120" fmla="*/ 1847759 h 3562642"/>
                  <a:gd name="connsiteX121" fmla="*/ -807 w 16726"/>
                  <a:gd name="connsiteY121" fmla="*/ 1814306 h 3562642"/>
                  <a:gd name="connsiteX122" fmla="*/ 7556 w 16726"/>
                  <a:gd name="connsiteY122" fmla="*/ 1805943 h 3562642"/>
                  <a:gd name="connsiteX123" fmla="*/ 15919 w 16726"/>
                  <a:gd name="connsiteY123" fmla="*/ 1814306 h 3562642"/>
                  <a:gd name="connsiteX124" fmla="*/ 15919 w 16726"/>
                  <a:gd name="connsiteY124" fmla="*/ 1847759 h 3562642"/>
                  <a:gd name="connsiteX125" fmla="*/ 7556 w 16726"/>
                  <a:gd name="connsiteY125" fmla="*/ 1856122 h 3562642"/>
                  <a:gd name="connsiteX126" fmla="*/ 7556 w 16726"/>
                  <a:gd name="connsiteY126" fmla="*/ 1755765 h 3562642"/>
                  <a:gd name="connsiteX127" fmla="*/ -807 w 16726"/>
                  <a:gd name="connsiteY127" fmla="*/ 1747402 h 3562642"/>
                  <a:gd name="connsiteX128" fmla="*/ -807 w 16726"/>
                  <a:gd name="connsiteY128" fmla="*/ 1713950 h 3562642"/>
                  <a:gd name="connsiteX129" fmla="*/ 7556 w 16726"/>
                  <a:gd name="connsiteY129" fmla="*/ 1705587 h 3562642"/>
                  <a:gd name="connsiteX130" fmla="*/ 15919 w 16726"/>
                  <a:gd name="connsiteY130" fmla="*/ 1713950 h 3562642"/>
                  <a:gd name="connsiteX131" fmla="*/ 15919 w 16726"/>
                  <a:gd name="connsiteY131" fmla="*/ 1747402 h 3562642"/>
                  <a:gd name="connsiteX132" fmla="*/ 7556 w 16726"/>
                  <a:gd name="connsiteY132" fmla="*/ 1755765 h 3562642"/>
                  <a:gd name="connsiteX133" fmla="*/ 7556 w 16726"/>
                  <a:gd name="connsiteY133" fmla="*/ 1655409 h 3562642"/>
                  <a:gd name="connsiteX134" fmla="*/ -807 w 16726"/>
                  <a:gd name="connsiteY134" fmla="*/ 1647046 h 3562642"/>
                  <a:gd name="connsiteX135" fmla="*/ -807 w 16726"/>
                  <a:gd name="connsiteY135" fmla="*/ 1613594 h 3562642"/>
                  <a:gd name="connsiteX136" fmla="*/ 7556 w 16726"/>
                  <a:gd name="connsiteY136" fmla="*/ 1605231 h 3562642"/>
                  <a:gd name="connsiteX137" fmla="*/ 15919 w 16726"/>
                  <a:gd name="connsiteY137" fmla="*/ 1613594 h 3562642"/>
                  <a:gd name="connsiteX138" fmla="*/ 15919 w 16726"/>
                  <a:gd name="connsiteY138" fmla="*/ 1647046 h 3562642"/>
                  <a:gd name="connsiteX139" fmla="*/ 7556 w 16726"/>
                  <a:gd name="connsiteY139" fmla="*/ 1655409 h 3562642"/>
                  <a:gd name="connsiteX140" fmla="*/ 7556 w 16726"/>
                  <a:gd name="connsiteY140" fmla="*/ 1555053 h 3562642"/>
                  <a:gd name="connsiteX141" fmla="*/ -807 w 16726"/>
                  <a:gd name="connsiteY141" fmla="*/ 1546690 h 3562642"/>
                  <a:gd name="connsiteX142" fmla="*/ -807 w 16726"/>
                  <a:gd name="connsiteY142" fmla="*/ 1513238 h 3562642"/>
                  <a:gd name="connsiteX143" fmla="*/ 7556 w 16726"/>
                  <a:gd name="connsiteY143" fmla="*/ 1504875 h 3562642"/>
                  <a:gd name="connsiteX144" fmla="*/ 15919 w 16726"/>
                  <a:gd name="connsiteY144" fmla="*/ 1513238 h 3562642"/>
                  <a:gd name="connsiteX145" fmla="*/ 15919 w 16726"/>
                  <a:gd name="connsiteY145" fmla="*/ 1546690 h 3562642"/>
                  <a:gd name="connsiteX146" fmla="*/ 7556 w 16726"/>
                  <a:gd name="connsiteY146" fmla="*/ 1555053 h 3562642"/>
                  <a:gd name="connsiteX147" fmla="*/ 7556 w 16726"/>
                  <a:gd name="connsiteY147" fmla="*/ 1454697 h 3562642"/>
                  <a:gd name="connsiteX148" fmla="*/ -807 w 16726"/>
                  <a:gd name="connsiteY148" fmla="*/ 1446334 h 3562642"/>
                  <a:gd name="connsiteX149" fmla="*/ -807 w 16726"/>
                  <a:gd name="connsiteY149" fmla="*/ 1412882 h 3562642"/>
                  <a:gd name="connsiteX150" fmla="*/ 7556 w 16726"/>
                  <a:gd name="connsiteY150" fmla="*/ 1404519 h 3562642"/>
                  <a:gd name="connsiteX151" fmla="*/ 15919 w 16726"/>
                  <a:gd name="connsiteY151" fmla="*/ 1412882 h 3562642"/>
                  <a:gd name="connsiteX152" fmla="*/ 15919 w 16726"/>
                  <a:gd name="connsiteY152" fmla="*/ 1446334 h 3562642"/>
                  <a:gd name="connsiteX153" fmla="*/ 7556 w 16726"/>
                  <a:gd name="connsiteY153" fmla="*/ 1454697 h 3562642"/>
                  <a:gd name="connsiteX154" fmla="*/ 7556 w 16726"/>
                  <a:gd name="connsiteY154" fmla="*/ 1354341 h 3562642"/>
                  <a:gd name="connsiteX155" fmla="*/ -807 w 16726"/>
                  <a:gd name="connsiteY155" fmla="*/ 1345978 h 3562642"/>
                  <a:gd name="connsiteX156" fmla="*/ -807 w 16726"/>
                  <a:gd name="connsiteY156" fmla="*/ 1312526 h 3562642"/>
                  <a:gd name="connsiteX157" fmla="*/ 7556 w 16726"/>
                  <a:gd name="connsiteY157" fmla="*/ 1304163 h 3562642"/>
                  <a:gd name="connsiteX158" fmla="*/ 15919 w 16726"/>
                  <a:gd name="connsiteY158" fmla="*/ 1312526 h 3562642"/>
                  <a:gd name="connsiteX159" fmla="*/ 15919 w 16726"/>
                  <a:gd name="connsiteY159" fmla="*/ 1345978 h 3562642"/>
                  <a:gd name="connsiteX160" fmla="*/ 7556 w 16726"/>
                  <a:gd name="connsiteY160" fmla="*/ 1354341 h 3562642"/>
                  <a:gd name="connsiteX161" fmla="*/ 7556 w 16726"/>
                  <a:gd name="connsiteY161" fmla="*/ 1253985 h 3562642"/>
                  <a:gd name="connsiteX162" fmla="*/ -807 w 16726"/>
                  <a:gd name="connsiteY162" fmla="*/ 1245622 h 3562642"/>
                  <a:gd name="connsiteX163" fmla="*/ -807 w 16726"/>
                  <a:gd name="connsiteY163" fmla="*/ 1212170 h 3562642"/>
                  <a:gd name="connsiteX164" fmla="*/ 7556 w 16726"/>
                  <a:gd name="connsiteY164" fmla="*/ 1203807 h 3562642"/>
                  <a:gd name="connsiteX165" fmla="*/ 15919 w 16726"/>
                  <a:gd name="connsiteY165" fmla="*/ 1212170 h 3562642"/>
                  <a:gd name="connsiteX166" fmla="*/ 15919 w 16726"/>
                  <a:gd name="connsiteY166" fmla="*/ 1245622 h 3562642"/>
                  <a:gd name="connsiteX167" fmla="*/ 7556 w 16726"/>
                  <a:gd name="connsiteY167" fmla="*/ 1253985 h 3562642"/>
                  <a:gd name="connsiteX168" fmla="*/ 7556 w 16726"/>
                  <a:gd name="connsiteY168" fmla="*/ 1153629 h 3562642"/>
                  <a:gd name="connsiteX169" fmla="*/ -807 w 16726"/>
                  <a:gd name="connsiteY169" fmla="*/ 1145266 h 3562642"/>
                  <a:gd name="connsiteX170" fmla="*/ -807 w 16726"/>
                  <a:gd name="connsiteY170" fmla="*/ 1111814 h 3562642"/>
                  <a:gd name="connsiteX171" fmla="*/ 7556 w 16726"/>
                  <a:gd name="connsiteY171" fmla="*/ 1103451 h 3562642"/>
                  <a:gd name="connsiteX172" fmla="*/ 15919 w 16726"/>
                  <a:gd name="connsiteY172" fmla="*/ 1111814 h 3562642"/>
                  <a:gd name="connsiteX173" fmla="*/ 15919 w 16726"/>
                  <a:gd name="connsiteY173" fmla="*/ 1145266 h 3562642"/>
                  <a:gd name="connsiteX174" fmla="*/ 7556 w 16726"/>
                  <a:gd name="connsiteY174" fmla="*/ 1153629 h 3562642"/>
                  <a:gd name="connsiteX175" fmla="*/ 7556 w 16726"/>
                  <a:gd name="connsiteY175" fmla="*/ 1053273 h 3562642"/>
                  <a:gd name="connsiteX176" fmla="*/ -807 w 16726"/>
                  <a:gd name="connsiteY176" fmla="*/ 1044910 h 3562642"/>
                  <a:gd name="connsiteX177" fmla="*/ -807 w 16726"/>
                  <a:gd name="connsiteY177" fmla="*/ 1011457 h 3562642"/>
                  <a:gd name="connsiteX178" fmla="*/ 7556 w 16726"/>
                  <a:gd name="connsiteY178" fmla="*/ 1003094 h 3562642"/>
                  <a:gd name="connsiteX179" fmla="*/ 15919 w 16726"/>
                  <a:gd name="connsiteY179" fmla="*/ 1011457 h 3562642"/>
                  <a:gd name="connsiteX180" fmla="*/ 15919 w 16726"/>
                  <a:gd name="connsiteY180" fmla="*/ 1044910 h 3562642"/>
                  <a:gd name="connsiteX181" fmla="*/ 7556 w 16726"/>
                  <a:gd name="connsiteY181" fmla="*/ 1053273 h 3562642"/>
                  <a:gd name="connsiteX182" fmla="*/ 7556 w 16726"/>
                  <a:gd name="connsiteY182" fmla="*/ 952916 h 3562642"/>
                  <a:gd name="connsiteX183" fmla="*/ -807 w 16726"/>
                  <a:gd name="connsiteY183" fmla="*/ 944553 h 3562642"/>
                  <a:gd name="connsiteX184" fmla="*/ -807 w 16726"/>
                  <a:gd name="connsiteY184" fmla="*/ 911101 h 3562642"/>
                  <a:gd name="connsiteX185" fmla="*/ 7556 w 16726"/>
                  <a:gd name="connsiteY185" fmla="*/ 902738 h 3562642"/>
                  <a:gd name="connsiteX186" fmla="*/ 15919 w 16726"/>
                  <a:gd name="connsiteY186" fmla="*/ 911101 h 3562642"/>
                  <a:gd name="connsiteX187" fmla="*/ 15919 w 16726"/>
                  <a:gd name="connsiteY187" fmla="*/ 944553 h 3562642"/>
                  <a:gd name="connsiteX188" fmla="*/ 7556 w 16726"/>
                  <a:gd name="connsiteY188" fmla="*/ 952916 h 3562642"/>
                  <a:gd name="connsiteX189" fmla="*/ 7556 w 16726"/>
                  <a:gd name="connsiteY189" fmla="*/ 852560 h 3562642"/>
                  <a:gd name="connsiteX190" fmla="*/ -807 w 16726"/>
                  <a:gd name="connsiteY190" fmla="*/ 844197 h 3562642"/>
                  <a:gd name="connsiteX191" fmla="*/ -807 w 16726"/>
                  <a:gd name="connsiteY191" fmla="*/ 810745 h 3562642"/>
                  <a:gd name="connsiteX192" fmla="*/ 7556 w 16726"/>
                  <a:gd name="connsiteY192" fmla="*/ 802382 h 3562642"/>
                  <a:gd name="connsiteX193" fmla="*/ 15919 w 16726"/>
                  <a:gd name="connsiteY193" fmla="*/ 810745 h 3562642"/>
                  <a:gd name="connsiteX194" fmla="*/ 15919 w 16726"/>
                  <a:gd name="connsiteY194" fmla="*/ 844197 h 3562642"/>
                  <a:gd name="connsiteX195" fmla="*/ 7556 w 16726"/>
                  <a:gd name="connsiteY195" fmla="*/ 852560 h 3562642"/>
                  <a:gd name="connsiteX196" fmla="*/ 7556 w 16726"/>
                  <a:gd name="connsiteY196" fmla="*/ 752204 h 3562642"/>
                  <a:gd name="connsiteX197" fmla="*/ -807 w 16726"/>
                  <a:gd name="connsiteY197" fmla="*/ 743841 h 3562642"/>
                  <a:gd name="connsiteX198" fmla="*/ -807 w 16726"/>
                  <a:gd name="connsiteY198" fmla="*/ 710389 h 3562642"/>
                  <a:gd name="connsiteX199" fmla="*/ 7556 w 16726"/>
                  <a:gd name="connsiteY199" fmla="*/ 702026 h 3562642"/>
                  <a:gd name="connsiteX200" fmla="*/ 15919 w 16726"/>
                  <a:gd name="connsiteY200" fmla="*/ 710389 h 3562642"/>
                  <a:gd name="connsiteX201" fmla="*/ 15919 w 16726"/>
                  <a:gd name="connsiteY201" fmla="*/ 743841 h 3562642"/>
                  <a:gd name="connsiteX202" fmla="*/ 7556 w 16726"/>
                  <a:gd name="connsiteY202" fmla="*/ 752204 h 3562642"/>
                  <a:gd name="connsiteX203" fmla="*/ 7556 w 16726"/>
                  <a:gd name="connsiteY203" fmla="*/ 651848 h 3562642"/>
                  <a:gd name="connsiteX204" fmla="*/ -807 w 16726"/>
                  <a:gd name="connsiteY204" fmla="*/ 643485 h 3562642"/>
                  <a:gd name="connsiteX205" fmla="*/ -807 w 16726"/>
                  <a:gd name="connsiteY205" fmla="*/ 610033 h 3562642"/>
                  <a:gd name="connsiteX206" fmla="*/ 7556 w 16726"/>
                  <a:gd name="connsiteY206" fmla="*/ 601670 h 3562642"/>
                  <a:gd name="connsiteX207" fmla="*/ 15919 w 16726"/>
                  <a:gd name="connsiteY207" fmla="*/ 610033 h 3562642"/>
                  <a:gd name="connsiteX208" fmla="*/ 15919 w 16726"/>
                  <a:gd name="connsiteY208" fmla="*/ 643485 h 3562642"/>
                  <a:gd name="connsiteX209" fmla="*/ 7556 w 16726"/>
                  <a:gd name="connsiteY209" fmla="*/ 651848 h 3562642"/>
                  <a:gd name="connsiteX210" fmla="*/ 7556 w 16726"/>
                  <a:gd name="connsiteY210" fmla="*/ 551492 h 3562642"/>
                  <a:gd name="connsiteX211" fmla="*/ -807 w 16726"/>
                  <a:gd name="connsiteY211" fmla="*/ 543129 h 3562642"/>
                  <a:gd name="connsiteX212" fmla="*/ -807 w 16726"/>
                  <a:gd name="connsiteY212" fmla="*/ 509677 h 3562642"/>
                  <a:gd name="connsiteX213" fmla="*/ 7556 w 16726"/>
                  <a:gd name="connsiteY213" fmla="*/ 501314 h 3562642"/>
                  <a:gd name="connsiteX214" fmla="*/ 15919 w 16726"/>
                  <a:gd name="connsiteY214" fmla="*/ 509677 h 3562642"/>
                  <a:gd name="connsiteX215" fmla="*/ 15919 w 16726"/>
                  <a:gd name="connsiteY215" fmla="*/ 543129 h 3562642"/>
                  <a:gd name="connsiteX216" fmla="*/ 7556 w 16726"/>
                  <a:gd name="connsiteY216" fmla="*/ 551492 h 3562642"/>
                  <a:gd name="connsiteX217" fmla="*/ 7556 w 16726"/>
                  <a:gd name="connsiteY217" fmla="*/ 451136 h 3562642"/>
                  <a:gd name="connsiteX218" fmla="*/ -807 w 16726"/>
                  <a:gd name="connsiteY218" fmla="*/ 442773 h 3562642"/>
                  <a:gd name="connsiteX219" fmla="*/ -807 w 16726"/>
                  <a:gd name="connsiteY219" fmla="*/ 409321 h 3562642"/>
                  <a:gd name="connsiteX220" fmla="*/ 7556 w 16726"/>
                  <a:gd name="connsiteY220" fmla="*/ 400958 h 3562642"/>
                  <a:gd name="connsiteX221" fmla="*/ 15919 w 16726"/>
                  <a:gd name="connsiteY221" fmla="*/ 409321 h 3562642"/>
                  <a:gd name="connsiteX222" fmla="*/ 15919 w 16726"/>
                  <a:gd name="connsiteY222" fmla="*/ 442773 h 3562642"/>
                  <a:gd name="connsiteX223" fmla="*/ 7556 w 16726"/>
                  <a:gd name="connsiteY223" fmla="*/ 451136 h 3562642"/>
                  <a:gd name="connsiteX224" fmla="*/ 7556 w 16726"/>
                  <a:gd name="connsiteY224" fmla="*/ 350780 h 3562642"/>
                  <a:gd name="connsiteX225" fmla="*/ -807 w 16726"/>
                  <a:gd name="connsiteY225" fmla="*/ 342417 h 3562642"/>
                  <a:gd name="connsiteX226" fmla="*/ -807 w 16726"/>
                  <a:gd name="connsiteY226" fmla="*/ 308965 h 3562642"/>
                  <a:gd name="connsiteX227" fmla="*/ 7556 w 16726"/>
                  <a:gd name="connsiteY227" fmla="*/ 300602 h 3562642"/>
                  <a:gd name="connsiteX228" fmla="*/ 15919 w 16726"/>
                  <a:gd name="connsiteY228" fmla="*/ 308965 h 3562642"/>
                  <a:gd name="connsiteX229" fmla="*/ 15919 w 16726"/>
                  <a:gd name="connsiteY229" fmla="*/ 342417 h 3562642"/>
                  <a:gd name="connsiteX230" fmla="*/ 7556 w 16726"/>
                  <a:gd name="connsiteY230" fmla="*/ 350780 h 3562642"/>
                  <a:gd name="connsiteX231" fmla="*/ 7556 w 16726"/>
                  <a:gd name="connsiteY231" fmla="*/ 250424 h 3562642"/>
                  <a:gd name="connsiteX232" fmla="*/ -807 w 16726"/>
                  <a:gd name="connsiteY232" fmla="*/ 242060 h 3562642"/>
                  <a:gd name="connsiteX233" fmla="*/ -807 w 16726"/>
                  <a:gd name="connsiteY233" fmla="*/ 208608 h 3562642"/>
                  <a:gd name="connsiteX234" fmla="*/ 7556 w 16726"/>
                  <a:gd name="connsiteY234" fmla="*/ 200245 h 3562642"/>
                  <a:gd name="connsiteX235" fmla="*/ 15919 w 16726"/>
                  <a:gd name="connsiteY235" fmla="*/ 208608 h 3562642"/>
                  <a:gd name="connsiteX236" fmla="*/ 15919 w 16726"/>
                  <a:gd name="connsiteY236" fmla="*/ 242060 h 3562642"/>
                  <a:gd name="connsiteX237" fmla="*/ 7556 w 16726"/>
                  <a:gd name="connsiteY237" fmla="*/ 250424 h 3562642"/>
                  <a:gd name="connsiteX238" fmla="*/ 7556 w 16726"/>
                  <a:gd name="connsiteY238" fmla="*/ 150067 h 3562642"/>
                  <a:gd name="connsiteX239" fmla="*/ -807 w 16726"/>
                  <a:gd name="connsiteY239" fmla="*/ 141704 h 3562642"/>
                  <a:gd name="connsiteX240" fmla="*/ -807 w 16726"/>
                  <a:gd name="connsiteY240" fmla="*/ 108252 h 3562642"/>
                  <a:gd name="connsiteX241" fmla="*/ 7556 w 16726"/>
                  <a:gd name="connsiteY241" fmla="*/ 99889 h 3562642"/>
                  <a:gd name="connsiteX242" fmla="*/ 15919 w 16726"/>
                  <a:gd name="connsiteY242" fmla="*/ 108252 h 3562642"/>
                  <a:gd name="connsiteX243" fmla="*/ 15919 w 16726"/>
                  <a:gd name="connsiteY243" fmla="*/ 141704 h 3562642"/>
                  <a:gd name="connsiteX244" fmla="*/ 7556 w 16726"/>
                  <a:gd name="connsiteY244" fmla="*/ 150067 h 3562642"/>
                  <a:gd name="connsiteX245" fmla="*/ 7556 w 16726"/>
                  <a:gd name="connsiteY245" fmla="*/ 49711 h 3562642"/>
                  <a:gd name="connsiteX246" fmla="*/ -807 w 16726"/>
                  <a:gd name="connsiteY246" fmla="*/ 41348 h 3562642"/>
                  <a:gd name="connsiteX247" fmla="*/ -807 w 16726"/>
                  <a:gd name="connsiteY247" fmla="*/ 7896 h 3562642"/>
                  <a:gd name="connsiteX248" fmla="*/ 7556 w 16726"/>
                  <a:gd name="connsiteY248" fmla="*/ -467 h 3562642"/>
                  <a:gd name="connsiteX249" fmla="*/ 15919 w 16726"/>
                  <a:gd name="connsiteY249" fmla="*/ 7896 h 3562642"/>
                  <a:gd name="connsiteX250" fmla="*/ 15919 w 16726"/>
                  <a:gd name="connsiteY250" fmla="*/ 41348 h 3562642"/>
                  <a:gd name="connsiteX251" fmla="*/ 7556 w 16726"/>
                  <a:gd name="connsiteY251" fmla="*/ 49711 h 35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6726" h="3562642">
                    <a:moveTo>
                      <a:pt x="7556" y="3562176"/>
                    </a:moveTo>
                    <a:cubicBezTo>
                      <a:pt x="2928" y="3562176"/>
                      <a:pt x="-807" y="3558440"/>
                      <a:pt x="-807" y="3553813"/>
                    </a:cubicBezTo>
                    <a:lnTo>
                      <a:pt x="-807" y="3520361"/>
                    </a:lnTo>
                    <a:cubicBezTo>
                      <a:pt x="-807" y="3515733"/>
                      <a:pt x="2928" y="3511998"/>
                      <a:pt x="7556" y="3511998"/>
                    </a:cubicBezTo>
                    <a:cubicBezTo>
                      <a:pt x="12184" y="3511998"/>
                      <a:pt x="15919" y="3515733"/>
                      <a:pt x="15919" y="3520361"/>
                    </a:cubicBezTo>
                    <a:lnTo>
                      <a:pt x="15919" y="3553813"/>
                    </a:lnTo>
                    <a:cubicBezTo>
                      <a:pt x="15919" y="3558440"/>
                      <a:pt x="12184" y="3562176"/>
                      <a:pt x="7556" y="3562176"/>
                    </a:cubicBezTo>
                    <a:close/>
                    <a:moveTo>
                      <a:pt x="7556" y="3461820"/>
                    </a:moveTo>
                    <a:cubicBezTo>
                      <a:pt x="2928" y="3461820"/>
                      <a:pt x="-807" y="3458084"/>
                      <a:pt x="-807" y="3453457"/>
                    </a:cubicBezTo>
                    <a:lnTo>
                      <a:pt x="-807" y="3420005"/>
                    </a:lnTo>
                    <a:cubicBezTo>
                      <a:pt x="-807" y="3415377"/>
                      <a:pt x="2928" y="3411642"/>
                      <a:pt x="7556" y="3411642"/>
                    </a:cubicBezTo>
                    <a:cubicBezTo>
                      <a:pt x="12184" y="3411642"/>
                      <a:pt x="15919" y="3415377"/>
                      <a:pt x="15919" y="3420005"/>
                    </a:cubicBezTo>
                    <a:lnTo>
                      <a:pt x="15919" y="3453457"/>
                    </a:lnTo>
                    <a:cubicBezTo>
                      <a:pt x="15919" y="3458084"/>
                      <a:pt x="12184" y="3461820"/>
                      <a:pt x="7556" y="3461820"/>
                    </a:cubicBezTo>
                    <a:close/>
                    <a:moveTo>
                      <a:pt x="7556" y="3361463"/>
                    </a:moveTo>
                    <a:cubicBezTo>
                      <a:pt x="2928" y="3361463"/>
                      <a:pt x="-807" y="3357728"/>
                      <a:pt x="-807" y="3353100"/>
                    </a:cubicBezTo>
                    <a:lnTo>
                      <a:pt x="-807" y="3319648"/>
                    </a:lnTo>
                    <a:cubicBezTo>
                      <a:pt x="-807" y="3315020"/>
                      <a:pt x="2928" y="3311285"/>
                      <a:pt x="7556" y="3311285"/>
                    </a:cubicBezTo>
                    <a:cubicBezTo>
                      <a:pt x="12184" y="3311285"/>
                      <a:pt x="15919" y="3315020"/>
                      <a:pt x="15919" y="3319648"/>
                    </a:cubicBezTo>
                    <a:lnTo>
                      <a:pt x="15919" y="3353100"/>
                    </a:lnTo>
                    <a:cubicBezTo>
                      <a:pt x="15919" y="3357728"/>
                      <a:pt x="12184" y="3361463"/>
                      <a:pt x="7556" y="3361463"/>
                    </a:cubicBezTo>
                    <a:close/>
                    <a:moveTo>
                      <a:pt x="7556" y="3261107"/>
                    </a:moveTo>
                    <a:cubicBezTo>
                      <a:pt x="2928" y="3261107"/>
                      <a:pt x="-807" y="3257372"/>
                      <a:pt x="-807" y="3252744"/>
                    </a:cubicBezTo>
                    <a:lnTo>
                      <a:pt x="-807" y="3219292"/>
                    </a:lnTo>
                    <a:cubicBezTo>
                      <a:pt x="-807" y="3214664"/>
                      <a:pt x="2928" y="3210929"/>
                      <a:pt x="7556" y="3210929"/>
                    </a:cubicBezTo>
                    <a:cubicBezTo>
                      <a:pt x="12184" y="3210929"/>
                      <a:pt x="15919" y="3214664"/>
                      <a:pt x="15919" y="3219292"/>
                    </a:cubicBezTo>
                    <a:lnTo>
                      <a:pt x="15919" y="3252744"/>
                    </a:lnTo>
                    <a:cubicBezTo>
                      <a:pt x="15919" y="3257372"/>
                      <a:pt x="12184" y="3261107"/>
                      <a:pt x="7556" y="3261107"/>
                    </a:cubicBezTo>
                    <a:close/>
                    <a:moveTo>
                      <a:pt x="7556" y="3160751"/>
                    </a:moveTo>
                    <a:cubicBezTo>
                      <a:pt x="2928" y="3160751"/>
                      <a:pt x="-807" y="3157015"/>
                      <a:pt x="-807" y="3152388"/>
                    </a:cubicBezTo>
                    <a:lnTo>
                      <a:pt x="-807" y="3118936"/>
                    </a:lnTo>
                    <a:cubicBezTo>
                      <a:pt x="-807" y="3114308"/>
                      <a:pt x="2928" y="3110573"/>
                      <a:pt x="7556" y="3110573"/>
                    </a:cubicBezTo>
                    <a:cubicBezTo>
                      <a:pt x="12184" y="3110573"/>
                      <a:pt x="15919" y="3114308"/>
                      <a:pt x="15919" y="3118936"/>
                    </a:cubicBezTo>
                    <a:lnTo>
                      <a:pt x="15919" y="3152388"/>
                    </a:lnTo>
                    <a:cubicBezTo>
                      <a:pt x="15919" y="3157015"/>
                      <a:pt x="12184" y="3160751"/>
                      <a:pt x="7556" y="3160751"/>
                    </a:cubicBezTo>
                    <a:close/>
                    <a:moveTo>
                      <a:pt x="7556" y="3060395"/>
                    </a:moveTo>
                    <a:cubicBezTo>
                      <a:pt x="2928" y="3060395"/>
                      <a:pt x="-807" y="3056659"/>
                      <a:pt x="-807" y="3052032"/>
                    </a:cubicBezTo>
                    <a:lnTo>
                      <a:pt x="-807" y="3018580"/>
                    </a:lnTo>
                    <a:cubicBezTo>
                      <a:pt x="-807" y="3013952"/>
                      <a:pt x="2928" y="3010217"/>
                      <a:pt x="7556" y="3010217"/>
                    </a:cubicBezTo>
                    <a:cubicBezTo>
                      <a:pt x="12184" y="3010217"/>
                      <a:pt x="15919" y="3013952"/>
                      <a:pt x="15919" y="3018580"/>
                    </a:cubicBezTo>
                    <a:lnTo>
                      <a:pt x="15919" y="3052032"/>
                    </a:lnTo>
                    <a:cubicBezTo>
                      <a:pt x="15919" y="3056659"/>
                      <a:pt x="12184" y="3060395"/>
                      <a:pt x="7556" y="3060395"/>
                    </a:cubicBezTo>
                    <a:close/>
                    <a:moveTo>
                      <a:pt x="7556" y="2960039"/>
                    </a:moveTo>
                    <a:cubicBezTo>
                      <a:pt x="2928" y="2960039"/>
                      <a:pt x="-807" y="2956303"/>
                      <a:pt x="-807" y="2951676"/>
                    </a:cubicBezTo>
                    <a:lnTo>
                      <a:pt x="-807" y="2918224"/>
                    </a:lnTo>
                    <a:cubicBezTo>
                      <a:pt x="-807" y="2913596"/>
                      <a:pt x="2928" y="2909861"/>
                      <a:pt x="7556" y="2909861"/>
                    </a:cubicBezTo>
                    <a:cubicBezTo>
                      <a:pt x="12184" y="2909861"/>
                      <a:pt x="15919" y="2913596"/>
                      <a:pt x="15919" y="2918224"/>
                    </a:cubicBezTo>
                    <a:lnTo>
                      <a:pt x="15919" y="2951676"/>
                    </a:lnTo>
                    <a:cubicBezTo>
                      <a:pt x="15919" y="2956303"/>
                      <a:pt x="12184" y="2960039"/>
                      <a:pt x="7556" y="2960039"/>
                    </a:cubicBezTo>
                    <a:close/>
                    <a:moveTo>
                      <a:pt x="7556" y="2859683"/>
                    </a:moveTo>
                    <a:cubicBezTo>
                      <a:pt x="2928" y="2859683"/>
                      <a:pt x="-807" y="2855947"/>
                      <a:pt x="-807" y="2851320"/>
                    </a:cubicBezTo>
                    <a:lnTo>
                      <a:pt x="-807" y="2817868"/>
                    </a:lnTo>
                    <a:cubicBezTo>
                      <a:pt x="-807" y="2813240"/>
                      <a:pt x="2928" y="2809505"/>
                      <a:pt x="7556" y="2809505"/>
                    </a:cubicBezTo>
                    <a:cubicBezTo>
                      <a:pt x="12184" y="2809505"/>
                      <a:pt x="15919" y="2813240"/>
                      <a:pt x="15919" y="2817868"/>
                    </a:cubicBezTo>
                    <a:lnTo>
                      <a:pt x="15919" y="2851320"/>
                    </a:lnTo>
                    <a:cubicBezTo>
                      <a:pt x="15919" y="2855947"/>
                      <a:pt x="12184" y="2859683"/>
                      <a:pt x="7556" y="2859683"/>
                    </a:cubicBezTo>
                    <a:close/>
                    <a:moveTo>
                      <a:pt x="7556" y="2759327"/>
                    </a:moveTo>
                    <a:cubicBezTo>
                      <a:pt x="2928" y="2759327"/>
                      <a:pt x="-807" y="2755591"/>
                      <a:pt x="-807" y="2750964"/>
                    </a:cubicBezTo>
                    <a:lnTo>
                      <a:pt x="-807" y="2717512"/>
                    </a:lnTo>
                    <a:cubicBezTo>
                      <a:pt x="-807" y="2712884"/>
                      <a:pt x="2928" y="2709149"/>
                      <a:pt x="7556" y="2709149"/>
                    </a:cubicBezTo>
                    <a:cubicBezTo>
                      <a:pt x="12184" y="2709149"/>
                      <a:pt x="15919" y="2712884"/>
                      <a:pt x="15919" y="2717512"/>
                    </a:cubicBezTo>
                    <a:lnTo>
                      <a:pt x="15919" y="2750964"/>
                    </a:lnTo>
                    <a:cubicBezTo>
                      <a:pt x="15919" y="2755591"/>
                      <a:pt x="12184" y="2759327"/>
                      <a:pt x="7556" y="2759327"/>
                    </a:cubicBezTo>
                    <a:close/>
                    <a:moveTo>
                      <a:pt x="7556" y="2658971"/>
                    </a:moveTo>
                    <a:cubicBezTo>
                      <a:pt x="2928" y="2658971"/>
                      <a:pt x="-807" y="2655235"/>
                      <a:pt x="-807" y="2650608"/>
                    </a:cubicBezTo>
                    <a:lnTo>
                      <a:pt x="-807" y="2617156"/>
                    </a:lnTo>
                    <a:cubicBezTo>
                      <a:pt x="-807" y="2612539"/>
                      <a:pt x="2928" y="2608793"/>
                      <a:pt x="7556" y="2608793"/>
                    </a:cubicBezTo>
                    <a:cubicBezTo>
                      <a:pt x="12184" y="2608793"/>
                      <a:pt x="15919" y="2612539"/>
                      <a:pt x="15919" y="2617156"/>
                    </a:cubicBezTo>
                    <a:lnTo>
                      <a:pt x="15919" y="2650608"/>
                    </a:lnTo>
                    <a:cubicBezTo>
                      <a:pt x="15919" y="2655235"/>
                      <a:pt x="12184" y="2658971"/>
                      <a:pt x="7556" y="2658971"/>
                    </a:cubicBezTo>
                    <a:close/>
                    <a:moveTo>
                      <a:pt x="7556" y="2558614"/>
                    </a:moveTo>
                    <a:cubicBezTo>
                      <a:pt x="2928" y="2558614"/>
                      <a:pt x="-807" y="2554868"/>
                      <a:pt x="-807" y="2550251"/>
                    </a:cubicBezTo>
                    <a:lnTo>
                      <a:pt x="-807" y="2516799"/>
                    </a:lnTo>
                    <a:cubicBezTo>
                      <a:pt x="-807" y="2512183"/>
                      <a:pt x="2928" y="2508436"/>
                      <a:pt x="7556" y="2508436"/>
                    </a:cubicBezTo>
                    <a:cubicBezTo>
                      <a:pt x="12184" y="2508436"/>
                      <a:pt x="15919" y="2512183"/>
                      <a:pt x="15919" y="2516799"/>
                    </a:cubicBezTo>
                    <a:lnTo>
                      <a:pt x="15919" y="2550251"/>
                    </a:lnTo>
                    <a:cubicBezTo>
                      <a:pt x="15919" y="2554868"/>
                      <a:pt x="12184" y="2558614"/>
                      <a:pt x="7556" y="2558614"/>
                    </a:cubicBezTo>
                    <a:close/>
                    <a:moveTo>
                      <a:pt x="7556" y="2458258"/>
                    </a:moveTo>
                    <a:cubicBezTo>
                      <a:pt x="2928" y="2458258"/>
                      <a:pt x="-807" y="2454512"/>
                      <a:pt x="-807" y="2449895"/>
                    </a:cubicBezTo>
                    <a:lnTo>
                      <a:pt x="-807" y="2416443"/>
                    </a:lnTo>
                    <a:cubicBezTo>
                      <a:pt x="-807" y="2411827"/>
                      <a:pt x="2928" y="2408080"/>
                      <a:pt x="7556" y="2408080"/>
                    </a:cubicBezTo>
                    <a:cubicBezTo>
                      <a:pt x="12184" y="2408080"/>
                      <a:pt x="15919" y="2411827"/>
                      <a:pt x="15919" y="2416443"/>
                    </a:cubicBezTo>
                    <a:lnTo>
                      <a:pt x="15919" y="2449895"/>
                    </a:lnTo>
                    <a:cubicBezTo>
                      <a:pt x="15919" y="2454512"/>
                      <a:pt x="12184" y="2458258"/>
                      <a:pt x="7556" y="2458258"/>
                    </a:cubicBezTo>
                    <a:close/>
                    <a:moveTo>
                      <a:pt x="7556" y="2357902"/>
                    </a:moveTo>
                    <a:cubicBezTo>
                      <a:pt x="2928" y="2357902"/>
                      <a:pt x="-807" y="2354156"/>
                      <a:pt x="-807" y="2349539"/>
                    </a:cubicBezTo>
                    <a:lnTo>
                      <a:pt x="-807" y="2316087"/>
                    </a:lnTo>
                    <a:cubicBezTo>
                      <a:pt x="-807" y="2311471"/>
                      <a:pt x="2928" y="2307724"/>
                      <a:pt x="7556" y="2307724"/>
                    </a:cubicBezTo>
                    <a:cubicBezTo>
                      <a:pt x="12184" y="2307724"/>
                      <a:pt x="15919" y="2311471"/>
                      <a:pt x="15919" y="2316087"/>
                    </a:cubicBezTo>
                    <a:lnTo>
                      <a:pt x="15919" y="2349539"/>
                    </a:lnTo>
                    <a:cubicBezTo>
                      <a:pt x="15919" y="2354156"/>
                      <a:pt x="12184" y="2357902"/>
                      <a:pt x="7556" y="2357902"/>
                    </a:cubicBezTo>
                    <a:close/>
                    <a:moveTo>
                      <a:pt x="7556" y="2257546"/>
                    </a:moveTo>
                    <a:cubicBezTo>
                      <a:pt x="2928" y="2257546"/>
                      <a:pt x="-807" y="2253799"/>
                      <a:pt x="-807" y="2249183"/>
                    </a:cubicBezTo>
                    <a:lnTo>
                      <a:pt x="-807" y="2215731"/>
                    </a:lnTo>
                    <a:cubicBezTo>
                      <a:pt x="-807" y="2211115"/>
                      <a:pt x="2928" y="2207368"/>
                      <a:pt x="7556" y="2207368"/>
                    </a:cubicBezTo>
                    <a:cubicBezTo>
                      <a:pt x="12184" y="2207368"/>
                      <a:pt x="15919" y="2211115"/>
                      <a:pt x="15919" y="2215731"/>
                    </a:cubicBezTo>
                    <a:lnTo>
                      <a:pt x="15919" y="2249183"/>
                    </a:lnTo>
                    <a:cubicBezTo>
                      <a:pt x="15919" y="2253799"/>
                      <a:pt x="12184" y="2257546"/>
                      <a:pt x="7556" y="2257546"/>
                    </a:cubicBezTo>
                    <a:close/>
                    <a:moveTo>
                      <a:pt x="7556" y="2157190"/>
                    </a:moveTo>
                    <a:cubicBezTo>
                      <a:pt x="2928" y="2157190"/>
                      <a:pt x="-807" y="2153443"/>
                      <a:pt x="-807" y="2148827"/>
                    </a:cubicBezTo>
                    <a:lnTo>
                      <a:pt x="-807" y="2115375"/>
                    </a:lnTo>
                    <a:cubicBezTo>
                      <a:pt x="-807" y="2110759"/>
                      <a:pt x="2928" y="2107012"/>
                      <a:pt x="7556" y="2107012"/>
                    </a:cubicBezTo>
                    <a:cubicBezTo>
                      <a:pt x="12184" y="2107012"/>
                      <a:pt x="15919" y="2110759"/>
                      <a:pt x="15919" y="2115375"/>
                    </a:cubicBezTo>
                    <a:lnTo>
                      <a:pt x="15919" y="2148827"/>
                    </a:lnTo>
                    <a:cubicBezTo>
                      <a:pt x="15919" y="2153443"/>
                      <a:pt x="12184" y="2157190"/>
                      <a:pt x="7556" y="2157190"/>
                    </a:cubicBezTo>
                    <a:close/>
                    <a:moveTo>
                      <a:pt x="7556" y="2056834"/>
                    </a:moveTo>
                    <a:cubicBezTo>
                      <a:pt x="2928" y="2056834"/>
                      <a:pt x="-807" y="2053087"/>
                      <a:pt x="-807" y="2048471"/>
                    </a:cubicBezTo>
                    <a:lnTo>
                      <a:pt x="-807" y="2015019"/>
                    </a:lnTo>
                    <a:cubicBezTo>
                      <a:pt x="-807" y="2010402"/>
                      <a:pt x="2928" y="2006656"/>
                      <a:pt x="7556" y="2006656"/>
                    </a:cubicBezTo>
                    <a:cubicBezTo>
                      <a:pt x="12184" y="2006656"/>
                      <a:pt x="15919" y="2010402"/>
                      <a:pt x="15919" y="2015019"/>
                    </a:cubicBezTo>
                    <a:lnTo>
                      <a:pt x="15919" y="2048471"/>
                    </a:lnTo>
                    <a:cubicBezTo>
                      <a:pt x="15919" y="2053087"/>
                      <a:pt x="12184" y="2056834"/>
                      <a:pt x="7556" y="2056834"/>
                    </a:cubicBezTo>
                    <a:close/>
                    <a:moveTo>
                      <a:pt x="7556" y="1956478"/>
                    </a:moveTo>
                    <a:cubicBezTo>
                      <a:pt x="2928" y="1956478"/>
                      <a:pt x="-807" y="1952731"/>
                      <a:pt x="-807" y="1948115"/>
                    </a:cubicBezTo>
                    <a:lnTo>
                      <a:pt x="-807" y="1914663"/>
                    </a:lnTo>
                    <a:cubicBezTo>
                      <a:pt x="-807" y="1910046"/>
                      <a:pt x="2928" y="1906300"/>
                      <a:pt x="7556" y="1906300"/>
                    </a:cubicBezTo>
                    <a:cubicBezTo>
                      <a:pt x="12184" y="1906300"/>
                      <a:pt x="15919" y="1910046"/>
                      <a:pt x="15919" y="1914663"/>
                    </a:cubicBezTo>
                    <a:lnTo>
                      <a:pt x="15919" y="1948115"/>
                    </a:lnTo>
                    <a:cubicBezTo>
                      <a:pt x="15919" y="1952731"/>
                      <a:pt x="12184" y="1956478"/>
                      <a:pt x="7556" y="1956478"/>
                    </a:cubicBezTo>
                    <a:close/>
                    <a:moveTo>
                      <a:pt x="7556" y="1856122"/>
                    </a:moveTo>
                    <a:cubicBezTo>
                      <a:pt x="2928" y="1856122"/>
                      <a:pt x="-807" y="1852375"/>
                      <a:pt x="-807" y="1847759"/>
                    </a:cubicBezTo>
                    <a:lnTo>
                      <a:pt x="-807" y="1814306"/>
                    </a:lnTo>
                    <a:cubicBezTo>
                      <a:pt x="-807" y="1809690"/>
                      <a:pt x="2928" y="1805943"/>
                      <a:pt x="7556" y="1805943"/>
                    </a:cubicBezTo>
                    <a:cubicBezTo>
                      <a:pt x="12184" y="1805943"/>
                      <a:pt x="15919" y="1809690"/>
                      <a:pt x="15919" y="1814306"/>
                    </a:cubicBezTo>
                    <a:lnTo>
                      <a:pt x="15919" y="1847759"/>
                    </a:lnTo>
                    <a:cubicBezTo>
                      <a:pt x="15919" y="1852375"/>
                      <a:pt x="12184" y="1856122"/>
                      <a:pt x="7556" y="1856122"/>
                    </a:cubicBezTo>
                    <a:close/>
                    <a:moveTo>
                      <a:pt x="7556" y="1755765"/>
                    </a:moveTo>
                    <a:cubicBezTo>
                      <a:pt x="2928" y="1755765"/>
                      <a:pt x="-807" y="1752019"/>
                      <a:pt x="-807" y="1747402"/>
                    </a:cubicBezTo>
                    <a:lnTo>
                      <a:pt x="-807" y="1713950"/>
                    </a:lnTo>
                    <a:cubicBezTo>
                      <a:pt x="-807" y="1709334"/>
                      <a:pt x="2928" y="1705587"/>
                      <a:pt x="7556" y="1705587"/>
                    </a:cubicBezTo>
                    <a:cubicBezTo>
                      <a:pt x="12184" y="1705587"/>
                      <a:pt x="15919" y="1709334"/>
                      <a:pt x="15919" y="1713950"/>
                    </a:cubicBezTo>
                    <a:lnTo>
                      <a:pt x="15919" y="1747402"/>
                    </a:lnTo>
                    <a:cubicBezTo>
                      <a:pt x="15919" y="1752019"/>
                      <a:pt x="12184" y="1755765"/>
                      <a:pt x="7556" y="1755765"/>
                    </a:cubicBezTo>
                    <a:close/>
                    <a:moveTo>
                      <a:pt x="7556" y="1655409"/>
                    </a:moveTo>
                    <a:cubicBezTo>
                      <a:pt x="2928" y="1655409"/>
                      <a:pt x="-807" y="1651663"/>
                      <a:pt x="-807" y="1647046"/>
                    </a:cubicBezTo>
                    <a:lnTo>
                      <a:pt x="-807" y="1613594"/>
                    </a:lnTo>
                    <a:cubicBezTo>
                      <a:pt x="-807" y="1608978"/>
                      <a:pt x="2928" y="1605231"/>
                      <a:pt x="7556" y="1605231"/>
                    </a:cubicBezTo>
                    <a:cubicBezTo>
                      <a:pt x="12184" y="1605231"/>
                      <a:pt x="15919" y="1608978"/>
                      <a:pt x="15919" y="1613594"/>
                    </a:cubicBezTo>
                    <a:lnTo>
                      <a:pt x="15919" y="1647046"/>
                    </a:lnTo>
                    <a:cubicBezTo>
                      <a:pt x="15919" y="1651663"/>
                      <a:pt x="12184" y="1655409"/>
                      <a:pt x="7556" y="1655409"/>
                    </a:cubicBezTo>
                    <a:close/>
                    <a:moveTo>
                      <a:pt x="7556" y="1555053"/>
                    </a:moveTo>
                    <a:cubicBezTo>
                      <a:pt x="2928" y="1555053"/>
                      <a:pt x="-807" y="1551307"/>
                      <a:pt x="-807" y="1546690"/>
                    </a:cubicBezTo>
                    <a:lnTo>
                      <a:pt x="-807" y="1513238"/>
                    </a:lnTo>
                    <a:cubicBezTo>
                      <a:pt x="-807" y="1508622"/>
                      <a:pt x="2928" y="1504875"/>
                      <a:pt x="7556" y="1504875"/>
                    </a:cubicBezTo>
                    <a:cubicBezTo>
                      <a:pt x="12184" y="1504875"/>
                      <a:pt x="15919" y="1508622"/>
                      <a:pt x="15919" y="1513238"/>
                    </a:cubicBezTo>
                    <a:lnTo>
                      <a:pt x="15919" y="1546690"/>
                    </a:lnTo>
                    <a:cubicBezTo>
                      <a:pt x="15919" y="1551307"/>
                      <a:pt x="12184" y="1555053"/>
                      <a:pt x="7556" y="1555053"/>
                    </a:cubicBezTo>
                    <a:close/>
                    <a:moveTo>
                      <a:pt x="7556" y="1454697"/>
                    </a:moveTo>
                    <a:cubicBezTo>
                      <a:pt x="2928" y="1454697"/>
                      <a:pt x="-807" y="1450950"/>
                      <a:pt x="-807" y="1446334"/>
                    </a:cubicBezTo>
                    <a:lnTo>
                      <a:pt x="-807" y="1412882"/>
                    </a:lnTo>
                    <a:cubicBezTo>
                      <a:pt x="-807" y="1408266"/>
                      <a:pt x="2928" y="1404519"/>
                      <a:pt x="7556" y="1404519"/>
                    </a:cubicBezTo>
                    <a:cubicBezTo>
                      <a:pt x="12184" y="1404519"/>
                      <a:pt x="15919" y="1408266"/>
                      <a:pt x="15919" y="1412882"/>
                    </a:cubicBezTo>
                    <a:lnTo>
                      <a:pt x="15919" y="1446334"/>
                    </a:lnTo>
                    <a:cubicBezTo>
                      <a:pt x="15919" y="1450950"/>
                      <a:pt x="12184" y="1454697"/>
                      <a:pt x="7556" y="1454697"/>
                    </a:cubicBezTo>
                    <a:close/>
                    <a:moveTo>
                      <a:pt x="7556" y="1354341"/>
                    </a:moveTo>
                    <a:cubicBezTo>
                      <a:pt x="2928" y="1354341"/>
                      <a:pt x="-807" y="1350594"/>
                      <a:pt x="-807" y="1345978"/>
                    </a:cubicBezTo>
                    <a:lnTo>
                      <a:pt x="-807" y="1312526"/>
                    </a:lnTo>
                    <a:cubicBezTo>
                      <a:pt x="-807" y="1307909"/>
                      <a:pt x="2928" y="1304163"/>
                      <a:pt x="7556" y="1304163"/>
                    </a:cubicBezTo>
                    <a:cubicBezTo>
                      <a:pt x="12184" y="1304163"/>
                      <a:pt x="15919" y="1307909"/>
                      <a:pt x="15919" y="1312526"/>
                    </a:cubicBezTo>
                    <a:lnTo>
                      <a:pt x="15919" y="1345978"/>
                    </a:lnTo>
                    <a:cubicBezTo>
                      <a:pt x="15919" y="1350594"/>
                      <a:pt x="12184" y="1354341"/>
                      <a:pt x="7556" y="1354341"/>
                    </a:cubicBezTo>
                    <a:close/>
                    <a:moveTo>
                      <a:pt x="7556" y="1253985"/>
                    </a:moveTo>
                    <a:cubicBezTo>
                      <a:pt x="2928" y="1253985"/>
                      <a:pt x="-807" y="1250238"/>
                      <a:pt x="-807" y="1245622"/>
                    </a:cubicBezTo>
                    <a:lnTo>
                      <a:pt x="-807" y="1212170"/>
                    </a:lnTo>
                    <a:cubicBezTo>
                      <a:pt x="-807" y="1207553"/>
                      <a:pt x="2928" y="1203807"/>
                      <a:pt x="7556" y="1203807"/>
                    </a:cubicBezTo>
                    <a:cubicBezTo>
                      <a:pt x="12184" y="1203807"/>
                      <a:pt x="15919" y="1207553"/>
                      <a:pt x="15919" y="1212170"/>
                    </a:cubicBezTo>
                    <a:lnTo>
                      <a:pt x="15919" y="1245622"/>
                    </a:lnTo>
                    <a:cubicBezTo>
                      <a:pt x="15919" y="1250238"/>
                      <a:pt x="12184" y="1253985"/>
                      <a:pt x="7556" y="1253985"/>
                    </a:cubicBezTo>
                    <a:close/>
                    <a:moveTo>
                      <a:pt x="7556" y="1153629"/>
                    </a:moveTo>
                    <a:cubicBezTo>
                      <a:pt x="2928" y="1153629"/>
                      <a:pt x="-807" y="1149882"/>
                      <a:pt x="-807" y="1145266"/>
                    </a:cubicBezTo>
                    <a:lnTo>
                      <a:pt x="-807" y="1111814"/>
                    </a:lnTo>
                    <a:cubicBezTo>
                      <a:pt x="-807" y="1107197"/>
                      <a:pt x="2928" y="1103451"/>
                      <a:pt x="7556" y="1103451"/>
                    </a:cubicBezTo>
                    <a:cubicBezTo>
                      <a:pt x="12184" y="1103451"/>
                      <a:pt x="15919" y="1107197"/>
                      <a:pt x="15919" y="1111814"/>
                    </a:cubicBezTo>
                    <a:lnTo>
                      <a:pt x="15919" y="1145266"/>
                    </a:lnTo>
                    <a:cubicBezTo>
                      <a:pt x="15919" y="1149882"/>
                      <a:pt x="12184" y="1153629"/>
                      <a:pt x="7556" y="1153629"/>
                    </a:cubicBezTo>
                    <a:close/>
                    <a:moveTo>
                      <a:pt x="7556" y="1053273"/>
                    </a:moveTo>
                    <a:cubicBezTo>
                      <a:pt x="2928" y="1053273"/>
                      <a:pt x="-807" y="1049526"/>
                      <a:pt x="-807" y="1044910"/>
                    </a:cubicBezTo>
                    <a:lnTo>
                      <a:pt x="-807" y="1011457"/>
                    </a:lnTo>
                    <a:cubicBezTo>
                      <a:pt x="-807" y="1006841"/>
                      <a:pt x="2928" y="1003094"/>
                      <a:pt x="7556" y="1003094"/>
                    </a:cubicBezTo>
                    <a:cubicBezTo>
                      <a:pt x="12184" y="1003094"/>
                      <a:pt x="15919" y="1006841"/>
                      <a:pt x="15919" y="1011457"/>
                    </a:cubicBezTo>
                    <a:lnTo>
                      <a:pt x="15919" y="1044910"/>
                    </a:lnTo>
                    <a:cubicBezTo>
                      <a:pt x="15919" y="1049526"/>
                      <a:pt x="12184" y="1053273"/>
                      <a:pt x="7556" y="1053273"/>
                    </a:cubicBezTo>
                    <a:close/>
                    <a:moveTo>
                      <a:pt x="7556" y="952916"/>
                    </a:moveTo>
                    <a:cubicBezTo>
                      <a:pt x="2928" y="952916"/>
                      <a:pt x="-807" y="949170"/>
                      <a:pt x="-807" y="944553"/>
                    </a:cubicBezTo>
                    <a:lnTo>
                      <a:pt x="-807" y="911101"/>
                    </a:lnTo>
                    <a:cubicBezTo>
                      <a:pt x="-807" y="906485"/>
                      <a:pt x="2928" y="902738"/>
                      <a:pt x="7556" y="902738"/>
                    </a:cubicBezTo>
                    <a:cubicBezTo>
                      <a:pt x="12184" y="902738"/>
                      <a:pt x="15919" y="906485"/>
                      <a:pt x="15919" y="911101"/>
                    </a:cubicBezTo>
                    <a:lnTo>
                      <a:pt x="15919" y="944553"/>
                    </a:lnTo>
                    <a:cubicBezTo>
                      <a:pt x="15919" y="949170"/>
                      <a:pt x="12184" y="952916"/>
                      <a:pt x="7556" y="952916"/>
                    </a:cubicBezTo>
                    <a:close/>
                    <a:moveTo>
                      <a:pt x="7556" y="852560"/>
                    </a:moveTo>
                    <a:cubicBezTo>
                      <a:pt x="2928" y="852560"/>
                      <a:pt x="-807" y="848814"/>
                      <a:pt x="-807" y="844197"/>
                    </a:cubicBezTo>
                    <a:lnTo>
                      <a:pt x="-807" y="810745"/>
                    </a:lnTo>
                    <a:cubicBezTo>
                      <a:pt x="-807" y="806129"/>
                      <a:pt x="2928" y="802382"/>
                      <a:pt x="7556" y="802382"/>
                    </a:cubicBezTo>
                    <a:cubicBezTo>
                      <a:pt x="12184" y="802382"/>
                      <a:pt x="15919" y="806129"/>
                      <a:pt x="15919" y="810745"/>
                    </a:cubicBezTo>
                    <a:lnTo>
                      <a:pt x="15919" y="844197"/>
                    </a:lnTo>
                    <a:cubicBezTo>
                      <a:pt x="15919" y="848814"/>
                      <a:pt x="12184" y="852560"/>
                      <a:pt x="7556" y="852560"/>
                    </a:cubicBezTo>
                    <a:close/>
                    <a:moveTo>
                      <a:pt x="7556" y="752204"/>
                    </a:moveTo>
                    <a:cubicBezTo>
                      <a:pt x="2928" y="752204"/>
                      <a:pt x="-807" y="748458"/>
                      <a:pt x="-807" y="743841"/>
                    </a:cubicBezTo>
                    <a:lnTo>
                      <a:pt x="-807" y="710389"/>
                    </a:lnTo>
                    <a:cubicBezTo>
                      <a:pt x="-807" y="705773"/>
                      <a:pt x="2928" y="702026"/>
                      <a:pt x="7556" y="702026"/>
                    </a:cubicBezTo>
                    <a:cubicBezTo>
                      <a:pt x="12184" y="702026"/>
                      <a:pt x="15919" y="705773"/>
                      <a:pt x="15919" y="710389"/>
                    </a:cubicBezTo>
                    <a:lnTo>
                      <a:pt x="15919" y="743841"/>
                    </a:lnTo>
                    <a:cubicBezTo>
                      <a:pt x="15919" y="748458"/>
                      <a:pt x="12184" y="752204"/>
                      <a:pt x="7556" y="752204"/>
                    </a:cubicBezTo>
                    <a:close/>
                    <a:moveTo>
                      <a:pt x="7556" y="651848"/>
                    </a:moveTo>
                    <a:cubicBezTo>
                      <a:pt x="2928" y="651848"/>
                      <a:pt x="-807" y="648101"/>
                      <a:pt x="-807" y="643485"/>
                    </a:cubicBezTo>
                    <a:lnTo>
                      <a:pt x="-807" y="610033"/>
                    </a:lnTo>
                    <a:cubicBezTo>
                      <a:pt x="-807" y="605417"/>
                      <a:pt x="2928" y="601670"/>
                      <a:pt x="7556" y="601670"/>
                    </a:cubicBezTo>
                    <a:cubicBezTo>
                      <a:pt x="12184" y="601670"/>
                      <a:pt x="15919" y="605417"/>
                      <a:pt x="15919" y="610033"/>
                    </a:cubicBezTo>
                    <a:lnTo>
                      <a:pt x="15919" y="643485"/>
                    </a:lnTo>
                    <a:cubicBezTo>
                      <a:pt x="15919" y="648101"/>
                      <a:pt x="12184" y="651848"/>
                      <a:pt x="7556" y="651848"/>
                    </a:cubicBezTo>
                    <a:close/>
                    <a:moveTo>
                      <a:pt x="7556" y="551492"/>
                    </a:moveTo>
                    <a:cubicBezTo>
                      <a:pt x="2928" y="551492"/>
                      <a:pt x="-807" y="547745"/>
                      <a:pt x="-807" y="543129"/>
                    </a:cubicBezTo>
                    <a:lnTo>
                      <a:pt x="-807" y="509677"/>
                    </a:lnTo>
                    <a:cubicBezTo>
                      <a:pt x="-807" y="505060"/>
                      <a:pt x="2928" y="501314"/>
                      <a:pt x="7556" y="501314"/>
                    </a:cubicBezTo>
                    <a:cubicBezTo>
                      <a:pt x="12184" y="501314"/>
                      <a:pt x="15919" y="505060"/>
                      <a:pt x="15919" y="509677"/>
                    </a:cubicBezTo>
                    <a:lnTo>
                      <a:pt x="15919" y="543129"/>
                    </a:lnTo>
                    <a:cubicBezTo>
                      <a:pt x="15919" y="547745"/>
                      <a:pt x="12184" y="551492"/>
                      <a:pt x="7556" y="551492"/>
                    </a:cubicBezTo>
                    <a:close/>
                    <a:moveTo>
                      <a:pt x="7556" y="451136"/>
                    </a:moveTo>
                    <a:cubicBezTo>
                      <a:pt x="2928" y="451136"/>
                      <a:pt x="-807" y="447389"/>
                      <a:pt x="-807" y="442773"/>
                    </a:cubicBezTo>
                    <a:lnTo>
                      <a:pt x="-807" y="409321"/>
                    </a:lnTo>
                    <a:cubicBezTo>
                      <a:pt x="-807" y="404704"/>
                      <a:pt x="2928" y="400958"/>
                      <a:pt x="7556" y="400958"/>
                    </a:cubicBezTo>
                    <a:cubicBezTo>
                      <a:pt x="12184" y="400958"/>
                      <a:pt x="15919" y="404704"/>
                      <a:pt x="15919" y="409321"/>
                    </a:cubicBezTo>
                    <a:lnTo>
                      <a:pt x="15919" y="442773"/>
                    </a:lnTo>
                    <a:cubicBezTo>
                      <a:pt x="15919" y="447389"/>
                      <a:pt x="12184" y="451136"/>
                      <a:pt x="7556" y="451136"/>
                    </a:cubicBezTo>
                    <a:close/>
                    <a:moveTo>
                      <a:pt x="7556" y="350780"/>
                    </a:moveTo>
                    <a:cubicBezTo>
                      <a:pt x="2928" y="350780"/>
                      <a:pt x="-807" y="347033"/>
                      <a:pt x="-807" y="342417"/>
                    </a:cubicBezTo>
                    <a:lnTo>
                      <a:pt x="-807" y="308965"/>
                    </a:lnTo>
                    <a:cubicBezTo>
                      <a:pt x="-807" y="304348"/>
                      <a:pt x="2928" y="300602"/>
                      <a:pt x="7556" y="300602"/>
                    </a:cubicBezTo>
                    <a:cubicBezTo>
                      <a:pt x="12184" y="300602"/>
                      <a:pt x="15919" y="304348"/>
                      <a:pt x="15919" y="308965"/>
                    </a:cubicBezTo>
                    <a:lnTo>
                      <a:pt x="15919" y="342417"/>
                    </a:lnTo>
                    <a:cubicBezTo>
                      <a:pt x="15919" y="347033"/>
                      <a:pt x="12184" y="350780"/>
                      <a:pt x="7556" y="350780"/>
                    </a:cubicBezTo>
                    <a:close/>
                    <a:moveTo>
                      <a:pt x="7556" y="250424"/>
                    </a:moveTo>
                    <a:cubicBezTo>
                      <a:pt x="2928" y="250424"/>
                      <a:pt x="-807" y="246677"/>
                      <a:pt x="-807" y="242060"/>
                    </a:cubicBezTo>
                    <a:lnTo>
                      <a:pt x="-807" y="208608"/>
                    </a:lnTo>
                    <a:cubicBezTo>
                      <a:pt x="-807" y="203992"/>
                      <a:pt x="2928" y="200245"/>
                      <a:pt x="7556" y="200245"/>
                    </a:cubicBezTo>
                    <a:cubicBezTo>
                      <a:pt x="12184" y="200245"/>
                      <a:pt x="15919" y="203992"/>
                      <a:pt x="15919" y="208608"/>
                    </a:cubicBezTo>
                    <a:lnTo>
                      <a:pt x="15919" y="242060"/>
                    </a:lnTo>
                    <a:cubicBezTo>
                      <a:pt x="15919" y="246677"/>
                      <a:pt x="12184" y="250424"/>
                      <a:pt x="7556" y="250424"/>
                    </a:cubicBezTo>
                    <a:close/>
                    <a:moveTo>
                      <a:pt x="7556" y="150067"/>
                    </a:moveTo>
                    <a:cubicBezTo>
                      <a:pt x="2928" y="150067"/>
                      <a:pt x="-807" y="146321"/>
                      <a:pt x="-807" y="141704"/>
                    </a:cubicBezTo>
                    <a:lnTo>
                      <a:pt x="-807" y="108252"/>
                    </a:lnTo>
                    <a:cubicBezTo>
                      <a:pt x="-807" y="103636"/>
                      <a:pt x="2928" y="99889"/>
                      <a:pt x="7556" y="99889"/>
                    </a:cubicBezTo>
                    <a:cubicBezTo>
                      <a:pt x="12184" y="99889"/>
                      <a:pt x="15919" y="103636"/>
                      <a:pt x="15919" y="108252"/>
                    </a:cubicBezTo>
                    <a:lnTo>
                      <a:pt x="15919" y="141704"/>
                    </a:lnTo>
                    <a:cubicBezTo>
                      <a:pt x="15919" y="146321"/>
                      <a:pt x="12184" y="150067"/>
                      <a:pt x="7556" y="150067"/>
                    </a:cubicBezTo>
                    <a:close/>
                    <a:moveTo>
                      <a:pt x="7556" y="49711"/>
                    </a:moveTo>
                    <a:cubicBezTo>
                      <a:pt x="2928" y="49711"/>
                      <a:pt x="-807" y="45965"/>
                      <a:pt x="-807" y="41348"/>
                    </a:cubicBezTo>
                    <a:lnTo>
                      <a:pt x="-807" y="7896"/>
                    </a:lnTo>
                    <a:cubicBezTo>
                      <a:pt x="-807" y="3280"/>
                      <a:pt x="2928" y="-467"/>
                      <a:pt x="7556" y="-467"/>
                    </a:cubicBezTo>
                    <a:cubicBezTo>
                      <a:pt x="12184" y="-467"/>
                      <a:pt x="15919" y="3280"/>
                      <a:pt x="15919" y="7896"/>
                    </a:cubicBezTo>
                    <a:lnTo>
                      <a:pt x="15919" y="41348"/>
                    </a:lnTo>
                    <a:cubicBezTo>
                      <a:pt x="15919" y="45965"/>
                      <a:pt x="12184" y="49711"/>
                      <a:pt x="7556" y="49711"/>
                    </a:cubicBezTo>
                    <a:close/>
                  </a:path>
                </a:pathLst>
              </a:custGeom>
              <a:solidFill>
                <a:srgbClr val="30373B"/>
              </a:solidFill>
              <a:ln w="5573" cap="flat">
                <a:noFill/>
                <a:prstDash val="solid"/>
                <a:miter/>
              </a:ln>
            </p:spPr>
            <p:txBody>
              <a:bodyPr rtlCol="0" anchor="ctr"/>
              <a:lstStyle/>
              <a:p>
                <a:endParaRPr lang="en-GB"/>
              </a:p>
            </p:txBody>
          </p:sp>
          <p:sp>
            <p:nvSpPr>
              <p:cNvPr id="200" name="Graphic 6">
                <a:extLst>
                  <a:ext uri="{FF2B5EF4-FFF2-40B4-BE49-F238E27FC236}">
                    <a16:creationId xmlns:a16="http://schemas.microsoft.com/office/drawing/2014/main" id="{947AE37E-2E27-D82F-97A7-D4057B55B4DB}"/>
                  </a:ext>
                </a:extLst>
              </p:cNvPr>
              <p:cNvSpPr/>
              <p:nvPr/>
            </p:nvSpPr>
            <p:spPr>
              <a:xfrm>
                <a:off x="7553297" y="3241807"/>
                <a:ext cx="1224400" cy="194133"/>
              </a:xfrm>
              <a:custGeom>
                <a:avLst/>
                <a:gdLst>
                  <a:gd name="connsiteX0" fmla="*/ 1042730 w 1224400"/>
                  <a:gd name="connsiteY0" fmla="*/ 193667 h 194133"/>
                  <a:gd name="connsiteX1" fmla="*/ 948953 w 1224400"/>
                  <a:gd name="connsiteY1" fmla="*/ 100280 h 194133"/>
                  <a:gd name="connsiteX2" fmla="*/ 870174 w 1224400"/>
                  <a:gd name="connsiteY2" fmla="*/ 16259 h 194133"/>
                  <a:gd name="connsiteX3" fmla="*/ 791450 w 1224400"/>
                  <a:gd name="connsiteY3" fmla="*/ 100280 h 194133"/>
                  <a:gd name="connsiteX4" fmla="*/ 697616 w 1224400"/>
                  <a:gd name="connsiteY4" fmla="*/ 193667 h 194133"/>
                  <a:gd name="connsiteX5" fmla="*/ 603839 w 1224400"/>
                  <a:gd name="connsiteY5" fmla="*/ 100280 h 194133"/>
                  <a:gd name="connsiteX6" fmla="*/ 525116 w 1224400"/>
                  <a:gd name="connsiteY6" fmla="*/ 16259 h 194133"/>
                  <a:gd name="connsiteX7" fmla="*/ 446392 w 1224400"/>
                  <a:gd name="connsiteY7" fmla="*/ 100280 h 194133"/>
                  <a:gd name="connsiteX8" fmla="*/ 352558 w 1224400"/>
                  <a:gd name="connsiteY8" fmla="*/ 193667 h 194133"/>
                  <a:gd name="connsiteX9" fmla="*/ 258782 w 1224400"/>
                  <a:gd name="connsiteY9" fmla="*/ 100280 h 194133"/>
                  <a:gd name="connsiteX10" fmla="*/ 180058 w 1224400"/>
                  <a:gd name="connsiteY10" fmla="*/ 16259 h 194133"/>
                  <a:gd name="connsiteX11" fmla="*/ 101334 w 1224400"/>
                  <a:gd name="connsiteY11" fmla="*/ 100280 h 194133"/>
                  <a:gd name="connsiteX12" fmla="*/ 7556 w 1224400"/>
                  <a:gd name="connsiteY12" fmla="*/ 193667 h 194133"/>
                  <a:gd name="connsiteX13" fmla="*/ -807 w 1224400"/>
                  <a:gd name="connsiteY13" fmla="*/ 185304 h 194133"/>
                  <a:gd name="connsiteX14" fmla="*/ 7556 w 1224400"/>
                  <a:gd name="connsiteY14" fmla="*/ 176941 h 194133"/>
                  <a:gd name="connsiteX15" fmla="*/ 86280 w 1224400"/>
                  <a:gd name="connsiteY15" fmla="*/ 92976 h 194133"/>
                  <a:gd name="connsiteX16" fmla="*/ 180058 w 1224400"/>
                  <a:gd name="connsiteY16" fmla="*/ -467 h 194133"/>
                  <a:gd name="connsiteX17" fmla="*/ 273835 w 1224400"/>
                  <a:gd name="connsiteY17" fmla="*/ 92976 h 194133"/>
                  <a:gd name="connsiteX18" fmla="*/ 352558 w 1224400"/>
                  <a:gd name="connsiteY18" fmla="*/ 176941 h 194133"/>
                  <a:gd name="connsiteX19" fmla="*/ 431338 w 1224400"/>
                  <a:gd name="connsiteY19" fmla="*/ 92976 h 194133"/>
                  <a:gd name="connsiteX20" fmla="*/ 525116 w 1224400"/>
                  <a:gd name="connsiteY20" fmla="*/ -467 h 194133"/>
                  <a:gd name="connsiteX21" fmla="*/ 618893 w 1224400"/>
                  <a:gd name="connsiteY21" fmla="*/ 92976 h 194133"/>
                  <a:gd name="connsiteX22" fmla="*/ 697616 w 1224400"/>
                  <a:gd name="connsiteY22" fmla="*/ 176941 h 194133"/>
                  <a:gd name="connsiteX23" fmla="*/ 776396 w 1224400"/>
                  <a:gd name="connsiteY23" fmla="*/ 92976 h 194133"/>
                  <a:gd name="connsiteX24" fmla="*/ 870174 w 1224400"/>
                  <a:gd name="connsiteY24" fmla="*/ -467 h 194133"/>
                  <a:gd name="connsiteX25" fmla="*/ 964006 w 1224400"/>
                  <a:gd name="connsiteY25" fmla="*/ 92976 h 194133"/>
                  <a:gd name="connsiteX26" fmla="*/ 1042730 w 1224400"/>
                  <a:gd name="connsiteY26" fmla="*/ 176941 h 194133"/>
                  <a:gd name="connsiteX27" fmla="*/ 1121454 w 1224400"/>
                  <a:gd name="connsiteY27" fmla="*/ 92976 h 194133"/>
                  <a:gd name="connsiteX28" fmla="*/ 1215231 w 1224400"/>
                  <a:gd name="connsiteY28" fmla="*/ -467 h 194133"/>
                  <a:gd name="connsiteX29" fmla="*/ 1223594 w 1224400"/>
                  <a:gd name="connsiteY29" fmla="*/ 7896 h 194133"/>
                  <a:gd name="connsiteX30" fmla="*/ 1215231 w 1224400"/>
                  <a:gd name="connsiteY30" fmla="*/ 16259 h 194133"/>
                  <a:gd name="connsiteX31" fmla="*/ 1136507 w 1224400"/>
                  <a:gd name="connsiteY31" fmla="*/ 100280 h 194133"/>
                  <a:gd name="connsiteX32" fmla="*/ 1042730 w 1224400"/>
                  <a:gd name="connsiteY32" fmla="*/ 193667 h 19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24400" h="194133">
                    <a:moveTo>
                      <a:pt x="1042730" y="193667"/>
                    </a:moveTo>
                    <a:cubicBezTo>
                      <a:pt x="994392" y="193667"/>
                      <a:pt x="971255" y="146165"/>
                      <a:pt x="948953" y="100280"/>
                    </a:cubicBezTo>
                    <a:cubicBezTo>
                      <a:pt x="927934" y="57071"/>
                      <a:pt x="908085" y="16259"/>
                      <a:pt x="870174" y="16259"/>
                    </a:cubicBezTo>
                    <a:cubicBezTo>
                      <a:pt x="832261" y="16259"/>
                      <a:pt x="812412" y="57071"/>
                      <a:pt x="791450" y="100280"/>
                    </a:cubicBezTo>
                    <a:cubicBezTo>
                      <a:pt x="769148" y="146165"/>
                      <a:pt x="746011" y="193667"/>
                      <a:pt x="697616" y="193667"/>
                    </a:cubicBezTo>
                    <a:cubicBezTo>
                      <a:pt x="649223" y="193667"/>
                      <a:pt x="626197" y="146165"/>
                      <a:pt x="603839" y="100280"/>
                    </a:cubicBezTo>
                    <a:cubicBezTo>
                      <a:pt x="582876" y="57071"/>
                      <a:pt x="563028" y="16259"/>
                      <a:pt x="525116" y="16259"/>
                    </a:cubicBezTo>
                    <a:cubicBezTo>
                      <a:pt x="487203" y="16259"/>
                      <a:pt x="467355" y="57071"/>
                      <a:pt x="446392" y="100280"/>
                    </a:cubicBezTo>
                    <a:cubicBezTo>
                      <a:pt x="424091" y="146165"/>
                      <a:pt x="400953" y="193667"/>
                      <a:pt x="352558" y="193667"/>
                    </a:cubicBezTo>
                    <a:cubicBezTo>
                      <a:pt x="304165" y="193667"/>
                      <a:pt x="281139" y="146165"/>
                      <a:pt x="258782" y="100280"/>
                    </a:cubicBezTo>
                    <a:cubicBezTo>
                      <a:pt x="237818" y="57071"/>
                      <a:pt x="217970" y="16259"/>
                      <a:pt x="180058" y="16259"/>
                    </a:cubicBezTo>
                    <a:cubicBezTo>
                      <a:pt x="142145" y="16259"/>
                      <a:pt x="122297" y="57071"/>
                      <a:pt x="101334" y="100280"/>
                    </a:cubicBezTo>
                    <a:cubicBezTo>
                      <a:pt x="79033" y="146165"/>
                      <a:pt x="55895" y="193667"/>
                      <a:pt x="7556" y="193667"/>
                    </a:cubicBezTo>
                    <a:cubicBezTo>
                      <a:pt x="2929" y="193667"/>
                      <a:pt x="-807" y="189920"/>
                      <a:pt x="-807" y="185304"/>
                    </a:cubicBezTo>
                    <a:cubicBezTo>
                      <a:pt x="-807" y="180687"/>
                      <a:pt x="2929" y="176941"/>
                      <a:pt x="7556" y="176941"/>
                    </a:cubicBezTo>
                    <a:cubicBezTo>
                      <a:pt x="45413" y="176941"/>
                      <a:pt x="65262" y="136129"/>
                      <a:pt x="86280" y="92976"/>
                    </a:cubicBezTo>
                    <a:cubicBezTo>
                      <a:pt x="108582" y="47035"/>
                      <a:pt x="131719" y="-467"/>
                      <a:pt x="180058" y="-467"/>
                    </a:cubicBezTo>
                    <a:cubicBezTo>
                      <a:pt x="228396" y="-467"/>
                      <a:pt x="251533" y="47035"/>
                      <a:pt x="273835" y="92976"/>
                    </a:cubicBezTo>
                    <a:cubicBezTo>
                      <a:pt x="294854" y="136129"/>
                      <a:pt x="314702" y="176941"/>
                      <a:pt x="352558" y="176941"/>
                    </a:cubicBezTo>
                    <a:cubicBezTo>
                      <a:pt x="390415" y="176941"/>
                      <a:pt x="410319" y="136129"/>
                      <a:pt x="431338" y="92976"/>
                    </a:cubicBezTo>
                    <a:cubicBezTo>
                      <a:pt x="453639" y="47035"/>
                      <a:pt x="476721" y="-467"/>
                      <a:pt x="525116" y="-467"/>
                    </a:cubicBezTo>
                    <a:cubicBezTo>
                      <a:pt x="573509" y="-467"/>
                      <a:pt x="596591" y="47035"/>
                      <a:pt x="618893" y="92976"/>
                    </a:cubicBezTo>
                    <a:cubicBezTo>
                      <a:pt x="639912" y="136129"/>
                      <a:pt x="659760" y="176941"/>
                      <a:pt x="697616" y="176941"/>
                    </a:cubicBezTo>
                    <a:cubicBezTo>
                      <a:pt x="735473" y="176941"/>
                      <a:pt x="755377" y="136129"/>
                      <a:pt x="776396" y="92976"/>
                    </a:cubicBezTo>
                    <a:cubicBezTo>
                      <a:pt x="798697" y="47035"/>
                      <a:pt x="821835" y="-467"/>
                      <a:pt x="870174" y="-467"/>
                    </a:cubicBezTo>
                    <a:cubicBezTo>
                      <a:pt x="918511" y="-467"/>
                      <a:pt x="941649" y="47035"/>
                      <a:pt x="964006" y="92976"/>
                    </a:cubicBezTo>
                    <a:cubicBezTo>
                      <a:pt x="984970" y="136129"/>
                      <a:pt x="1004817" y="176941"/>
                      <a:pt x="1042730" y="176941"/>
                    </a:cubicBezTo>
                    <a:cubicBezTo>
                      <a:pt x="1080643" y="176941"/>
                      <a:pt x="1100491" y="136129"/>
                      <a:pt x="1121454" y="92976"/>
                    </a:cubicBezTo>
                    <a:cubicBezTo>
                      <a:pt x="1143755" y="47035"/>
                      <a:pt x="1166893" y="-467"/>
                      <a:pt x="1215231" y="-467"/>
                    </a:cubicBezTo>
                    <a:cubicBezTo>
                      <a:pt x="1219859" y="-467"/>
                      <a:pt x="1223594" y="3280"/>
                      <a:pt x="1223594" y="7896"/>
                    </a:cubicBezTo>
                    <a:cubicBezTo>
                      <a:pt x="1223594" y="12513"/>
                      <a:pt x="1219859" y="16259"/>
                      <a:pt x="1215231" y="16259"/>
                    </a:cubicBezTo>
                    <a:cubicBezTo>
                      <a:pt x="1177375" y="16259"/>
                      <a:pt x="1157526" y="57071"/>
                      <a:pt x="1136507" y="100280"/>
                    </a:cubicBezTo>
                    <a:cubicBezTo>
                      <a:pt x="1113983" y="146165"/>
                      <a:pt x="1090901" y="193667"/>
                      <a:pt x="1042730" y="193667"/>
                    </a:cubicBezTo>
                    <a:close/>
                  </a:path>
                </a:pathLst>
              </a:custGeom>
              <a:solidFill>
                <a:srgbClr val="30373B"/>
              </a:solidFill>
              <a:ln w="5573" cap="flat">
                <a:noFill/>
                <a:prstDash val="solid"/>
                <a:miter/>
              </a:ln>
            </p:spPr>
            <p:txBody>
              <a:bodyPr rtlCol="0" anchor="ctr"/>
              <a:lstStyle/>
              <a:p>
                <a:endParaRPr lang="en-GB"/>
              </a:p>
            </p:txBody>
          </p:sp>
          <p:sp>
            <p:nvSpPr>
              <p:cNvPr id="201" name="Graphic 6">
                <a:extLst>
                  <a:ext uri="{FF2B5EF4-FFF2-40B4-BE49-F238E27FC236}">
                    <a16:creationId xmlns:a16="http://schemas.microsoft.com/office/drawing/2014/main" id="{84718D33-3917-5443-C2C9-3016FB33AAEE}"/>
                  </a:ext>
                </a:extLst>
              </p:cNvPr>
              <p:cNvSpPr/>
              <p:nvPr/>
            </p:nvSpPr>
            <p:spPr>
              <a:xfrm>
                <a:off x="5718453" y="6184359"/>
                <a:ext cx="299786" cy="16726"/>
              </a:xfrm>
              <a:custGeom>
                <a:avLst/>
                <a:gdLst>
                  <a:gd name="connsiteX0" fmla="*/ 290617 w 299786"/>
                  <a:gd name="connsiteY0" fmla="*/ 16259 h 16726"/>
                  <a:gd name="connsiteX1" fmla="*/ 7556 w 299786"/>
                  <a:gd name="connsiteY1" fmla="*/ 16259 h 16726"/>
                  <a:gd name="connsiteX2" fmla="*/ -807 w 299786"/>
                  <a:gd name="connsiteY2" fmla="*/ 7896 h 16726"/>
                  <a:gd name="connsiteX3" fmla="*/ 7556 w 299786"/>
                  <a:gd name="connsiteY3" fmla="*/ -467 h 16726"/>
                  <a:gd name="connsiteX4" fmla="*/ 290617 w 299786"/>
                  <a:gd name="connsiteY4" fmla="*/ -467 h 16726"/>
                  <a:gd name="connsiteX5" fmla="*/ 298980 w 299786"/>
                  <a:gd name="connsiteY5" fmla="*/ 7896 h 16726"/>
                  <a:gd name="connsiteX6" fmla="*/ 290617 w 299786"/>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786" h="16726">
                    <a:moveTo>
                      <a:pt x="290617" y="16259"/>
                    </a:moveTo>
                    <a:lnTo>
                      <a:pt x="7556" y="16259"/>
                    </a:lnTo>
                    <a:cubicBezTo>
                      <a:pt x="2940" y="16259"/>
                      <a:pt x="-807" y="12524"/>
                      <a:pt x="-807" y="7896"/>
                    </a:cubicBezTo>
                    <a:cubicBezTo>
                      <a:pt x="-807" y="3269"/>
                      <a:pt x="2940" y="-467"/>
                      <a:pt x="7556" y="-467"/>
                    </a:cubicBezTo>
                    <a:lnTo>
                      <a:pt x="290617" y="-467"/>
                    </a:lnTo>
                    <a:cubicBezTo>
                      <a:pt x="295233" y="-467"/>
                      <a:pt x="298980" y="3269"/>
                      <a:pt x="298980" y="7896"/>
                    </a:cubicBezTo>
                    <a:cubicBezTo>
                      <a:pt x="298980" y="12524"/>
                      <a:pt x="295233" y="16259"/>
                      <a:pt x="290617" y="16259"/>
                    </a:cubicBezTo>
                    <a:close/>
                  </a:path>
                </a:pathLst>
              </a:custGeom>
              <a:solidFill>
                <a:srgbClr val="30373B"/>
              </a:solidFill>
              <a:ln w="5573" cap="flat">
                <a:noFill/>
                <a:prstDash val="solid"/>
                <a:miter/>
              </a:ln>
            </p:spPr>
            <p:txBody>
              <a:bodyPr rtlCol="0" anchor="ctr"/>
              <a:lstStyle/>
              <a:p>
                <a:endParaRPr lang="en-GB"/>
              </a:p>
            </p:txBody>
          </p:sp>
          <p:sp>
            <p:nvSpPr>
              <p:cNvPr id="202" name="Graphic 6">
                <a:extLst>
                  <a:ext uri="{FF2B5EF4-FFF2-40B4-BE49-F238E27FC236}">
                    <a16:creationId xmlns:a16="http://schemas.microsoft.com/office/drawing/2014/main" id="{DF89199F-4735-4A23-F7C2-5AA2E10E491E}"/>
                  </a:ext>
                </a:extLst>
              </p:cNvPr>
              <p:cNvSpPr/>
              <p:nvPr/>
            </p:nvSpPr>
            <p:spPr>
              <a:xfrm>
                <a:off x="5828064" y="6109316"/>
                <a:ext cx="190174" cy="16726"/>
              </a:xfrm>
              <a:custGeom>
                <a:avLst/>
                <a:gdLst>
                  <a:gd name="connsiteX0" fmla="*/ 181005 w 190174"/>
                  <a:gd name="connsiteY0" fmla="*/ 16259 h 16726"/>
                  <a:gd name="connsiteX1" fmla="*/ 7556 w 190174"/>
                  <a:gd name="connsiteY1" fmla="*/ 16259 h 16726"/>
                  <a:gd name="connsiteX2" fmla="*/ -807 w 190174"/>
                  <a:gd name="connsiteY2" fmla="*/ 7896 h 16726"/>
                  <a:gd name="connsiteX3" fmla="*/ 7556 w 190174"/>
                  <a:gd name="connsiteY3" fmla="*/ -467 h 16726"/>
                  <a:gd name="connsiteX4" fmla="*/ 181005 w 190174"/>
                  <a:gd name="connsiteY4" fmla="*/ -467 h 16726"/>
                  <a:gd name="connsiteX5" fmla="*/ 189368 w 190174"/>
                  <a:gd name="connsiteY5" fmla="*/ 7896 h 16726"/>
                  <a:gd name="connsiteX6" fmla="*/ 181005 w 190174"/>
                  <a:gd name="connsiteY6" fmla="*/ 16259 h 1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74" h="16726">
                    <a:moveTo>
                      <a:pt x="181005" y="16259"/>
                    </a:moveTo>
                    <a:lnTo>
                      <a:pt x="7556" y="16259"/>
                    </a:lnTo>
                    <a:cubicBezTo>
                      <a:pt x="2940" y="16259"/>
                      <a:pt x="-807" y="12523"/>
                      <a:pt x="-807" y="7896"/>
                    </a:cubicBezTo>
                    <a:cubicBezTo>
                      <a:pt x="-807" y="3269"/>
                      <a:pt x="2940" y="-467"/>
                      <a:pt x="7556" y="-467"/>
                    </a:cubicBezTo>
                    <a:lnTo>
                      <a:pt x="181005" y="-467"/>
                    </a:lnTo>
                    <a:cubicBezTo>
                      <a:pt x="185622" y="-467"/>
                      <a:pt x="189368" y="3269"/>
                      <a:pt x="189368" y="7896"/>
                    </a:cubicBezTo>
                    <a:cubicBezTo>
                      <a:pt x="189368" y="12523"/>
                      <a:pt x="185622" y="16259"/>
                      <a:pt x="181005" y="16259"/>
                    </a:cubicBezTo>
                    <a:close/>
                  </a:path>
                </a:pathLst>
              </a:custGeom>
              <a:solidFill>
                <a:srgbClr val="30373B"/>
              </a:solidFill>
              <a:ln w="5573" cap="flat">
                <a:noFill/>
                <a:prstDash val="solid"/>
                <a:miter/>
              </a:ln>
            </p:spPr>
            <p:txBody>
              <a:bodyPr rtlCol="0" anchor="ctr"/>
              <a:lstStyle/>
              <a:p>
                <a:endParaRPr lang="en-GB"/>
              </a:p>
            </p:txBody>
          </p:sp>
        </p:grpSp>
      </p:grpSp>
      <p:sp>
        <p:nvSpPr>
          <p:cNvPr id="2" name="TextBox 1">
            <a:extLst>
              <a:ext uri="{FF2B5EF4-FFF2-40B4-BE49-F238E27FC236}">
                <a16:creationId xmlns:a16="http://schemas.microsoft.com/office/drawing/2014/main" id="{6031A85D-62B0-6940-6C9F-8008E5EFB8C8}"/>
              </a:ext>
            </a:extLst>
          </p:cNvPr>
          <p:cNvSpPr txBox="1"/>
          <p:nvPr/>
        </p:nvSpPr>
        <p:spPr>
          <a:xfrm>
            <a:off x="1085882" y="1536633"/>
            <a:ext cx="6419070" cy="4955203"/>
          </a:xfrm>
          <a:prstGeom prst="rect">
            <a:avLst/>
          </a:prstGeom>
          <a:noFill/>
        </p:spPr>
        <p:txBody>
          <a:bodyPr wrap="square" rtlCol="0">
            <a:spAutoFit/>
          </a:bodyPr>
          <a:lstStyle/>
          <a:p>
            <a:r>
              <a:rPr lang="da-DK" sz="1600" dirty="0">
                <a:solidFill>
                  <a:schemeClr val="bg1"/>
                </a:solidFill>
              </a:rPr>
              <a:t>Releasetests: </a:t>
            </a:r>
          </a:p>
          <a:p>
            <a:pPr marL="800100" lvl="1" indent="-342900">
              <a:buFont typeface="Arial" panose="020B0604020202020204" pitchFamily="34" charset="0"/>
              <a:buChar char="•"/>
            </a:pPr>
            <a:r>
              <a:rPr lang="da-DK" sz="1600" dirty="0">
                <a:solidFill>
                  <a:schemeClr val="bg1"/>
                </a:solidFill>
              </a:rPr>
              <a:t>Funktionalitet, flows </a:t>
            </a:r>
          </a:p>
          <a:p>
            <a:pPr marL="800100" lvl="1" indent="-342900">
              <a:buFont typeface="Arial" panose="020B0604020202020204" pitchFamily="34" charset="0"/>
              <a:buChar char="•"/>
            </a:pPr>
            <a:r>
              <a:rPr lang="da-DK" sz="1600" dirty="0">
                <a:solidFill>
                  <a:schemeClr val="bg1"/>
                </a:solidFill>
              </a:rPr>
              <a:t>UX, compliance, rolle/rettigheder</a:t>
            </a:r>
          </a:p>
          <a:p>
            <a:endParaRPr lang="da-DK" sz="1600" dirty="0">
              <a:solidFill>
                <a:schemeClr val="bg1"/>
              </a:solidFill>
            </a:endParaRPr>
          </a:p>
          <a:p>
            <a:r>
              <a:rPr lang="da-DK" sz="1600" dirty="0">
                <a:solidFill>
                  <a:schemeClr val="bg1"/>
                </a:solidFill>
              </a:rPr>
              <a:t>SIT</a:t>
            </a:r>
          </a:p>
          <a:p>
            <a:pPr marL="742950" lvl="1" indent="-285750">
              <a:buFont typeface="Arial" panose="020B0604020202020204" pitchFamily="34" charset="0"/>
              <a:buChar char="•"/>
            </a:pPr>
            <a:r>
              <a:rPr lang="da-DK" sz="1600" dirty="0">
                <a:solidFill>
                  <a:schemeClr val="bg1"/>
                </a:solidFill>
              </a:rPr>
              <a:t>Integrationer og interaktioner</a:t>
            </a:r>
          </a:p>
          <a:p>
            <a:pPr marL="742950" lvl="1" indent="-285750">
              <a:buFont typeface="Arial" panose="020B0604020202020204" pitchFamily="34" charset="0"/>
              <a:buChar char="•"/>
            </a:pPr>
            <a:r>
              <a:rPr lang="da-DK" sz="1600" dirty="0">
                <a:solidFill>
                  <a:schemeClr val="bg1"/>
                </a:solidFill>
              </a:rPr>
              <a:t>Funktionalitet, flows, UX, compliance, rolle/rettigheder</a:t>
            </a:r>
          </a:p>
          <a:p>
            <a:pPr marL="742950" lvl="1" indent="-285750">
              <a:buFont typeface="Arial" panose="020B0604020202020204" pitchFamily="34" charset="0"/>
              <a:buChar char="•"/>
            </a:pPr>
            <a:r>
              <a:rPr lang="da-DK" sz="1600" dirty="0">
                <a:solidFill>
                  <a:schemeClr val="bg1"/>
                </a:solidFill>
              </a:rPr>
              <a:t>Integrationer og migreringstemplates</a:t>
            </a:r>
          </a:p>
          <a:p>
            <a:pPr marL="742950" lvl="1" indent="-285750">
              <a:buFont typeface="Arial" panose="020B0604020202020204" pitchFamily="34" charset="0"/>
              <a:buChar char="•"/>
            </a:pPr>
            <a:r>
              <a:rPr lang="da-DK" sz="1600" dirty="0">
                <a:solidFill>
                  <a:schemeClr val="bg1"/>
                </a:solidFill>
              </a:rPr>
              <a:t>Fuldt miljø med repræsentative sampledata</a:t>
            </a:r>
          </a:p>
          <a:p>
            <a:endParaRPr lang="da-DK" sz="1600" dirty="0">
              <a:solidFill>
                <a:schemeClr val="bg1"/>
              </a:solidFill>
            </a:endParaRPr>
          </a:p>
          <a:p>
            <a:r>
              <a:rPr lang="da-DK" sz="1600" dirty="0">
                <a:solidFill>
                  <a:schemeClr val="bg1"/>
                </a:solidFill>
              </a:rPr>
              <a:t>UAT</a:t>
            </a:r>
            <a:br>
              <a:rPr lang="da-DK" sz="1600" dirty="0">
                <a:solidFill>
                  <a:schemeClr val="bg1"/>
                </a:solidFill>
              </a:rPr>
            </a:br>
            <a:r>
              <a:rPr lang="da-DK" sz="1600" dirty="0">
                <a:solidFill>
                  <a:schemeClr val="bg1"/>
                </a:solidFill>
              </a:rPr>
              <a:t> Fuld test af hele løsningen, med bred involvering</a:t>
            </a:r>
          </a:p>
          <a:p>
            <a:endParaRPr lang="da-DK" sz="1600" dirty="0">
              <a:solidFill>
                <a:schemeClr val="bg1"/>
              </a:solidFill>
            </a:endParaRPr>
          </a:p>
          <a:p>
            <a:r>
              <a:rPr lang="da-DK" sz="1600" dirty="0">
                <a:solidFill>
                  <a:schemeClr val="bg1"/>
                </a:solidFill>
              </a:rPr>
              <a:t>Overtagelsesprøve</a:t>
            </a:r>
          </a:p>
          <a:p>
            <a:pPr marL="285750" indent="-285750">
              <a:buFont typeface="Arial" panose="020B0604020202020204" pitchFamily="34" charset="0"/>
              <a:buChar char="•"/>
            </a:pPr>
            <a:r>
              <a:rPr lang="da-DK" sz="1600" dirty="0">
                <a:solidFill>
                  <a:schemeClr val="bg1"/>
                </a:solidFill>
              </a:rPr>
              <a:t>Afrapportering fra SIT og UAT i Ledelsesformat</a:t>
            </a:r>
          </a:p>
          <a:p>
            <a:pPr marL="285750" indent="-285750">
              <a:buFont typeface="Arial" panose="020B0604020202020204" pitchFamily="34" charset="0"/>
              <a:buChar char="•"/>
            </a:pPr>
            <a:r>
              <a:rPr lang="da-DK" sz="1600" dirty="0">
                <a:solidFill>
                  <a:schemeClr val="bg1"/>
                </a:solidFill>
              </a:rPr>
              <a:t>Godkendes af Programstyregruppen</a:t>
            </a:r>
          </a:p>
          <a:p>
            <a:endParaRPr lang="da-DK" sz="1400" dirty="0">
              <a:solidFill>
                <a:schemeClr val="bg1"/>
              </a:solidFill>
            </a:endParaRPr>
          </a:p>
          <a:p>
            <a:endParaRPr lang="da-DK" sz="1400" dirty="0">
              <a:solidFill>
                <a:schemeClr val="bg1"/>
              </a:solidFill>
            </a:endParaRPr>
          </a:p>
          <a:p>
            <a:br>
              <a:rPr lang="da-DK" sz="1400" dirty="0">
                <a:solidFill>
                  <a:schemeClr val="bg1"/>
                </a:solidFill>
              </a:rPr>
            </a:br>
            <a:endParaRPr lang="da-DK" dirty="0">
              <a:solidFill>
                <a:schemeClr val="bg1"/>
              </a:solidFill>
            </a:endParaRPr>
          </a:p>
        </p:txBody>
      </p:sp>
    </p:spTree>
    <p:extLst>
      <p:ext uri="{BB962C8B-B14F-4D97-AF65-F5344CB8AC3E}">
        <p14:creationId xmlns:p14="http://schemas.microsoft.com/office/powerpoint/2010/main" val="960218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C1E3F-8CF6-D63D-ACC3-3CA26C754862}"/>
            </a:ext>
          </a:extLst>
        </p:cNvPr>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3F5B443E-4EC0-B7FD-57E9-EA0956569829}"/>
              </a:ext>
            </a:extLst>
          </p:cNvPr>
          <p:cNvSpPr>
            <a:spLocks noGrp="1"/>
          </p:cNvSpPr>
          <p:nvPr>
            <p:ph type="sldNum" sz="quarter" idx="4"/>
          </p:nvPr>
        </p:nvSpPr>
        <p:spPr/>
        <p:txBody>
          <a:bodyPr/>
          <a:lstStyle/>
          <a:p>
            <a:fld id="{39DF810D-F77C-4BB2-BE6A-BDC67BB44902}" type="slidenum">
              <a:rPr lang="da-DK" smtClean="0"/>
              <a:pPr/>
              <a:t>7</a:t>
            </a:fld>
            <a:endParaRPr lang="da-DK"/>
          </a:p>
        </p:txBody>
      </p:sp>
      <p:sp>
        <p:nvSpPr>
          <p:cNvPr id="7" name="Rektangel 6">
            <a:extLst>
              <a:ext uri="{FF2B5EF4-FFF2-40B4-BE49-F238E27FC236}">
                <a16:creationId xmlns:a16="http://schemas.microsoft.com/office/drawing/2014/main" id="{B6D106CC-0810-9CE8-A8CD-8DC46134FAF3}"/>
              </a:ext>
            </a:extLst>
          </p:cNvPr>
          <p:cNvSpPr/>
          <p:nvPr/>
        </p:nvSpPr>
        <p:spPr>
          <a:xfrm>
            <a:off x="-9144" y="0"/>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a-DK" dirty="0">
              <a:solidFill>
                <a:schemeClr val="bg1"/>
              </a:solidFill>
              <a:cs typeface="Arial"/>
            </a:endParaRPr>
          </a:p>
        </p:txBody>
      </p:sp>
      <p:sp>
        <p:nvSpPr>
          <p:cNvPr id="9" name="Title 5">
            <a:extLst>
              <a:ext uri="{FF2B5EF4-FFF2-40B4-BE49-F238E27FC236}">
                <a16:creationId xmlns:a16="http://schemas.microsoft.com/office/drawing/2014/main" id="{8B14D2F9-CD75-479E-1BE9-F38CF38FD859}"/>
              </a:ext>
            </a:extLst>
          </p:cNvPr>
          <p:cNvSpPr txBox="1">
            <a:spLocks/>
          </p:cNvSpPr>
          <p:nvPr/>
        </p:nvSpPr>
        <p:spPr>
          <a:xfrm>
            <a:off x="1110780" y="596961"/>
            <a:ext cx="10331071" cy="627864"/>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4800">
                <a:solidFill>
                  <a:schemeClr val="bg1"/>
                </a:solidFill>
                <a:latin typeface="+mn-lt"/>
              </a:rPr>
              <a:t>Testleverancer - eksempler</a:t>
            </a:r>
            <a:endParaRPr lang="nb-NO" sz="4800" dirty="0">
              <a:solidFill>
                <a:schemeClr val="bg1"/>
              </a:solidFill>
              <a:latin typeface="+mn-lt"/>
            </a:endParaRPr>
          </a:p>
        </p:txBody>
      </p:sp>
      <p:sp>
        <p:nvSpPr>
          <p:cNvPr id="2" name="TextBox 1">
            <a:extLst>
              <a:ext uri="{FF2B5EF4-FFF2-40B4-BE49-F238E27FC236}">
                <a16:creationId xmlns:a16="http://schemas.microsoft.com/office/drawing/2014/main" id="{917D0859-DA67-1447-999E-9166534A8843}"/>
              </a:ext>
            </a:extLst>
          </p:cNvPr>
          <p:cNvSpPr txBox="1"/>
          <p:nvPr/>
        </p:nvSpPr>
        <p:spPr>
          <a:xfrm>
            <a:off x="1636870" y="1224825"/>
            <a:ext cx="7594594" cy="1354217"/>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da-DK" dirty="0">
                <a:solidFill>
                  <a:schemeClr val="bg1"/>
                </a:solidFill>
                <a:cs typeface="Arial"/>
              </a:rPr>
              <a:t>Løsningsbeskrivelse – sporbarhed</a:t>
            </a:r>
          </a:p>
          <a:p>
            <a:pPr marL="342900" indent="-342900">
              <a:buFont typeface="Arial" panose="020B0604020202020204" pitchFamily="34" charset="0"/>
              <a:buChar char="•"/>
            </a:pPr>
            <a:r>
              <a:rPr lang="da-DK" dirty="0">
                <a:solidFill>
                  <a:schemeClr val="bg1"/>
                </a:solidFill>
                <a:cs typeface="Arial"/>
              </a:rPr>
              <a:t>Krav fra Leverandørens tilbud nedbrydes og beskrives i: </a:t>
            </a:r>
          </a:p>
          <a:p>
            <a:pPr marL="800100" lvl="1" indent="-342900">
              <a:buFont typeface="Arial" panose="020B0604020202020204" pitchFamily="34" charset="0"/>
              <a:buChar char="•"/>
            </a:pPr>
            <a:r>
              <a:rPr lang="da-DK" dirty="0">
                <a:solidFill>
                  <a:schemeClr val="bg1"/>
                </a:solidFill>
                <a:cs typeface="Arial"/>
              </a:rPr>
              <a:t>A:Features, B+C: Kravpræciseringer, D+E: User-stories,</a:t>
            </a:r>
          </a:p>
          <a:p>
            <a:endParaRPr lang="da-DK" sz="1400" dirty="0"/>
          </a:p>
          <a:p>
            <a:endParaRPr lang="da-DK" sz="1400" dirty="0"/>
          </a:p>
        </p:txBody>
      </p:sp>
      <p:pic>
        <p:nvPicPr>
          <p:cNvPr id="5" name="Picture 4">
            <a:extLst>
              <a:ext uri="{FF2B5EF4-FFF2-40B4-BE49-F238E27FC236}">
                <a16:creationId xmlns:a16="http://schemas.microsoft.com/office/drawing/2014/main" id="{C407B6F9-40E1-ABF1-ED4D-7A513676DDE2}"/>
              </a:ext>
            </a:extLst>
          </p:cNvPr>
          <p:cNvPicPr>
            <a:picLocks noChangeAspect="1"/>
          </p:cNvPicPr>
          <p:nvPr/>
        </p:nvPicPr>
        <p:blipFill>
          <a:blip r:embed="rId2"/>
          <a:stretch>
            <a:fillRect/>
          </a:stretch>
        </p:blipFill>
        <p:spPr>
          <a:xfrm>
            <a:off x="1943463" y="2195741"/>
            <a:ext cx="8305073" cy="4354553"/>
          </a:xfrm>
          <a:prstGeom prst="rect">
            <a:avLst/>
          </a:prstGeom>
        </p:spPr>
      </p:pic>
    </p:spTree>
    <p:extLst>
      <p:ext uri="{BB962C8B-B14F-4D97-AF65-F5344CB8AC3E}">
        <p14:creationId xmlns:p14="http://schemas.microsoft.com/office/powerpoint/2010/main" val="15797276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C45B8-31D1-D45D-6B4F-895B7308B0E0}"/>
            </a:ext>
          </a:extLst>
        </p:cNvPr>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8FE598F3-2896-7E7C-F982-7F9A608CDB26}"/>
              </a:ext>
            </a:extLst>
          </p:cNvPr>
          <p:cNvSpPr>
            <a:spLocks noGrp="1"/>
          </p:cNvSpPr>
          <p:nvPr>
            <p:ph type="sldNum" sz="quarter" idx="4"/>
          </p:nvPr>
        </p:nvSpPr>
        <p:spPr/>
        <p:txBody>
          <a:bodyPr/>
          <a:lstStyle/>
          <a:p>
            <a:fld id="{39DF810D-F77C-4BB2-BE6A-BDC67BB44902}" type="slidenum">
              <a:rPr lang="da-DK" smtClean="0"/>
              <a:pPr/>
              <a:t>8</a:t>
            </a:fld>
            <a:endParaRPr lang="da-DK"/>
          </a:p>
        </p:txBody>
      </p:sp>
      <p:sp>
        <p:nvSpPr>
          <p:cNvPr id="7" name="Rektangel 6">
            <a:extLst>
              <a:ext uri="{FF2B5EF4-FFF2-40B4-BE49-F238E27FC236}">
                <a16:creationId xmlns:a16="http://schemas.microsoft.com/office/drawing/2014/main" id="{4666332A-1DB4-E487-CCFB-8C7E8718ADE8}"/>
              </a:ext>
            </a:extLst>
          </p:cNvPr>
          <p:cNvSpPr/>
          <p:nvPr/>
        </p:nvSpPr>
        <p:spPr>
          <a:xfrm>
            <a:off x="-9144" y="0"/>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a-DK" dirty="0">
              <a:solidFill>
                <a:schemeClr val="bg1"/>
              </a:solidFill>
              <a:cs typeface="Arial"/>
            </a:endParaRPr>
          </a:p>
        </p:txBody>
      </p:sp>
      <p:sp>
        <p:nvSpPr>
          <p:cNvPr id="9" name="Title 5">
            <a:extLst>
              <a:ext uri="{FF2B5EF4-FFF2-40B4-BE49-F238E27FC236}">
                <a16:creationId xmlns:a16="http://schemas.microsoft.com/office/drawing/2014/main" id="{C03F9B62-3BF5-6286-FECB-5A26F082DD7F}"/>
              </a:ext>
            </a:extLst>
          </p:cNvPr>
          <p:cNvSpPr txBox="1">
            <a:spLocks/>
          </p:cNvSpPr>
          <p:nvPr/>
        </p:nvSpPr>
        <p:spPr>
          <a:xfrm>
            <a:off x="1110780" y="596961"/>
            <a:ext cx="10331071" cy="627864"/>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4800">
                <a:solidFill>
                  <a:schemeClr val="bg1"/>
                </a:solidFill>
                <a:latin typeface="+mn-lt"/>
              </a:rPr>
              <a:t>Testleverancer - eksempler</a:t>
            </a:r>
            <a:endParaRPr lang="nb-NO" sz="4800" dirty="0">
              <a:solidFill>
                <a:schemeClr val="bg1"/>
              </a:solidFill>
              <a:latin typeface="+mn-lt"/>
            </a:endParaRPr>
          </a:p>
        </p:txBody>
      </p:sp>
      <p:sp>
        <p:nvSpPr>
          <p:cNvPr id="2" name="TextBox 1">
            <a:extLst>
              <a:ext uri="{FF2B5EF4-FFF2-40B4-BE49-F238E27FC236}">
                <a16:creationId xmlns:a16="http://schemas.microsoft.com/office/drawing/2014/main" id="{4FBFF24D-C00D-F891-020B-6EDF46A3B6E5}"/>
              </a:ext>
            </a:extLst>
          </p:cNvPr>
          <p:cNvSpPr txBox="1"/>
          <p:nvPr/>
        </p:nvSpPr>
        <p:spPr>
          <a:xfrm>
            <a:off x="560963" y="1519023"/>
            <a:ext cx="4003086" cy="2677656"/>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da-DK" dirty="0">
                <a:solidFill>
                  <a:schemeClr val="bg1"/>
                </a:solidFill>
                <a:cs typeface="Arial"/>
              </a:rPr>
              <a:t>Løsningsbeskrivelse – sporbarhed</a:t>
            </a:r>
          </a:p>
          <a:p>
            <a:pPr marL="342900" indent="-342900">
              <a:buFont typeface="Arial" panose="020B0604020202020204" pitchFamily="34" charset="0"/>
              <a:buChar char="•"/>
            </a:pPr>
            <a:r>
              <a:rPr lang="da-DK" dirty="0">
                <a:solidFill>
                  <a:schemeClr val="bg1"/>
                </a:solidFill>
                <a:cs typeface="Arial"/>
                <a:hlinkClick r:id="rId2">
                  <a:extLst>
                    <a:ext uri="{A12FA001-AC4F-418D-AE19-62706E023703}">
                      <ahyp:hlinkClr xmlns:ahyp="http://schemas.microsoft.com/office/drawing/2018/hyperlinkcolor" val="tx"/>
                    </a:ext>
                  </a:extLst>
                </a:hlinkClick>
              </a:rPr>
              <a:t>En User-story</a:t>
            </a:r>
            <a:r>
              <a:rPr lang="da-DK" dirty="0">
                <a:solidFill>
                  <a:schemeClr val="bg1"/>
                </a:solidFill>
                <a:cs typeface="Arial"/>
              </a:rPr>
              <a:t> indeholder </a:t>
            </a:r>
            <a:r>
              <a:rPr lang="da-DK" dirty="0" err="1">
                <a:solidFill>
                  <a:schemeClr val="bg1"/>
                </a:solidFill>
                <a:cs typeface="Arial"/>
              </a:rPr>
              <a:t>AcceptKriterier</a:t>
            </a:r>
            <a:r>
              <a:rPr lang="da-DK" dirty="0">
                <a:solidFill>
                  <a:schemeClr val="bg1"/>
                </a:solidFill>
                <a:cs typeface="Arial"/>
              </a:rPr>
              <a:t>, som bliver til 1-mange Testcases, testflows og </a:t>
            </a:r>
            <a:r>
              <a:rPr lang="da-DK" dirty="0" err="1">
                <a:solidFill>
                  <a:schemeClr val="bg1"/>
                </a:solidFill>
                <a:cs typeface="Arial"/>
              </a:rPr>
              <a:t>testeksecutions</a:t>
            </a:r>
            <a:endParaRPr lang="da-DK" dirty="0">
              <a:solidFill>
                <a:schemeClr val="bg1"/>
              </a:solidFill>
              <a:cs typeface="Arial"/>
            </a:endParaRPr>
          </a:p>
          <a:p>
            <a:pPr marL="342900" indent="-342900">
              <a:buFont typeface="Arial" panose="020B0604020202020204" pitchFamily="34" charset="0"/>
              <a:buChar char="•"/>
            </a:pPr>
            <a:endParaRPr lang="da-DK" dirty="0">
              <a:solidFill>
                <a:schemeClr val="bg1"/>
              </a:solidFill>
              <a:cs typeface="Arial"/>
            </a:endParaRPr>
          </a:p>
          <a:p>
            <a:br>
              <a:rPr lang="da-DK" sz="1400" dirty="0">
                <a:solidFill>
                  <a:schemeClr val="bg1"/>
                </a:solidFill>
              </a:rPr>
            </a:br>
            <a:endParaRPr lang="da-DK" sz="1400" dirty="0"/>
          </a:p>
          <a:p>
            <a:endParaRPr lang="da-DK" sz="1400" dirty="0"/>
          </a:p>
        </p:txBody>
      </p:sp>
      <p:pic>
        <p:nvPicPr>
          <p:cNvPr id="6" name="Picture 5">
            <a:extLst>
              <a:ext uri="{FF2B5EF4-FFF2-40B4-BE49-F238E27FC236}">
                <a16:creationId xmlns:a16="http://schemas.microsoft.com/office/drawing/2014/main" id="{A0D44AD3-B67F-7259-0CF7-282E778D95F0}"/>
              </a:ext>
            </a:extLst>
          </p:cNvPr>
          <p:cNvPicPr>
            <a:picLocks noChangeAspect="1"/>
          </p:cNvPicPr>
          <p:nvPr/>
        </p:nvPicPr>
        <p:blipFill>
          <a:blip r:embed="rId3"/>
          <a:stretch>
            <a:fillRect/>
          </a:stretch>
        </p:blipFill>
        <p:spPr>
          <a:xfrm>
            <a:off x="4869263" y="1419230"/>
            <a:ext cx="6572588" cy="5131064"/>
          </a:xfrm>
          <a:prstGeom prst="rect">
            <a:avLst/>
          </a:prstGeom>
        </p:spPr>
      </p:pic>
    </p:spTree>
    <p:extLst>
      <p:ext uri="{BB962C8B-B14F-4D97-AF65-F5344CB8AC3E}">
        <p14:creationId xmlns:p14="http://schemas.microsoft.com/office/powerpoint/2010/main" val="1870586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632A0-6C37-9CA2-708F-74D5B0AB2697}"/>
            </a:ext>
          </a:extLst>
        </p:cNvPr>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2DBFF43E-5067-51F3-67B8-0687F5AFB237}"/>
              </a:ext>
            </a:extLst>
          </p:cNvPr>
          <p:cNvSpPr>
            <a:spLocks noGrp="1"/>
          </p:cNvSpPr>
          <p:nvPr>
            <p:ph type="sldNum" sz="quarter" idx="4"/>
          </p:nvPr>
        </p:nvSpPr>
        <p:spPr/>
        <p:txBody>
          <a:bodyPr/>
          <a:lstStyle/>
          <a:p>
            <a:fld id="{39DF810D-F77C-4BB2-BE6A-BDC67BB44902}" type="slidenum">
              <a:rPr lang="da-DK" smtClean="0"/>
              <a:pPr/>
              <a:t>9</a:t>
            </a:fld>
            <a:endParaRPr lang="da-DK"/>
          </a:p>
        </p:txBody>
      </p:sp>
      <p:sp>
        <p:nvSpPr>
          <p:cNvPr id="7" name="Rektangel 6">
            <a:extLst>
              <a:ext uri="{FF2B5EF4-FFF2-40B4-BE49-F238E27FC236}">
                <a16:creationId xmlns:a16="http://schemas.microsoft.com/office/drawing/2014/main" id="{3911E7F9-DBAC-C5AC-C47D-20B1CDB10B26}"/>
              </a:ext>
            </a:extLst>
          </p:cNvPr>
          <p:cNvSpPr/>
          <p:nvPr/>
        </p:nvSpPr>
        <p:spPr>
          <a:xfrm>
            <a:off x="-9144" y="0"/>
            <a:ext cx="12317506" cy="6858000"/>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a-DK" dirty="0">
              <a:solidFill>
                <a:schemeClr val="bg1"/>
              </a:solidFill>
              <a:cs typeface="Arial"/>
            </a:endParaRPr>
          </a:p>
        </p:txBody>
      </p:sp>
      <p:sp>
        <p:nvSpPr>
          <p:cNvPr id="9" name="Title 5">
            <a:extLst>
              <a:ext uri="{FF2B5EF4-FFF2-40B4-BE49-F238E27FC236}">
                <a16:creationId xmlns:a16="http://schemas.microsoft.com/office/drawing/2014/main" id="{D5CFD958-9DA9-8A9A-891A-2B02064CBB28}"/>
              </a:ext>
            </a:extLst>
          </p:cNvPr>
          <p:cNvSpPr txBox="1">
            <a:spLocks/>
          </p:cNvSpPr>
          <p:nvPr/>
        </p:nvSpPr>
        <p:spPr>
          <a:xfrm>
            <a:off x="1110780" y="596961"/>
            <a:ext cx="10331071" cy="627864"/>
          </a:xfrm>
          <a:prstGeom prst="rect">
            <a:avLst/>
          </a:prstGeom>
        </p:spPr>
        <p:txBody>
          <a:bodyPr vert="horz" wrap="square" lIns="0" tIns="0" rIns="0" bIns="0" rtlCol="0" anchor="t" anchorCtr="0">
            <a:spAutoFit/>
          </a:bodyPr>
          <a:lstStyle>
            <a:lvl1pPr algn="l" defTabSz="742969" rtl="0" eaLnBrk="1" latinLnBrk="0" hangingPunct="1">
              <a:lnSpc>
                <a:spcPct val="93000"/>
              </a:lnSpc>
              <a:spcBef>
                <a:spcPct val="0"/>
              </a:spcBef>
              <a:spcAft>
                <a:spcPts val="600"/>
              </a:spcAft>
              <a:buNone/>
              <a:defRPr lang="en-GB" sz="5000" kern="1200" dirty="0">
                <a:solidFill>
                  <a:srgbClr val="1F1F23"/>
                </a:solidFill>
                <a:latin typeface="Palatino Linotype" panose="02040502050505030304" pitchFamily="18" charset="0"/>
                <a:ea typeface="+mj-ea"/>
                <a:cs typeface="+mj-cs"/>
              </a:defRPr>
            </a:lvl1pPr>
          </a:lstStyle>
          <a:p>
            <a:pPr>
              <a:lnSpc>
                <a:spcPct val="85000"/>
              </a:lnSpc>
            </a:pPr>
            <a:r>
              <a:rPr lang="da-DK" sz="4800">
                <a:solidFill>
                  <a:schemeClr val="bg1"/>
                </a:solidFill>
                <a:latin typeface="+mn-lt"/>
              </a:rPr>
              <a:t>Testleverancer - eksempler</a:t>
            </a:r>
            <a:endParaRPr lang="nb-NO" sz="4800" dirty="0">
              <a:solidFill>
                <a:schemeClr val="bg1"/>
              </a:solidFill>
              <a:latin typeface="+mn-lt"/>
            </a:endParaRPr>
          </a:p>
        </p:txBody>
      </p:sp>
      <p:sp>
        <p:nvSpPr>
          <p:cNvPr id="2" name="TextBox 1">
            <a:extLst>
              <a:ext uri="{FF2B5EF4-FFF2-40B4-BE49-F238E27FC236}">
                <a16:creationId xmlns:a16="http://schemas.microsoft.com/office/drawing/2014/main" id="{A3DE6782-93E3-1617-7CCD-77B34F59FB8E}"/>
              </a:ext>
            </a:extLst>
          </p:cNvPr>
          <p:cNvSpPr txBox="1"/>
          <p:nvPr/>
        </p:nvSpPr>
        <p:spPr>
          <a:xfrm>
            <a:off x="560963" y="1519023"/>
            <a:ext cx="4003086" cy="2616101"/>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da-DK" dirty="0">
                <a:solidFill>
                  <a:schemeClr val="bg1"/>
                </a:solidFill>
                <a:cs typeface="Arial"/>
              </a:rPr>
              <a:t>Løsningsbeskrivelse - sporbarhed</a:t>
            </a:r>
          </a:p>
          <a:p>
            <a:pPr marL="800100" lvl="1" indent="-342900">
              <a:buFont typeface="Arial" panose="020B0604020202020204" pitchFamily="34" charset="0"/>
              <a:buChar char="•"/>
            </a:pPr>
            <a:r>
              <a:rPr lang="da-DK" dirty="0">
                <a:solidFill>
                  <a:schemeClr val="bg1"/>
                </a:solidFill>
                <a:cs typeface="Arial"/>
                <a:hlinkClick r:id="rId2">
                  <a:extLst>
                    <a:ext uri="{A12FA001-AC4F-418D-AE19-62706E023703}">
                      <ahyp:hlinkClr xmlns:ahyp="http://schemas.microsoft.com/office/drawing/2018/hyperlinkcolor" val="tx"/>
                    </a:ext>
                  </a:extLst>
                </a:hlinkClick>
              </a:rPr>
              <a:t>User-story</a:t>
            </a:r>
            <a:r>
              <a:rPr lang="da-DK" dirty="0">
                <a:solidFill>
                  <a:schemeClr val="bg1"/>
                </a:solidFill>
                <a:cs typeface="Arial"/>
              </a:rPr>
              <a:t>, </a:t>
            </a:r>
          </a:p>
          <a:p>
            <a:pPr marL="800100" lvl="1" indent="-342900">
              <a:buFont typeface="Arial" panose="020B0604020202020204" pitchFamily="34" charset="0"/>
              <a:buChar char="•"/>
            </a:pPr>
            <a:r>
              <a:rPr lang="da-DK" dirty="0">
                <a:solidFill>
                  <a:schemeClr val="bg1"/>
                </a:solidFill>
                <a:cs typeface="Arial"/>
                <a:hlinkClick r:id="rId3">
                  <a:extLst>
                    <a:ext uri="{A12FA001-AC4F-418D-AE19-62706E023703}">
                      <ahyp:hlinkClr xmlns:ahyp="http://schemas.microsoft.com/office/drawing/2018/hyperlinkcolor" val="tx"/>
                    </a:ext>
                  </a:extLst>
                </a:hlinkClick>
              </a:rPr>
              <a:t>Testcases,</a:t>
            </a:r>
            <a:endParaRPr lang="da-DK" dirty="0">
              <a:solidFill>
                <a:schemeClr val="bg1"/>
              </a:solidFill>
              <a:cs typeface="Arial"/>
            </a:endParaRPr>
          </a:p>
          <a:p>
            <a:pPr marL="800100" lvl="1" indent="-342900">
              <a:buFont typeface="Arial" panose="020B0604020202020204" pitchFamily="34" charset="0"/>
              <a:buChar char="•"/>
            </a:pPr>
            <a:r>
              <a:rPr lang="da-DK" dirty="0">
                <a:solidFill>
                  <a:schemeClr val="bg1"/>
                </a:solidFill>
                <a:cs typeface="Arial"/>
              </a:rPr>
              <a:t>testsets, </a:t>
            </a:r>
          </a:p>
          <a:p>
            <a:pPr marL="800100" lvl="1" indent="-342900">
              <a:buFont typeface="Arial" panose="020B0604020202020204" pitchFamily="34" charset="0"/>
              <a:buChar char="•"/>
            </a:pPr>
            <a:r>
              <a:rPr lang="da-DK" dirty="0">
                <a:solidFill>
                  <a:schemeClr val="bg1"/>
                </a:solidFill>
                <a:cs typeface="Arial"/>
              </a:rPr>
              <a:t>testflows, </a:t>
            </a:r>
          </a:p>
          <a:p>
            <a:pPr marL="800100" lvl="1" indent="-342900">
              <a:buFont typeface="Arial" panose="020B0604020202020204" pitchFamily="34" charset="0"/>
              <a:buChar char="•"/>
            </a:pPr>
            <a:r>
              <a:rPr lang="da-DK" dirty="0" err="1">
                <a:solidFill>
                  <a:schemeClr val="bg1"/>
                </a:solidFill>
                <a:cs typeface="Arial"/>
              </a:rPr>
              <a:t>testeksecutions</a:t>
            </a:r>
            <a:endParaRPr lang="da-DK" dirty="0">
              <a:solidFill>
                <a:schemeClr val="bg1"/>
              </a:solidFill>
              <a:cs typeface="Arial"/>
            </a:endParaRPr>
          </a:p>
          <a:p>
            <a:br>
              <a:rPr lang="da-DK" sz="1400" dirty="0">
                <a:solidFill>
                  <a:schemeClr val="bg1"/>
                </a:solidFill>
              </a:rPr>
            </a:br>
            <a:endParaRPr lang="da-DK" sz="1400" dirty="0"/>
          </a:p>
          <a:p>
            <a:r>
              <a:rPr lang="da-DK" sz="1400" dirty="0">
                <a:solidFill>
                  <a:schemeClr val="bg1"/>
                </a:solidFill>
              </a:rPr>
              <a:t>Hver Userstory har  for hvert acceptkriterie en liste af  testcases</a:t>
            </a:r>
          </a:p>
        </p:txBody>
      </p:sp>
      <p:pic>
        <p:nvPicPr>
          <p:cNvPr id="5" name="Picture 4">
            <a:extLst>
              <a:ext uri="{FF2B5EF4-FFF2-40B4-BE49-F238E27FC236}">
                <a16:creationId xmlns:a16="http://schemas.microsoft.com/office/drawing/2014/main" id="{9DA08849-E59C-8FB7-0535-506B09BB20CD}"/>
              </a:ext>
            </a:extLst>
          </p:cNvPr>
          <p:cNvPicPr>
            <a:picLocks noChangeAspect="1"/>
          </p:cNvPicPr>
          <p:nvPr/>
        </p:nvPicPr>
        <p:blipFill>
          <a:blip r:embed="rId4"/>
          <a:stretch>
            <a:fillRect/>
          </a:stretch>
        </p:blipFill>
        <p:spPr>
          <a:xfrm>
            <a:off x="5297660" y="1224825"/>
            <a:ext cx="5620039" cy="5340624"/>
          </a:xfrm>
          <a:prstGeom prst="rect">
            <a:avLst/>
          </a:prstGeom>
        </p:spPr>
      </p:pic>
    </p:spTree>
    <p:extLst>
      <p:ext uri="{BB962C8B-B14F-4D97-AF65-F5344CB8AC3E}">
        <p14:creationId xmlns:p14="http://schemas.microsoft.com/office/powerpoint/2010/main" val="2504464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TdJCZx3fdIlPPyvMKGQx8EAAAAAAADAAAAAAADAAAAAwADAAAAAAADAAAAAwADAAIA////////BQAAAAMAEAAL4z8mbke4AkeTSPqig1o+MQQAAAABAAMAAAACAAMAAAAEAAMAAAACAP///////wQAAQD///////8FAAAABAAQAAuHYjXtIihKTrbaBlMCJKM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9N0kJnHd90iU8/K8woZDHwNEYXRhABsAAAAETGlua2VkU2hhcGVEYXRhAAUAAAAAAAJOYW1lABkAAABMaW5rZWRTaGFwZXNEYXRhUHJvcGVydHkAEFZlcnNpb24AAQAAAAlMYXN0V3JpdGUASAawq40BAAAAAQD/////xgDGAAAABV9pZAAQAAAABOM/Jm5HuAJHk0j6ooNaPjEDRGF0YQBTAAAACFByZXNlbnRhdGlvblNjYW5uZWRGb3JMaW5rZWRTaGFwZXMAAQJOdW1iZXJGb3JtYXRTZXBhcmF0b3JNb2RlAAoAAABBdXRvbWF0aWMAAAJOYW1lACQAAABMaW5rZWRTaGFwZVByZXNlbnRhdGlvblNldHRpbmdzRGF0YQAQVmVyc2lvbgAAAAAACUxhc3RXcml0ZQCumeyngwEAAAACAP////+DAIMAAAAFX2lkABAAAAAEh2I17SIoSk622gZTAiSjOQNEYXRhABsAAAAETGlua2VkU2hhcGVEYXRhAAUAAAAAAAJOYW1lABkAAABMaW5rZWRTaGFwZXNEYXRhUHJvcGVydHkAEFZlcnNpb24AAAAAAAlMYXN0V3JpdGUAw5jsp4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35792564848231"/>
  <p:tag name="EMPOWERCHARTSPROPERTIES_A_LENGTH" val="24576"/>
  <p:tag name="THINKCELLPRESENTATIONDONOTDELETE" val="&lt;?xml version=&quot;1.0&quot; encoding=&quot;UTF-16&quot; standalone=&quot;yes&quot;?&gt;&lt;root reqver=&quot;28224&quot;&gt;&lt;version val=&quot;3530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5&quot;&gt;&lt;elem m_fUsage=&quot;7.81911236339688731078E+00&quot;&gt;&lt;m_msothmcolidx val=&quot;0&quot;/&gt;&lt;m_rgb r=&quot;FC&quot; g=&quot;B1&quot; b=&quot;F7&quot;/&gt;&lt;/elem&gt;&lt;elem m_fUsage=&quot;1.87000550865902370745E+00&quot;&gt;&lt;m_msothmcolidx val=&quot;0&quot;/&gt;&lt;m_rgb r=&quot;F9&quot; g=&quot;FB&quot; b=&quot;18&quot;/&gt;&lt;/elem&gt;&lt;elem m_fUsage=&quot;8.86293811965250810658E-02&quot;&gt;&lt;m_msothmcolidx val=&quot;0&quot;/&gt;&lt;m_rgb r=&quot;29&quot; g=&quot;23&quot; b=&quot;8B&quot;/&gt;&lt;/elem&gt;&lt;elem m_fUsage=&quot;7.97664430768725701837E-02&quot;&gt;&lt;m_msothmcolidx val=&quot;0&quot;/&gt;&lt;m_rgb r=&quot;27&quot; g=&quot;17&quot; b=&quot;8F&quot;/&gt;&lt;/elem&gt;&lt;elem m_fUsage=&quot;7.17897987691853145531E-02&quot;&gt;&lt;m_msothmcolidx val=&quot;0&quot;/&gt;&lt;m_rgb r=&quot;6E&quot; g=&quot;71&quot; b=&quot;F9&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_LOCKS" val="0"/>
</p:tagLst>
</file>

<file path=ppt/tags/tag11.xml><?xml version="1.0" encoding="utf-8"?>
<p:tagLst xmlns:a="http://schemas.openxmlformats.org/drawingml/2006/main" xmlns:r="http://schemas.openxmlformats.org/officeDocument/2006/relationships" xmlns:p="http://schemas.openxmlformats.org/presentationml/2006/main">
  <p:tag name="SHAPE_LOCKS" val="0"/>
</p:tagLst>
</file>

<file path=ppt/tags/tag12.xml><?xml version="1.0" encoding="utf-8"?>
<p:tagLst xmlns:a="http://schemas.openxmlformats.org/drawingml/2006/main" xmlns:r="http://schemas.openxmlformats.org/officeDocument/2006/relationships" xmlns:p="http://schemas.openxmlformats.org/presentationml/2006/main">
  <p:tag name="SHAPE_LOCKS" val="0"/>
</p:tagLst>
</file>

<file path=ppt/tags/tag13.xml><?xml version="1.0" encoding="utf-8"?>
<p:tagLst xmlns:a="http://schemas.openxmlformats.org/drawingml/2006/main" xmlns:r="http://schemas.openxmlformats.org/officeDocument/2006/relationships" xmlns:p="http://schemas.openxmlformats.org/presentationml/2006/main">
  <p:tag name="SHAPE_LOCKS" val="0"/>
</p:tagLst>
</file>

<file path=ppt/tags/tag14.xml><?xml version="1.0" encoding="utf-8"?>
<p:tagLst xmlns:a="http://schemas.openxmlformats.org/drawingml/2006/main" xmlns:r="http://schemas.openxmlformats.org/officeDocument/2006/relationships" xmlns:p="http://schemas.openxmlformats.org/presentationml/2006/main">
  <p:tag name="SHAPE_LOCKS" val="0"/>
</p:tagLst>
</file>

<file path=ppt/tags/tag15.xml><?xml version="1.0" encoding="utf-8"?>
<p:tagLst xmlns:a="http://schemas.openxmlformats.org/drawingml/2006/main" xmlns:r="http://schemas.openxmlformats.org/officeDocument/2006/relationships" xmlns:p="http://schemas.openxmlformats.org/presentationml/2006/main">
  <p:tag name="SHAPE_LOCKS" val="0"/>
</p:tagLst>
</file>

<file path=ppt/tags/tag16.xml><?xml version="1.0" encoding="utf-8"?>
<p:tagLst xmlns:a="http://schemas.openxmlformats.org/drawingml/2006/main" xmlns:r="http://schemas.openxmlformats.org/officeDocument/2006/relationships" xmlns:p="http://schemas.openxmlformats.org/presentationml/2006/main">
  <p:tag name="SHAPE_LOCKS" val="0"/>
</p:tagLst>
</file>

<file path=ppt/tags/tag17.xml><?xml version="1.0" encoding="utf-8"?>
<p:tagLst xmlns:a="http://schemas.openxmlformats.org/drawingml/2006/main" xmlns:r="http://schemas.openxmlformats.org/officeDocument/2006/relationships" xmlns:p="http://schemas.openxmlformats.org/presentationml/2006/main">
  <p:tag name="SHAPE_LOCKS"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_LOCKS" val="0"/>
</p:tagLst>
</file>

<file path=ppt/tags/tag6.xml><?xml version="1.0" encoding="utf-8"?>
<p:tagLst xmlns:a="http://schemas.openxmlformats.org/drawingml/2006/main" xmlns:r="http://schemas.openxmlformats.org/officeDocument/2006/relationships" xmlns:p="http://schemas.openxmlformats.org/presentationml/2006/main">
  <p:tag name="SHAPE_LOCKS" val="0"/>
</p:tagLst>
</file>

<file path=ppt/tags/tag7.xml><?xml version="1.0" encoding="utf-8"?>
<p:tagLst xmlns:a="http://schemas.openxmlformats.org/drawingml/2006/main" xmlns:r="http://schemas.openxmlformats.org/officeDocument/2006/relationships" xmlns:p="http://schemas.openxmlformats.org/presentationml/2006/main">
  <p:tag name="SHAPE_LOCKS" val="0"/>
</p:tagLst>
</file>

<file path=ppt/tags/tag8.xml><?xml version="1.0" encoding="utf-8"?>
<p:tagLst xmlns:a="http://schemas.openxmlformats.org/drawingml/2006/main" xmlns:r="http://schemas.openxmlformats.org/officeDocument/2006/relationships" xmlns:p="http://schemas.openxmlformats.org/presentationml/2006/main">
  <p:tag name="SHAPE_LOCKS" val="0"/>
</p:tagLst>
</file>

<file path=ppt/tags/tag9.xml><?xml version="1.0" encoding="utf-8"?>
<p:tagLst xmlns:a="http://schemas.openxmlformats.org/drawingml/2006/main" xmlns:r="http://schemas.openxmlformats.org/officeDocument/2006/relationships" xmlns:p="http://schemas.openxmlformats.org/presentationml/2006/main">
  <p:tag name="SHAPE_LOCKS" val="0"/>
</p:tagLst>
</file>

<file path=ppt/theme/theme1.xml><?xml version="1.0" encoding="utf-8"?>
<a:theme xmlns:a="http://schemas.openxmlformats.org/drawingml/2006/main" name="Office Theme">
  <a:themeElements>
    <a:clrScheme name="Nyt SIS">
      <a:dk1>
        <a:sysClr val="windowText" lastClr="000000"/>
      </a:dk1>
      <a:lt1>
        <a:sysClr val="window" lastClr="FFFFFF"/>
      </a:lt1>
      <a:dk2>
        <a:srgbClr val="064F44"/>
      </a:dk2>
      <a:lt2>
        <a:srgbClr val="E7E6E6"/>
      </a:lt2>
      <a:accent1>
        <a:srgbClr val="4A8588"/>
      </a:accent1>
      <a:accent2>
        <a:srgbClr val="429FAC"/>
      </a:accent2>
      <a:accent3>
        <a:srgbClr val="9CC4D8"/>
      </a:accent3>
      <a:accent4>
        <a:srgbClr val="A3E5CC"/>
      </a:accent4>
      <a:accent5>
        <a:srgbClr val="CBD6B9"/>
      </a:accent5>
      <a:accent6>
        <a:srgbClr val="FC5E61"/>
      </a:accent6>
      <a:hlink>
        <a:srgbClr val="006F44"/>
      </a:hlink>
      <a:folHlink>
        <a:srgbClr val="FC5E6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t SIS Powerpoint skabelon" id="{F4896C55-85A6-4390-BD9A-79C604098F5D}" vid="{139A7FB5-7B09-4EB8-8E72-23E9814005C8}"/>
    </a:ext>
  </a:extLst>
</a:theme>
</file>

<file path=ppt/theme/theme2.xml><?xml version="1.0" encoding="utf-8"?>
<a:theme xmlns:a="http://schemas.openxmlformats.org/drawingml/2006/main" name="Implement 16-9">
  <a:themeElements>
    <a:clrScheme name="Implement Consulting Group">
      <a:dk1>
        <a:srgbClr val="000000"/>
      </a:dk1>
      <a:lt1>
        <a:srgbClr val="FFFFFF"/>
      </a:lt1>
      <a:dk2>
        <a:srgbClr val="000000"/>
      </a:dk2>
      <a:lt2>
        <a:srgbClr val="FFFFFF"/>
      </a:lt2>
      <a:accent1>
        <a:srgbClr val="A8A5A1"/>
      </a:accent1>
      <a:accent2>
        <a:srgbClr val="C2C0BD"/>
      </a:accent2>
      <a:accent3>
        <a:srgbClr val="DCDBD9"/>
      </a:accent3>
      <a:accent4>
        <a:srgbClr val="4C4C4F"/>
      </a:accent4>
      <a:accent5>
        <a:srgbClr val="79797B"/>
      </a:accent5>
      <a:accent6>
        <a:srgbClr val="A5A5A7"/>
      </a:accent6>
      <a:hlink>
        <a:srgbClr val="67817F"/>
      </a:hlink>
      <a:folHlink>
        <a:srgbClr val="E4B73C"/>
      </a:folHlink>
    </a:clrScheme>
    <a:fontScheme name="Impl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F2F1"/>
        </a:solidFill>
        <a:ln w="6350">
          <a:noFill/>
        </a:ln>
      </a:spPr>
      <a:bodyPr lIns="72009" tIns="72009" rIns="72009" bIns="72009" rtlCol="0" anchor="t" anchorCtr="0">
        <a:noAutofit/>
      </a:bodyPr>
      <a:lstStyle>
        <a:defPPr algn="l">
          <a:lnSpc>
            <a:spcPct val="93000"/>
          </a:lnSpc>
          <a:defRPr sz="1100" noProof="0" dirty="0" err="1">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1F202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a:noFill/>
        </a:ln>
      </a:spPr>
      <a:bodyPr wrap="square" lIns="0" tIns="0" rIns="0" bIns="0" rtlCol="0" anchor="t" anchorCtr="0">
        <a:noAutofit/>
      </a:bodyPr>
      <a:lstStyle>
        <a:defPPr marL="0" indent="0" algn="l">
          <a:buNone/>
          <a:defRPr sz="11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69,31,35">
      <a:srgbClr val="451F23"/>
    </a:custClr>
    <a:custClr name="248,245,231">
      <a:srgbClr val="F8F5E7"/>
    </a:custClr>
    <a:custClr name="31,32,35">
      <a:srgbClr val="1F2023"/>
    </a:custClr>
    <a:custClr name="48,55,59">
      <a:srgbClr val="30373B"/>
    </a:custClr>
    <a:custClr name="168,165,161">
      <a:srgbClr val="A8A5A1"/>
    </a:custClr>
    <a:custClr name="103,129,127">
      <a:srgbClr val="67817F"/>
    </a:custClr>
    <a:custClr name="225,193,181">
      <a:srgbClr val="E1C1B5"/>
    </a:custClr>
    <a:custClr name="154,110,68">
      <a:srgbClr val="9A6E44"/>
    </a:custClr>
    <a:custClr name="228,183,60">
      <a:srgbClr val="E4B73C"/>
    </a:custClr>
    <a:custClr name="185,199,194">
      <a:srgbClr val="B9C7C2"/>
    </a:custClr>
    <a:custClr name="78,42,46">
      <a:srgbClr val="4E2A2E"/>
    </a:custClr>
    <a:custClr name="249,247,236">
      <a:srgbClr val="F9F7EC"/>
    </a:custClr>
    <a:custClr name="0,0,0">
      <a:srgbClr val="000000"/>
    </a:custClr>
    <a:custClr name="64,65,68">
      <a:srgbClr val="404144"/>
    </a:custClr>
    <a:custClr name="203,201,199">
      <a:srgbClr val="CBC9C7"/>
    </a:custClr>
    <a:custClr name="164,179,178">
      <a:srgbClr val="A4B3B2"/>
    </a:custClr>
    <a:custClr name="237,218,211">
      <a:srgbClr val="EDDAD3"/>
    </a:custClr>
    <a:custClr name="194,168,143">
      <a:srgbClr val="C2A88F"/>
    </a:custClr>
    <a:custClr name="239,212,138">
      <a:srgbClr val="EFD48A"/>
    </a:custClr>
    <a:custClr name="213,221,218">
      <a:srgbClr val="D5DDDA"/>
    </a:custClr>
    <a:custClr name="88,54,57">
      <a:srgbClr val="583639"/>
    </a:custClr>
    <a:custClr name="251,249,241">
      <a:srgbClr val="FBF9F1"/>
    </a:custClr>
    <a:custClr name="226,222,217">
      <a:srgbClr val="E2DED9"/>
    </a:custClr>
    <a:custClr name="98,98,101">
      <a:srgbClr val="626265"/>
    </a:custClr>
    <a:custClr name="225,224,222">
      <a:srgbClr val="E1E0DE"/>
    </a:custClr>
    <a:custClr name="194,205,204">
      <a:srgbClr val="C2CDCC"/>
    </a:custClr>
    <a:custClr name="243,230,225">
      <a:srgbClr val="F3E6E1"/>
    </a:custClr>
    <a:custClr name="215,197,180">
      <a:srgbClr val="D7C5B4"/>
    </a:custClr>
    <a:custClr name="244,226,177">
      <a:srgbClr val="F4E2B1"/>
    </a:custClr>
    <a:custClr name="227,233,231">
      <a:srgbClr val="E3E9E7"/>
    </a:custClr>
    <a:custClr name="BLANK">
      <a:srgbClr val="FFFFFF"/>
    </a:custClr>
    <a:custClr name="253,252,247">
      <a:srgbClr val="FDFCF7"/>
    </a:custClr>
    <a:custClr name="238,235,232">
      <a:srgbClr val="EEEBE8"/>
    </a:custClr>
    <a:custClr name="132,133,134">
      <a:srgbClr val="848586"/>
    </a:custClr>
    <a:custClr name="242,242,241">
      <a:srgbClr val="F2F2F1"/>
    </a:custClr>
    <a:custClr name="225,230,229">
      <a:srgbClr val="E1E6E5"/>
    </a:custClr>
    <a:custClr name="249,243,240">
      <a:srgbClr val="F9F3F0"/>
    </a:custClr>
    <a:custClr name="235,226,218">
      <a:srgbClr val="EBE2DA"/>
    </a:custClr>
    <a:custClr name="250,241,216">
      <a:srgbClr val="FAF1D8"/>
    </a:custClr>
    <a:custClr name="241,244,243">
      <a:srgbClr val="F1F4F3"/>
    </a:custClr>
  </a:custClrLst>
  <a:extLst>
    <a:ext uri="{05A4C25C-085E-4340-85A3-A5531E510DB2}">
      <thm15:themeFamily xmlns:thm15="http://schemas.microsoft.com/office/thememl/2012/main" name="AmplerLibrarykwmmw3l0nqc.potx" id="{6B89AEDE-F3AE-4E02-9AA6-495405DC1B03}" vid="{E37F8623-810E-44B7-A69E-253E4D86754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0BFB27AD38E52468D646386FAE07C4B" ma:contentTypeVersion="11" ma:contentTypeDescription="Opret et nyt dokument." ma:contentTypeScope="" ma:versionID="89569a0dcbbcceaf9f4d6aeadb175913">
  <xsd:schema xmlns:xsd="http://www.w3.org/2001/XMLSchema" xmlns:xs="http://www.w3.org/2001/XMLSchema" xmlns:p="http://schemas.microsoft.com/office/2006/metadata/properties" xmlns:ns2="d91c21eb-5d2b-44a4-bfdb-220c863c2358" targetNamespace="http://schemas.microsoft.com/office/2006/metadata/properties" ma:root="true" ma:fieldsID="734e22f5ce3eb157ce398c8d6fba916f" ns2:_="">
    <xsd:import namespace="d91c21eb-5d2b-44a4-bfdb-220c863c235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1c21eb-5d2b-44a4-bfdb-220c863c23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Billedmærker" ma:readOnly="false" ma:fieldId="{5cf76f15-5ced-4ddc-b409-7134ff3c332f}" ma:taxonomyMulti="true" ma:sspId="b2102423-6c9a-45d0-aa71-0069027da28d"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91c21eb-5d2b-44a4-bfdb-220c863c235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680730-C050-44D6-BA4F-8A341CC3C4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1c21eb-5d2b-44a4-bfdb-220c863c23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1EC14D-A29A-4522-BE6E-E07D6C2CD930}">
  <ds:schemaRefs>
    <ds:schemaRef ds:uri="1b6a8d7b-f1be-4d7b-bc31-d6c63ead6040"/>
    <ds:schemaRef ds:uri="http://schemas.microsoft.com/office/2006/documentManagement/types"/>
    <ds:schemaRef ds:uri="http://purl.org/dc/terms/"/>
    <ds:schemaRef ds:uri="90a2f9a0-dfc0-488d-a812-20b58106d9c5"/>
    <ds:schemaRef ds:uri="http://purl.org/dc/dcmitype/"/>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www.w3.org/XML/1998/namespace"/>
    <ds:schemaRef ds:uri="d91c21eb-5d2b-44a4-bfdb-220c863c2358"/>
  </ds:schemaRefs>
</ds:datastoreItem>
</file>

<file path=customXml/itemProps3.xml><?xml version="1.0" encoding="utf-8"?>
<ds:datastoreItem xmlns:ds="http://schemas.openxmlformats.org/officeDocument/2006/customXml" ds:itemID="{A36D8BF4-3086-42C0-B712-CCC5ACC6B1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07</TotalTime>
  <Words>888</Words>
  <Application>Microsoft Office PowerPoint</Application>
  <PresentationFormat>Widescreen</PresentationFormat>
  <Paragraphs>176</Paragraphs>
  <Slides>1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mpton Book</vt:lpstr>
      <vt:lpstr>Courier New</vt:lpstr>
      <vt:lpstr>Palatino Linotype</vt:lpstr>
      <vt:lpstr>Office Theme</vt:lpstr>
      <vt:lpstr>Implement 16-9</vt:lpstr>
      <vt:lpstr>think-cell Slide</vt:lpstr>
      <vt:lpstr>Test af Fælles Løsning </vt:lpstr>
      <vt:lpstr>Test i  Fælles SIS Programme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kt Risiko Assesment (PRA) </vt:lpstr>
      <vt:lpstr>Brugervenlighedstests </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skrift</dc:title>
  <dc:creator>Andreas Bettles - Implement Consulting Group</dc:creator>
  <cp:lastModifiedBy>Pia Jensen</cp:lastModifiedBy>
  <cp:revision>181</cp:revision>
  <dcterms:created xsi:type="dcterms:W3CDTF">2023-11-07T17:47:57Z</dcterms:created>
  <dcterms:modified xsi:type="dcterms:W3CDTF">2025-05-12T08:3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BFB27AD38E52468D646386FAE07C4B</vt:lpwstr>
  </property>
  <property fmtid="{D5CDD505-2E9C-101B-9397-08002B2CF9AE}" pid="3" name="MediaServiceImageTags">
    <vt:lpwstr/>
  </property>
  <property fmtid="{D5CDD505-2E9C-101B-9397-08002B2CF9AE}" pid="4" name="MSIP_Label_ea60d57e-af5b-4752-ac57-3e4f28ca11dc_Enabled">
    <vt:lpwstr>true</vt:lpwstr>
  </property>
  <property fmtid="{D5CDD505-2E9C-101B-9397-08002B2CF9AE}" pid="5" name="MSIP_Label_ea60d57e-af5b-4752-ac57-3e4f28ca11dc_SetDate">
    <vt:lpwstr>2024-05-17T12:49:56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5643afc0-798c-4477-90d9-af0a80c7a9ec</vt:lpwstr>
  </property>
  <property fmtid="{D5CDD505-2E9C-101B-9397-08002B2CF9AE}" pid="10" name="MSIP_Label_ea60d57e-af5b-4752-ac57-3e4f28ca11dc_ContentBits">
    <vt:lpwstr>0</vt:lpwstr>
  </property>
</Properties>
</file>